
<file path=[Content_Types].xml><?xml version="1.0" encoding="utf-8"?>
<Types xmlns="http://schemas.openxmlformats.org/package/2006/content-types">
  <Default Extension="png" ContentType="image/png"/>
  <Default Extension="mp3" ContentType="audio/mpeg"/>
  <Default Extension="emf" ContentType="image/x-emf"/>
  <Default Extension="rels" ContentType="application/vnd.openxmlformats-package.relationships+xml"/>
  <Default Extension="xml" ContentType="application/xml"/>
  <Default Extension="fntdata" ContentType="application/x-fontdata"/>
  <Default Extension="wav" ContentType="audio/x-wav"/>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2" r:id="rId4"/>
  </p:sldMasterIdLst>
  <p:notesMasterIdLst>
    <p:notesMasterId r:id="rId36"/>
  </p:notesMasterIdLst>
  <p:sldIdLst>
    <p:sldId id="256" r:id="rId5"/>
    <p:sldId id="257" r:id="rId6"/>
    <p:sldId id="299" r:id="rId7"/>
    <p:sldId id="300" r:id="rId8"/>
    <p:sldId id="301" r:id="rId9"/>
    <p:sldId id="259" r:id="rId10"/>
    <p:sldId id="258" r:id="rId11"/>
    <p:sldId id="302" r:id="rId12"/>
    <p:sldId id="303" r:id="rId13"/>
    <p:sldId id="304" r:id="rId14"/>
    <p:sldId id="305" r:id="rId15"/>
    <p:sldId id="306" r:id="rId16"/>
    <p:sldId id="307" r:id="rId17"/>
    <p:sldId id="309" r:id="rId18"/>
    <p:sldId id="308" r:id="rId19"/>
    <p:sldId id="310" r:id="rId20"/>
    <p:sldId id="319" r:id="rId21"/>
    <p:sldId id="311" r:id="rId22"/>
    <p:sldId id="313" r:id="rId23"/>
    <p:sldId id="312" r:id="rId24"/>
    <p:sldId id="314" r:id="rId25"/>
    <p:sldId id="315" r:id="rId26"/>
    <p:sldId id="316" r:id="rId27"/>
    <p:sldId id="317" r:id="rId28"/>
    <p:sldId id="318" r:id="rId29"/>
    <p:sldId id="292" r:id="rId30"/>
    <p:sldId id="294" r:id="rId31"/>
    <p:sldId id="295" r:id="rId32"/>
    <p:sldId id="297" r:id="rId33"/>
    <p:sldId id="298" r:id="rId34"/>
    <p:sldId id="261" r:id="rId35"/>
  </p:sldIdLst>
  <p:sldSz cx="9144000" cy="5143500" type="screen16x9"/>
  <p:notesSz cx="6858000" cy="9144000"/>
  <p:embeddedFontLst>
    <p:embeddedFont>
      <p:font typeface="Source Sans Pro" panose="020B0503030403020204" pitchFamily="34" charset="0"/>
      <p:regular r:id="rId37"/>
      <p:bold r:id="rId38"/>
      <p:italic r:id="rId39"/>
      <p:boldItalic r:id="rId40"/>
    </p:embeddedFont>
    <p:embeddedFont>
      <p:font typeface="Calistoga" panose="020B0604020202020204" charset="0"/>
      <p:regular r:id="rId41"/>
    </p:embeddedFont>
    <p:embeddedFont>
      <p:font typeface="Anek Malayalam" panose="020B0604020202020204" charset="0"/>
      <p:regular r:id="rId42"/>
      <p:bold r:id="rId43"/>
    </p:embeddedFont>
    <p:embeddedFont>
      <p:font typeface="Segoe UI Black" panose="020B0A02040204020203" pitchFamily="34" charset="0"/>
      <p:bold r:id="rId44"/>
      <p:boldItalic r:id="rId45"/>
    </p:embeddedFont>
    <p:embeddedFont>
      <p:font typeface="Tahoma" panose="020B0604030504040204" pitchFamily="34" charset="0"/>
      <p:regular r:id="rId46"/>
      <p:bold r:id="rId47"/>
    </p:embeddedFont>
    <p:embeddedFont>
      <p:font typeface="Calibri" panose="020F0502020204030204" pitchFamily="34" charset="0"/>
      <p:regular r:id="rId48"/>
      <p:bold r:id="rId49"/>
      <p:italic r:id="rId50"/>
      <p:boldItalic r:id="rId51"/>
    </p:embeddedFont>
    <p:embeddedFont>
      <p:font typeface="iCiel Cadena" panose="02000503000000020004" charset="0"/>
      <p:bold r:id="rId52"/>
    </p:embeddedFont>
    <p:embeddedFont>
      <p:font typeface="Arial Rounded MT Bold" panose="020F0704030504030204" pitchFamily="34" charset="0"/>
      <p:regular r:id="rId5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AF963EF-619E-4729-8F37-D3B9565EBC7C}">
  <a:tblStyle styleId="{6AF963EF-619E-4729-8F37-D3B9565EBC7C}"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91" autoAdjust="0"/>
    <p:restoredTop sz="94660"/>
  </p:normalViewPr>
  <p:slideViewPr>
    <p:cSldViewPr snapToGrid="0">
      <p:cViewPr varScale="1">
        <p:scale>
          <a:sx n="89" d="100"/>
          <a:sy n="89" d="100"/>
        </p:scale>
        <p:origin x="798" y="7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3.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font" Target="fonts/font17.fntdata"/><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7.fntdata"/><Relationship Id="rId48" Type="http://schemas.openxmlformats.org/officeDocument/2006/relationships/font" Target="fonts/font12.fntdata"/><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font" Target="fonts/font15.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2.fntdata"/><Relationship Id="rId46" Type="http://schemas.openxmlformats.org/officeDocument/2006/relationships/font" Target="fonts/font10.fntdata"/><Relationship Id="rId20" Type="http://schemas.openxmlformats.org/officeDocument/2006/relationships/slide" Target="slides/slide16.xml"/><Relationship Id="rId41" Type="http://schemas.openxmlformats.org/officeDocument/2006/relationships/font" Target="fonts/font5.fntdata"/><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49" Type="http://schemas.openxmlformats.org/officeDocument/2006/relationships/font" Target="fonts/font13.fntdata"/><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8.fntdata"/><Relationship Id="rId52" Type="http://schemas.openxmlformats.org/officeDocument/2006/relationships/font" Target="fonts/font16.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7" name="Google Shape;947;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2"/>
        <p:cNvGrpSpPr/>
        <p:nvPr/>
      </p:nvGrpSpPr>
      <p:grpSpPr>
        <a:xfrm>
          <a:off x="0" y="0"/>
          <a:ext cx="0" cy="0"/>
          <a:chOff x="0" y="0"/>
          <a:chExt cx="0" cy="0"/>
        </a:xfrm>
      </p:grpSpPr>
      <p:sp>
        <p:nvSpPr>
          <p:cNvPr id="513" name="Google Shape;513;g93969108f1_2_1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4" name="Google Shape;514;g93969108f1_2_10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93089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9a0f900027_1_2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9" name="Google Shape;549;g9a0f900027_1_2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3185465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2"/>
        <p:cNvGrpSpPr/>
        <p:nvPr/>
      </p:nvGrpSpPr>
      <p:grpSpPr>
        <a:xfrm>
          <a:off x="0" y="0"/>
          <a:ext cx="0" cy="0"/>
          <a:chOff x="0" y="0"/>
          <a:chExt cx="0" cy="0"/>
        </a:xfrm>
      </p:grpSpPr>
      <p:sp>
        <p:nvSpPr>
          <p:cNvPr id="1893" name="Google Shape;1893;g804e9800b4_0_8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94" name="Google Shape;1894;g804e9800b4_0_8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731524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1"/>
        <p:cNvGrpSpPr/>
        <p:nvPr/>
      </p:nvGrpSpPr>
      <p:grpSpPr>
        <a:xfrm>
          <a:off x="0" y="0"/>
          <a:ext cx="0" cy="0"/>
          <a:chOff x="0" y="0"/>
          <a:chExt cx="0" cy="0"/>
        </a:xfrm>
      </p:grpSpPr>
      <p:sp>
        <p:nvSpPr>
          <p:cNvPr id="2152" name="Google Shape;2152;g8714a43093_3_9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3" name="Google Shape;2153;g8714a43093_3_9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61568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8"/>
        <p:cNvGrpSpPr/>
        <p:nvPr/>
      </p:nvGrpSpPr>
      <p:grpSpPr>
        <a:xfrm>
          <a:off x="0" y="0"/>
          <a:ext cx="0" cy="0"/>
          <a:chOff x="0" y="0"/>
          <a:chExt cx="0" cy="0"/>
        </a:xfrm>
      </p:grpSpPr>
      <p:sp>
        <p:nvSpPr>
          <p:cNvPr id="2159" name="Google Shape;2159;g804e9800b4_0_11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60" name="Google Shape;2160;g804e9800b4_0_110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569517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1"/>
        <p:cNvGrpSpPr/>
        <p:nvPr/>
      </p:nvGrpSpPr>
      <p:grpSpPr>
        <a:xfrm>
          <a:off x="0" y="0"/>
          <a:ext cx="0" cy="0"/>
          <a:chOff x="0" y="0"/>
          <a:chExt cx="0" cy="0"/>
        </a:xfrm>
      </p:grpSpPr>
      <p:sp>
        <p:nvSpPr>
          <p:cNvPr id="2152" name="Google Shape;2152;g8714a43093_3_9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3" name="Google Shape;2153;g8714a43093_3_9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76139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9"/>
        <p:cNvGrpSpPr/>
        <p:nvPr/>
      </p:nvGrpSpPr>
      <p:grpSpPr>
        <a:xfrm>
          <a:off x="0" y="0"/>
          <a:ext cx="0" cy="0"/>
          <a:chOff x="0" y="0"/>
          <a:chExt cx="0" cy="0"/>
        </a:xfrm>
      </p:grpSpPr>
      <p:sp>
        <p:nvSpPr>
          <p:cNvPr id="2180" name="Google Shape;2180;g804e9800b4_0_11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81" name="Google Shape;2181;g804e9800b4_0_11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315475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1"/>
        <p:cNvGrpSpPr/>
        <p:nvPr/>
      </p:nvGrpSpPr>
      <p:grpSpPr>
        <a:xfrm>
          <a:off x="0" y="0"/>
          <a:ext cx="0" cy="0"/>
          <a:chOff x="0" y="0"/>
          <a:chExt cx="0" cy="0"/>
        </a:xfrm>
      </p:grpSpPr>
      <p:sp>
        <p:nvSpPr>
          <p:cNvPr id="2152" name="Google Shape;2152;g8714a43093_3_9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3" name="Google Shape;2153;g8714a43093_3_9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2104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0"/>
        <p:cNvGrpSpPr/>
        <p:nvPr/>
      </p:nvGrpSpPr>
      <p:grpSpPr>
        <a:xfrm>
          <a:off x="0" y="0"/>
          <a:ext cx="0" cy="0"/>
          <a:chOff x="0" y="0"/>
          <a:chExt cx="0" cy="0"/>
        </a:xfrm>
      </p:grpSpPr>
      <p:sp>
        <p:nvSpPr>
          <p:cNvPr id="2221" name="Google Shape;2221;g804e9800b4_0_13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22" name="Google Shape;2222;g804e9800b4_0_13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816551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1"/>
        <p:cNvGrpSpPr/>
        <p:nvPr/>
      </p:nvGrpSpPr>
      <p:grpSpPr>
        <a:xfrm>
          <a:off x="0" y="0"/>
          <a:ext cx="0" cy="0"/>
          <a:chOff x="0" y="0"/>
          <a:chExt cx="0" cy="0"/>
        </a:xfrm>
      </p:grpSpPr>
      <p:sp>
        <p:nvSpPr>
          <p:cNvPr id="2152" name="Google Shape;2152;g8714a43093_3_9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53" name="Google Shape;2153;g8714a43093_3_9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59912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4"/>
        <p:cNvGrpSpPr/>
        <p:nvPr/>
      </p:nvGrpSpPr>
      <p:grpSpPr>
        <a:xfrm>
          <a:off x="0" y="0"/>
          <a:ext cx="0" cy="0"/>
          <a:chOff x="0" y="0"/>
          <a:chExt cx="0" cy="0"/>
        </a:xfrm>
      </p:grpSpPr>
      <p:sp>
        <p:nvSpPr>
          <p:cNvPr id="1355" name="Google Shape;1355;g11bc263f50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6" name="Google Shape;1356;g11bc263f50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7"/>
        <p:cNvGrpSpPr/>
        <p:nvPr/>
      </p:nvGrpSpPr>
      <p:grpSpPr>
        <a:xfrm>
          <a:off x="0" y="0"/>
          <a:ext cx="0" cy="0"/>
          <a:chOff x="0" y="0"/>
          <a:chExt cx="0" cy="0"/>
        </a:xfrm>
      </p:grpSpPr>
      <p:sp>
        <p:nvSpPr>
          <p:cNvPr id="2238" name="Google Shape;2238;g86fa6133bc_4_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39" name="Google Shape;2239;g86fa6133bc_4_1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626334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6"/>
        <p:cNvGrpSpPr/>
        <p:nvPr/>
      </p:nvGrpSpPr>
      <p:grpSpPr>
        <a:xfrm>
          <a:off x="0" y="0"/>
          <a:ext cx="0" cy="0"/>
          <a:chOff x="0" y="0"/>
          <a:chExt cx="0" cy="0"/>
        </a:xfrm>
      </p:grpSpPr>
      <p:sp>
        <p:nvSpPr>
          <p:cNvPr id="2617" name="Google Shape;2617;g8714a43093_5_5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18" name="Google Shape;2618;g8714a43093_5_5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874710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202F42-8E37-417F-B7D4-5F68870918A3}" type="slidenum">
              <a:rPr lang="en-US" smtClean="0"/>
              <a:t>26</a:t>
            </a:fld>
            <a:endParaRPr lang="en-US"/>
          </a:p>
        </p:txBody>
      </p:sp>
    </p:spTree>
    <p:extLst>
      <p:ext uri="{BB962C8B-B14F-4D97-AF65-F5344CB8AC3E}">
        <p14:creationId xmlns:p14="http://schemas.microsoft.com/office/powerpoint/2010/main" val="6633721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HD </a:t>
            </a:r>
            <a:r>
              <a:rPr lang="en-US" dirty="0" err="1"/>
              <a:t>chỉnh</a:t>
            </a:r>
            <a:r>
              <a:rPr lang="en-US" dirty="0"/>
              <a:t> </a:t>
            </a:r>
            <a:r>
              <a:rPr lang="en-US" dirty="0" err="1"/>
              <a:t>sửa</a:t>
            </a:r>
            <a:r>
              <a:rPr lang="en-US" dirty="0"/>
              <a:t>: </a:t>
            </a:r>
            <a:r>
              <a:rPr lang="en-US" dirty="0" err="1"/>
              <a:t>Thầy</a:t>
            </a:r>
            <a:r>
              <a:rPr lang="en-US" dirty="0"/>
              <a:t> </a:t>
            </a:r>
            <a:r>
              <a:rPr lang="en-US" dirty="0" err="1"/>
              <a:t>cô</a:t>
            </a:r>
            <a:r>
              <a:rPr lang="en-US" dirty="0"/>
              <a:t> </a:t>
            </a:r>
            <a:r>
              <a:rPr lang="en-US" dirty="0" err="1"/>
              <a:t>nhập</a:t>
            </a:r>
            <a:r>
              <a:rPr lang="en-US" dirty="0"/>
              <a:t> </a:t>
            </a:r>
            <a:r>
              <a:rPr lang="en-US" dirty="0" err="1"/>
              <a:t>câu</a:t>
            </a:r>
            <a:r>
              <a:rPr lang="en-US" dirty="0"/>
              <a:t> </a:t>
            </a:r>
            <a:r>
              <a:rPr lang="en-US" dirty="0" err="1"/>
              <a:t>hỏi</a:t>
            </a:r>
            <a:r>
              <a:rPr lang="en-US" dirty="0"/>
              <a:t> </a:t>
            </a:r>
            <a:r>
              <a:rPr lang="en-US" dirty="0" err="1"/>
              <a:t>và</a:t>
            </a:r>
            <a:r>
              <a:rPr lang="en-US" dirty="0"/>
              <a:t> </a:t>
            </a:r>
            <a:r>
              <a:rPr lang="en-US" dirty="0" err="1"/>
              <a:t>các</a:t>
            </a:r>
            <a:r>
              <a:rPr lang="en-US" dirty="0"/>
              <a:t> </a:t>
            </a:r>
            <a:r>
              <a:rPr lang="en-US" dirty="0" err="1"/>
              <a:t>đáp</a:t>
            </a:r>
            <a:r>
              <a:rPr lang="en-US" dirty="0"/>
              <a:t> </a:t>
            </a:r>
            <a:r>
              <a:rPr lang="en-US" dirty="0" err="1"/>
              <a:t>án</a:t>
            </a:r>
            <a:r>
              <a:rPr lang="en-US" dirty="0"/>
              <a:t> </a:t>
            </a:r>
            <a:r>
              <a:rPr lang="en-US" dirty="0" err="1"/>
              <a:t>vào</a:t>
            </a:r>
            <a:r>
              <a:rPr lang="en-US" dirty="0"/>
              <a:t> </a:t>
            </a:r>
            <a:r>
              <a:rPr lang="en-US" dirty="0" err="1"/>
              <a:t>các</a:t>
            </a:r>
            <a:r>
              <a:rPr lang="en-US" dirty="0"/>
              <a:t> ô (</a:t>
            </a:r>
            <a:r>
              <a:rPr lang="en-US" dirty="0" err="1"/>
              <a:t>Căn</a:t>
            </a:r>
            <a:r>
              <a:rPr lang="en-US" dirty="0"/>
              <a:t> </a:t>
            </a:r>
            <a:r>
              <a:rPr lang="en-US" dirty="0" err="1"/>
              <a:t>chỉnh</a:t>
            </a:r>
            <a:r>
              <a:rPr lang="en-US" dirty="0"/>
              <a:t> size </a:t>
            </a:r>
            <a:r>
              <a:rPr lang="en-US" dirty="0" err="1"/>
              <a:t>chữ</a:t>
            </a:r>
            <a:r>
              <a:rPr lang="en-US" dirty="0"/>
              <a:t> </a:t>
            </a:r>
            <a:r>
              <a:rPr lang="en-US" dirty="0" err="1"/>
              <a:t>cho</a:t>
            </a:r>
            <a:r>
              <a:rPr lang="en-US" dirty="0"/>
              <a:t> </a:t>
            </a:r>
            <a:r>
              <a:rPr lang="en-US" dirty="0" err="1"/>
              <a:t>phù</a:t>
            </a:r>
            <a:r>
              <a:rPr lang="en-US" dirty="0"/>
              <a:t> </a:t>
            </a:r>
            <a:r>
              <a:rPr lang="en-US" dirty="0" err="1"/>
              <a:t>hợp</a:t>
            </a:r>
            <a:r>
              <a:rPr lang="en-US" dirty="0"/>
              <a:t> </a:t>
            </a:r>
            <a:r>
              <a:rPr lang="en-US" dirty="0" err="1"/>
              <a:t>với</a:t>
            </a:r>
            <a:r>
              <a:rPr lang="en-US" dirty="0"/>
              <a:t> </a:t>
            </a:r>
            <a:r>
              <a:rPr lang="en-US" dirty="0" err="1"/>
              <a:t>độ</a:t>
            </a:r>
            <a:r>
              <a:rPr lang="en-US" dirty="0"/>
              <a:t> </a:t>
            </a:r>
            <a:r>
              <a:rPr lang="en-US" dirty="0" err="1"/>
              <a:t>dài</a:t>
            </a:r>
            <a:r>
              <a:rPr lang="en-US" dirty="0"/>
              <a:t> </a:t>
            </a:r>
            <a:r>
              <a:rPr lang="en-US" dirty="0" err="1"/>
              <a:t>câu</a:t>
            </a:r>
            <a:r>
              <a:rPr lang="en-US" dirty="0"/>
              <a:t> </a:t>
            </a:r>
            <a:r>
              <a:rPr lang="en-US" dirty="0" err="1"/>
              <a:t>hỏi</a:t>
            </a:r>
            <a:r>
              <a:rPr lang="en-US" dirty="0"/>
              <a:t>)</a:t>
            </a:r>
          </a:p>
          <a:p>
            <a:r>
              <a:rPr lang="en-US" dirty="0" err="1"/>
              <a:t>Thầy</a:t>
            </a:r>
            <a:r>
              <a:rPr lang="en-US" dirty="0"/>
              <a:t> </a:t>
            </a:r>
            <a:r>
              <a:rPr lang="en-US" dirty="0" err="1"/>
              <a:t>cô</a:t>
            </a:r>
            <a:r>
              <a:rPr lang="en-US" dirty="0"/>
              <a:t> </a:t>
            </a:r>
            <a:r>
              <a:rPr lang="en-US" dirty="0" err="1"/>
              <a:t>nhấp</a:t>
            </a:r>
            <a:r>
              <a:rPr lang="en-US" dirty="0"/>
              <a:t> </a:t>
            </a:r>
            <a:r>
              <a:rPr lang="en-US" dirty="0" err="1"/>
              <a:t>chuột</a:t>
            </a:r>
            <a:r>
              <a:rPr lang="en-US" dirty="0"/>
              <a:t> </a:t>
            </a:r>
            <a:r>
              <a:rPr lang="en-US" dirty="0" err="1"/>
              <a:t>phải</a:t>
            </a:r>
            <a:r>
              <a:rPr lang="en-US" dirty="0"/>
              <a:t> </a:t>
            </a:r>
            <a:r>
              <a:rPr lang="en-US" dirty="0" err="1"/>
              <a:t>hoặc</a:t>
            </a:r>
            <a:r>
              <a:rPr lang="en-US" dirty="0"/>
              <a:t> </a:t>
            </a:r>
            <a:r>
              <a:rPr lang="en-US" dirty="0" err="1"/>
              <a:t>phím</a:t>
            </a:r>
            <a:r>
              <a:rPr lang="en-US" dirty="0"/>
              <a:t> -&gt; </a:t>
            </a:r>
            <a:r>
              <a:rPr lang="en-US" dirty="0" err="1"/>
              <a:t>để</a:t>
            </a:r>
            <a:r>
              <a:rPr lang="en-US" dirty="0"/>
              <a:t> </a:t>
            </a:r>
            <a:r>
              <a:rPr lang="en-US" dirty="0" err="1"/>
              <a:t>hiện</a:t>
            </a:r>
            <a:r>
              <a:rPr lang="en-US" dirty="0"/>
              <a:t> </a:t>
            </a:r>
            <a:r>
              <a:rPr lang="en-US" dirty="0" err="1"/>
              <a:t>câu</a:t>
            </a:r>
            <a:r>
              <a:rPr lang="en-US" dirty="0"/>
              <a:t> </a:t>
            </a:r>
            <a:r>
              <a:rPr lang="en-US" dirty="0" err="1"/>
              <a:t>hỏi</a:t>
            </a:r>
            <a:r>
              <a:rPr lang="en-US" dirty="0"/>
              <a:t> </a:t>
            </a:r>
            <a:r>
              <a:rPr lang="en-US" dirty="0" err="1"/>
              <a:t>và</a:t>
            </a:r>
            <a:r>
              <a:rPr lang="en-US" dirty="0"/>
              <a:t> </a:t>
            </a:r>
            <a:r>
              <a:rPr lang="en-US" dirty="0" err="1"/>
              <a:t>các</a:t>
            </a:r>
            <a:r>
              <a:rPr lang="en-US" dirty="0"/>
              <a:t> </a:t>
            </a:r>
            <a:r>
              <a:rPr lang="en-US" dirty="0" err="1"/>
              <a:t>đáp</a:t>
            </a:r>
            <a:r>
              <a:rPr lang="en-US" dirty="0"/>
              <a:t> </a:t>
            </a:r>
            <a:r>
              <a:rPr lang="en-US" dirty="0" err="1"/>
              <a:t>án</a:t>
            </a:r>
            <a:endParaRPr lang="en-US" dirty="0"/>
          </a:p>
          <a:p>
            <a:r>
              <a:rPr lang="en-US" dirty="0"/>
              <a:t>Sau </a:t>
            </a:r>
            <a:r>
              <a:rPr lang="en-US" dirty="0" err="1"/>
              <a:t>khi</a:t>
            </a:r>
            <a:r>
              <a:rPr lang="en-US" dirty="0"/>
              <a:t> HS </a:t>
            </a:r>
            <a:r>
              <a:rPr lang="en-US" dirty="0" err="1"/>
              <a:t>chọn</a:t>
            </a:r>
            <a:r>
              <a:rPr lang="en-US" dirty="0"/>
              <a:t> </a:t>
            </a:r>
            <a:r>
              <a:rPr lang="en-US" dirty="0" err="1"/>
              <a:t>đáp</a:t>
            </a:r>
            <a:r>
              <a:rPr lang="en-US" dirty="0"/>
              <a:t> </a:t>
            </a:r>
            <a:r>
              <a:rPr lang="en-US" dirty="0" err="1"/>
              <a:t>án</a:t>
            </a:r>
            <a:r>
              <a:rPr lang="en-US" dirty="0"/>
              <a:t>, </a:t>
            </a:r>
            <a:r>
              <a:rPr lang="en-US" dirty="0" err="1"/>
              <a:t>thầy</a:t>
            </a:r>
            <a:r>
              <a:rPr lang="en-US" dirty="0"/>
              <a:t> </a:t>
            </a:r>
            <a:r>
              <a:rPr lang="en-US" dirty="0" err="1"/>
              <a:t>cô</a:t>
            </a:r>
            <a:r>
              <a:rPr lang="en-US" dirty="0"/>
              <a:t> </a:t>
            </a:r>
            <a:r>
              <a:rPr lang="en-US" dirty="0" err="1"/>
              <a:t>nhấp</a:t>
            </a:r>
            <a:r>
              <a:rPr lang="en-US" dirty="0"/>
              <a:t> </a:t>
            </a:r>
            <a:r>
              <a:rPr lang="en-US" dirty="0" err="1"/>
              <a:t>vào</a:t>
            </a:r>
            <a:r>
              <a:rPr lang="en-US" dirty="0"/>
              <a:t> PHẦN ĐẤT </a:t>
            </a:r>
            <a:r>
              <a:rPr lang="en-US" dirty="0" err="1"/>
              <a:t>chứa</a:t>
            </a:r>
            <a:r>
              <a:rPr lang="en-US" dirty="0"/>
              <a:t> </a:t>
            </a:r>
            <a:r>
              <a:rPr lang="en-US" dirty="0" err="1"/>
              <a:t>đáp</a:t>
            </a:r>
            <a:r>
              <a:rPr lang="en-US" dirty="0"/>
              <a:t> </a:t>
            </a:r>
            <a:r>
              <a:rPr lang="en-US" dirty="0" err="1"/>
              <a:t>án</a:t>
            </a:r>
            <a:r>
              <a:rPr lang="en-US" dirty="0"/>
              <a:t> </a:t>
            </a:r>
            <a:r>
              <a:rPr lang="en-US" dirty="0" err="1"/>
              <a:t>đó</a:t>
            </a:r>
            <a:r>
              <a:rPr lang="en-US" dirty="0"/>
              <a:t>.</a:t>
            </a:r>
          </a:p>
          <a:p>
            <a:r>
              <a:rPr lang="en-US" dirty="0"/>
              <a:t>Sau </a:t>
            </a:r>
            <a:r>
              <a:rPr lang="en-US" dirty="0" err="1"/>
              <a:t>khi</a:t>
            </a:r>
            <a:r>
              <a:rPr lang="en-US" dirty="0"/>
              <a:t> ở </a:t>
            </a:r>
            <a:r>
              <a:rPr lang="en-US" dirty="0" err="1"/>
              <a:t>phần</a:t>
            </a:r>
            <a:r>
              <a:rPr lang="en-US" dirty="0"/>
              <a:t> </a:t>
            </a:r>
            <a:r>
              <a:rPr lang="en-US" dirty="0" err="1"/>
              <a:t>kiểm</a:t>
            </a:r>
            <a:r>
              <a:rPr lang="en-US" dirty="0"/>
              <a:t> </a:t>
            </a:r>
            <a:r>
              <a:rPr lang="en-US" dirty="0" err="1"/>
              <a:t>tra</a:t>
            </a:r>
            <a:r>
              <a:rPr lang="en-US" dirty="0"/>
              <a:t> </a:t>
            </a:r>
            <a:r>
              <a:rPr lang="en-US" dirty="0" err="1"/>
              <a:t>đúng</a:t>
            </a:r>
            <a:r>
              <a:rPr lang="en-US" dirty="0"/>
              <a:t> </a:t>
            </a:r>
            <a:r>
              <a:rPr lang="en-US" dirty="0" err="1"/>
              <a:t>sai</a:t>
            </a:r>
            <a:r>
              <a:rPr lang="en-US" dirty="0"/>
              <a:t>, </a:t>
            </a:r>
            <a:r>
              <a:rPr lang="en-US" dirty="0" err="1"/>
              <a:t>thầy</a:t>
            </a:r>
            <a:r>
              <a:rPr lang="en-US" dirty="0"/>
              <a:t> </a:t>
            </a:r>
            <a:r>
              <a:rPr lang="en-US" dirty="0" err="1"/>
              <a:t>cô</a:t>
            </a:r>
            <a:r>
              <a:rPr lang="en-US" dirty="0"/>
              <a:t> </a:t>
            </a:r>
            <a:r>
              <a:rPr lang="en-US" dirty="0" err="1"/>
              <a:t>nhấp</a:t>
            </a:r>
            <a:r>
              <a:rPr lang="en-US" dirty="0"/>
              <a:t> &lt; </a:t>
            </a:r>
            <a:r>
              <a:rPr lang="en-US" dirty="0" err="1"/>
              <a:t>để</a:t>
            </a:r>
            <a:r>
              <a:rPr lang="en-US" dirty="0"/>
              <a:t> </a:t>
            </a:r>
            <a:r>
              <a:rPr lang="en-US" dirty="0" err="1"/>
              <a:t>trở</a:t>
            </a:r>
            <a:r>
              <a:rPr lang="en-US" dirty="0"/>
              <a:t> </a:t>
            </a:r>
            <a:r>
              <a:rPr lang="en-US" dirty="0" err="1"/>
              <a:t>về</a:t>
            </a:r>
            <a:r>
              <a:rPr lang="en-US" dirty="0"/>
              <a:t> </a:t>
            </a:r>
            <a:r>
              <a:rPr lang="en-US" dirty="0" err="1"/>
              <a:t>câu</a:t>
            </a:r>
            <a:r>
              <a:rPr lang="en-US" dirty="0"/>
              <a:t> </a:t>
            </a:r>
            <a:r>
              <a:rPr lang="en-US" dirty="0" err="1"/>
              <a:t>hỏi</a:t>
            </a:r>
            <a:r>
              <a:rPr lang="en-US" dirty="0"/>
              <a:t>.</a:t>
            </a:r>
          </a:p>
          <a:p>
            <a:r>
              <a:rPr lang="en-US" dirty="0"/>
              <a:t>Sau </a:t>
            </a:r>
            <a:r>
              <a:rPr lang="en-US" dirty="0" err="1"/>
              <a:t>khi</a:t>
            </a:r>
            <a:r>
              <a:rPr lang="en-US" dirty="0"/>
              <a:t> </a:t>
            </a:r>
            <a:r>
              <a:rPr lang="en-US" dirty="0" err="1"/>
              <a:t>hoàn</a:t>
            </a:r>
            <a:r>
              <a:rPr lang="en-US" dirty="0"/>
              <a:t> </a:t>
            </a:r>
            <a:r>
              <a:rPr lang="en-US" dirty="0" err="1"/>
              <a:t>thành</a:t>
            </a:r>
            <a:r>
              <a:rPr lang="en-US" dirty="0"/>
              <a:t> </a:t>
            </a:r>
            <a:r>
              <a:rPr lang="en-US" dirty="0" err="1"/>
              <a:t>xong</a:t>
            </a:r>
            <a:r>
              <a:rPr lang="en-US" dirty="0"/>
              <a:t> </a:t>
            </a:r>
            <a:r>
              <a:rPr lang="en-US" dirty="0" err="1"/>
              <a:t>câu</a:t>
            </a:r>
            <a:r>
              <a:rPr lang="en-US" dirty="0"/>
              <a:t> </a:t>
            </a:r>
            <a:r>
              <a:rPr lang="en-US" dirty="0" err="1"/>
              <a:t>hỏi</a:t>
            </a:r>
            <a:r>
              <a:rPr lang="en-US" dirty="0"/>
              <a:t>, </a:t>
            </a:r>
            <a:r>
              <a:rPr lang="en-US" dirty="0" err="1"/>
              <a:t>thầy</a:t>
            </a:r>
            <a:r>
              <a:rPr lang="en-US" dirty="0"/>
              <a:t> </a:t>
            </a:r>
            <a:r>
              <a:rPr lang="en-US" dirty="0" err="1"/>
              <a:t>cô</a:t>
            </a:r>
            <a:r>
              <a:rPr lang="en-US" dirty="0"/>
              <a:t> </a:t>
            </a:r>
            <a:r>
              <a:rPr lang="en-US" dirty="0" err="1"/>
              <a:t>nhấp</a:t>
            </a:r>
            <a:r>
              <a:rPr lang="en-US" dirty="0"/>
              <a:t> </a:t>
            </a:r>
            <a:r>
              <a:rPr lang="en-US" dirty="0" err="1"/>
              <a:t>hình</a:t>
            </a:r>
            <a:r>
              <a:rPr lang="en-US" dirty="0"/>
              <a:t> &gt; </a:t>
            </a:r>
            <a:r>
              <a:rPr lang="en-US" dirty="0" err="1"/>
              <a:t>hoặc</a:t>
            </a:r>
            <a:r>
              <a:rPr lang="en-US" dirty="0"/>
              <a:t> </a:t>
            </a:r>
            <a:r>
              <a:rPr lang="en-US" dirty="0" err="1"/>
              <a:t>chuột</a:t>
            </a:r>
            <a:r>
              <a:rPr lang="en-US" dirty="0"/>
              <a:t> </a:t>
            </a:r>
            <a:r>
              <a:rPr lang="en-US" dirty="0" err="1"/>
              <a:t>trái</a:t>
            </a:r>
            <a:r>
              <a:rPr lang="en-US" dirty="0"/>
              <a:t>, </a:t>
            </a:r>
            <a:r>
              <a:rPr lang="en-US" dirty="0" err="1"/>
              <a:t>phím</a:t>
            </a:r>
            <a:r>
              <a:rPr lang="en-US" dirty="0"/>
              <a:t> -&gt; </a:t>
            </a:r>
            <a:r>
              <a:rPr lang="en-US" dirty="0" err="1"/>
              <a:t>để</a:t>
            </a:r>
            <a:r>
              <a:rPr lang="en-US" dirty="0"/>
              <a:t> </a:t>
            </a:r>
            <a:r>
              <a:rPr lang="en-US" dirty="0" err="1"/>
              <a:t>chuyển</a:t>
            </a:r>
            <a:r>
              <a:rPr lang="en-US" dirty="0"/>
              <a:t> sang </a:t>
            </a:r>
            <a:r>
              <a:rPr lang="en-US" dirty="0" err="1"/>
              <a:t>câu</a:t>
            </a:r>
            <a:r>
              <a:rPr lang="en-US" dirty="0"/>
              <a:t> </a:t>
            </a:r>
            <a:r>
              <a:rPr lang="en-US" dirty="0" err="1"/>
              <a:t>hỏi</a:t>
            </a:r>
            <a:r>
              <a:rPr lang="en-US" dirty="0"/>
              <a:t> </a:t>
            </a:r>
            <a:r>
              <a:rPr lang="en-US" dirty="0" err="1"/>
              <a:t>tiếp</a:t>
            </a:r>
            <a:r>
              <a:rPr lang="en-US" dirty="0"/>
              <a:t> </a:t>
            </a:r>
            <a:r>
              <a:rPr lang="en-US" dirty="0" err="1"/>
              <a:t>theo.</a:t>
            </a:r>
            <a:endParaRPr lang="en-US" dirty="0"/>
          </a:p>
        </p:txBody>
      </p:sp>
      <p:sp>
        <p:nvSpPr>
          <p:cNvPr id="4" name="Slide Number Placeholder 3"/>
          <p:cNvSpPr>
            <a:spLocks noGrp="1"/>
          </p:cNvSpPr>
          <p:nvPr>
            <p:ph type="sldNum" sz="quarter" idx="5"/>
          </p:nvPr>
        </p:nvSpPr>
        <p:spPr/>
        <p:txBody>
          <a:bodyPr/>
          <a:lstStyle/>
          <a:p>
            <a:fld id="{78202F42-8E37-417F-B7D4-5F68870918A3}" type="slidenum">
              <a:rPr lang="en-US" smtClean="0"/>
              <a:t>27</a:t>
            </a:fld>
            <a:endParaRPr lang="en-US"/>
          </a:p>
        </p:txBody>
      </p:sp>
    </p:spTree>
    <p:extLst>
      <p:ext uri="{BB962C8B-B14F-4D97-AF65-F5344CB8AC3E}">
        <p14:creationId xmlns:p14="http://schemas.microsoft.com/office/powerpoint/2010/main" val="42650618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628639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9"/>
        <p:cNvGrpSpPr/>
        <p:nvPr/>
      </p:nvGrpSpPr>
      <p:grpSpPr>
        <a:xfrm>
          <a:off x="0" y="0"/>
          <a:ext cx="0" cy="0"/>
          <a:chOff x="0" y="0"/>
          <a:chExt cx="0" cy="0"/>
        </a:xfrm>
      </p:grpSpPr>
      <p:sp>
        <p:nvSpPr>
          <p:cNvPr id="1490" name="Google Shape;1490;g2971ecab5b9_0_6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1" name="Google Shape;1491;g2971ecab5b9_0_65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51742-F350-4E0A-882E-44E34E005E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9115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002DED-DCF6-428F-92AB-AA8ACCA0B3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2470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002DED-DCF6-428F-92AB-AA8ACCA0B3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680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6"/>
        <p:cNvGrpSpPr/>
        <p:nvPr/>
      </p:nvGrpSpPr>
      <p:grpSpPr>
        <a:xfrm>
          <a:off x="0" y="0"/>
          <a:ext cx="0" cy="0"/>
          <a:chOff x="0" y="0"/>
          <a:chExt cx="0" cy="0"/>
        </a:xfrm>
      </p:grpSpPr>
      <p:sp>
        <p:nvSpPr>
          <p:cNvPr id="1397" name="Google Shape;1397;g2971ecab5b9_0_6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8" name="Google Shape;1398;g2971ecab5b9_0_6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0"/>
        <p:cNvGrpSpPr/>
        <p:nvPr/>
      </p:nvGrpSpPr>
      <p:grpSpPr>
        <a:xfrm>
          <a:off x="0" y="0"/>
          <a:ext cx="0" cy="0"/>
          <a:chOff x="0" y="0"/>
          <a:chExt cx="0" cy="0"/>
        </a:xfrm>
      </p:grpSpPr>
      <p:sp>
        <p:nvSpPr>
          <p:cNvPr id="1361" name="Google Shape;1361;g2971ecab5b9_0_6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2" name="Google Shape;1362;g2971ecab5b9_0_6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g5fd4b45418938cd5_2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0" name="Google Shape;520;g5fd4b45418938cd5_2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27778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g9a0f900027_1_8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7" name="Google Shape;247;g9a0f900027_1_8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197902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2057400" y="1381368"/>
            <a:ext cx="5029200" cy="1737300"/>
          </a:xfrm>
          <a:prstGeom prst="rect">
            <a:avLst/>
          </a:prstGeom>
        </p:spPr>
        <p:txBody>
          <a:bodyPr spcFirstLastPara="1" wrap="square" lIns="91425" tIns="91425" rIns="91425" bIns="91425" anchor="t" anchorCtr="0">
            <a:noAutofit/>
          </a:bodyPr>
          <a:lstStyle>
            <a:lvl1pPr lvl="0" algn="ctr">
              <a:spcBef>
                <a:spcPts val="0"/>
              </a:spcBef>
              <a:spcAft>
                <a:spcPts val="0"/>
              </a:spcAft>
              <a:buSzPts val="5200"/>
              <a:buNone/>
              <a:defRPr sz="5000"/>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0" name="Google Shape;10;p2"/>
          <p:cNvSpPr txBox="1">
            <a:spLocks noGrp="1"/>
          </p:cNvSpPr>
          <p:nvPr>
            <p:ph type="subTitle" idx="1"/>
          </p:nvPr>
        </p:nvSpPr>
        <p:spPr>
          <a:xfrm>
            <a:off x="2057400" y="3300432"/>
            <a:ext cx="5029200" cy="4617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16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FFFFFF"/>
        </a:solidFill>
        <a:effectLst/>
      </p:bgPr>
    </p:bg>
    <p:spTree>
      <p:nvGrpSpPr>
        <p:cNvPr id="1" name="Shape 772"/>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only 1">
  <p:cSld name="CUSTOM_9">
    <p:spTree>
      <p:nvGrpSpPr>
        <p:cNvPr id="1" name="Shape 773"/>
        <p:cNvGrpSpPr/>
        <p:nvPr/>
      </p:nvGrpSpPr>
      <p:grpSpPr>
        <a:xfrm>
          <a:off x="0" y="0"/>
          <a:ext cx="0" cy="0"/>
          <a:chOff x="0" y="0"/>
          <a:chExt cx="0" cy="0"/>
        </a:xfrm>
      </p:grpSpPr>
      <p:sp>
        <p:nvSpPr>
          <p:cNvPr id="774" name="Google Shape;774;p13"/>
          <p:cNvSpPr txBox="1">
            <a:spLocks noGrp="1"/>
          </p:cNvSpPr>
          <p:nvPr>
            <p:ph type="title"/>
          </p:nvPr>
        </p:nvSpPr>
        <p:spPr>
          <a:xfrm>
            <a:off x="713250" y="539400"/>
            <a:ext cx="7717500" cy="685800"/>
          </a:xfrm>
          <a:prstGeom prst="rect">
            <a:avLst/>
          </a:prstGeom>
        </p:spPr>
        <p:txBody>
          <a:bodyPr spcFirstLastPara="1" wrap="square" lIns="91425" tIns="91425" rIns="91425" bIns="91425" anchor="t" anchorCtr="0">
            <a:noAutofit/>
          </a:bodyPr>
          <a:lstStyle>
            <a:lvl1pPr lvl="0" algn="ctr">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grpSp>
        <p:nvGrpSpPr>
          <p:cNvPr id="775" name="Google Shape;775;p13"/>
          <p:cNvGrpSpPr/>
          <p:nvPr/>
        </p:nvGrpSpPr>
        <p:grpSpPr>
          <a:xfrm>
            <a:off x="-1126249" y="-1455538"/>
            <a:ext cx="11084575" cy="7406045"/>
            <a:chOff x="-1126249" y="-1455538"/>
            <a:chExt cx="11084575" cy="7406045"/>
          </a:xfrm>
        </p:grpSpPr>
        <p:grpSp>
          <p:nvGrpSpPr>
            <p:cNvPr id="776" name="Google Shape;776;p13"/>
            <p:cNvGrpSpPr/>
            <p:nvPr/>
          </p:nvGrpSpPr>
          <p:grpSpPr>
            <a:xfrm>
              <a:off x="6427769" y="-1455538"/>
              <a:ext cx="3530556" cy="3662873"/>
              <a:chOff x="6427769" y="-1455538"/>
              <a:chExt cx="3530556" cy="3662873"/>
            </a:xfrm>
          </p:grpSpPr>
          <p:grpSp>
            <p:nvGrpSpPr>
              <p:cNvPr id="777" name="Google Shape;777;p13"/>
              <p:cNvGrpSpPr/>
              <p:nvPr/>
            </p:nvGrpSpPr>
            <p:grpSpPr>
              <a:xfrm rot="-7976905" flipH="1">
                <a:off x="6888776" y="-1230204"/>
                <a:ext cx="1436254" cy="1884950"/>
                <a:chOff x="3255967" y="2507600"/>
                <a:chExt cx="1305465" cy="1715179"/>
              </a:xfrm>
            </p:grpSpPr>
            <p:sp>
              <p:nvSpPr>
                <p:cNvPr id="778" name="Google Shape;778;p13"/>
                <p:cNvSpPr/>
                <p:nvPr/>
              </p:nvSpPr>
              <p:spPr>
                <a:xfrm>
                  <a:off x="4191774" y="3356698"/>
                  <a:ext cx="369658" cy="519086"/>
                </a:xfrm>
                <a:custGeom>
                  <a:avLst/>
                  <a:gdLst/>
                  <a:ahLst/>
                  <a:cxnLst/>
                  <a:rect l="l" t="t" r="r" b="b"/>
                  <a:pathLst>
                    <a:path w="11711" h="16445" extrusionOk="0">
                      <a:moveTo>
                        <a:pt x="10695" y="0"/>
                      </a:moveTo>
                      <a:cubicBezTo>
                        <a:pt x="10695" y="0"/>
                        <a:pt x="8962" y="777"/>
                        <a:pt x="7394" y="3032"/>
                      </a:cubicBezTo>
                      <a:lnTo>
                        <a:pt x="7290" y="2256"/>
                      </a:lnTo>
                      <a:cubicBezTo>
                        <a:pt x="7290" y="2256"/>
                        <a:pt x="4691" y="4735"/>
                        <a:pt x="3660" y="6841"/>
                      </a:cubicBezTo>
                      <a:lnTo>
                        <a:pt x="3660" y="5945"/>
                      </a:lnTo>
                      <a:cubicBezTo>
                        <a:pt x="3660" y="5945"/>
                        <a:pt x="1" y="10635"/>
                        <a:pt x="2674" y="16445"/>
                      </a:cubicBezTo>
                      <a:cubicBezTo>
                        <a:pt x="2674" y="16445"/>
                        <a:pt x="5423" y="16370"/>
                        <a:pt x="9067" y="13249"/>
                      </a:cubicBezTo>
                      <a:lnTo>
                        <a:pt x="8529" y="13174"/>
                      </a:lnTo>
                      <a:cubicBezTo>
                        <a:pt x="8529" y="13174"/>
                        <a:pt x="11053" y="9559"/>
                        <a:pt x="11666" y="5930"/>
                      </a:cubicBezTo>
                      <a:lnTo>
                        <a:pt x="11666" y="5930"/>
                      </a:lnTo>
                      <a:lnTo>
                        <a:pt x="11009" y="6184"/>
                      </a:lnTo>
                      <a:cubicBezTo>
                        <a:pt x="11009" y="6184"/>
                        <a:pt x="11711" y="2659"/>
                        <a:pt x="1069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9" name="Google Shape;779;p13"/>
                <p:cNvSpPr/>
                <p:nvPr/>
              </p:nvSpPr>
              <p:spPr>
                <a:xfrm>
                  <a:off x="3567576" y="2507600"/>
                  <a:ext cx="429537" cy="595474"/>
                </a:xfrm>
                <a:custGeom>
                  <a:avLst/>
                  <a:gdLst/>
                  <a:ahLst/>
                  <a:cxnLst/>
                  <a:rect l="l" t="t" r="r" b="b"/>
                  <a:pathLst>
                    <a:path w="13608" h="18865" extrusionOk="0">
                      <a:moveTo>
                        <a:pt x="1300" y="1"/>
                      </a:moveTo>
                      <a:lnTo>
                        <a:pt x="1315" y="31"/>
                      </a:lnTo>
                      <a:lnTo>
                        <a:pt x="1300" y="16"/>
                      </a:lnTo>
                      <a:cubicBezTo>
                        <a:pt x="1106" y="554"/>
                        <a:pt x="1211" y="2779"/>
                        <a:pt x="1211" y="2779"/>
                      </a:cubicBezTo>
                      <a:lnTo>
                        <a:pt x="539" y="2421"/>
                      </a:lnTo>
                      <a:lnTo>
                        <a:pt x="539" y="2421"/>
                      </a:lnTo>
                      <a:cubicBezTo>
                        <a:pt x="434" y="3317"/>
                        <a:pt x="1255" y="6408"/>
                        <a:pt x="1270" y="6513"/>
                      </a:cubicBezTo>
                      <a:lnTo>
                        <a:pt x="1" y="6080"/>
                      </a:lnTo>
                      <a:lnTo>
                        <a:pt x="1" y="6080"/>
                      </a:lnTo>
                      <a:cubicBezTo>
                        <a:pt x="583" y="8783"/>
                        <a:pt x="4332" y="13309"/>
                        <a:pt x="4332" y="13309"/>
                      </a:cubicBezTo>
                      <a:lnTo>
                        <a:pt x="3152" y="13488"/>
                      </a:lnTo>
                      <a:cubicBezTo>
                        <a:pt x="6677" y="17924"/>
                        <a:pt x="12995" y="18865"/>
                        <a:pt x="12995" y="18865"/>
                      </a:cubicBezTo>
                      <a:cubicBezTo>
                        <a:pt x="13010" y="18820"/>
                        <a:pt x="13040" y="18775"/>
                        <a:pt x="13055" y="18731"/>
                      </a:cubicBezTo>
                      <a:cubicBezTo>
                        <a:pt x="13085" y="18686"/>
                        <a:pt x="13100" y="18641"/>
                        <a:pt x="13115" y="18596"/>
                      </a:cubicBezTo>
                      <a:cubicBezTo>
                        <a:pt x="13144" y="18536"/>
                        <a:pt x="13159" y="18492"/>
                        <a:pt x="13174" y="18447"/>
                      </a:cubicBezTo>
                      <a:cubicBezTo>
                        <a:pt x="13189" y="18402"/>
                        <a:pt x="13204" y="18342"/>
                        <a:pt x="13219" y="18297"/>
                      </a:cubicBezTo>
                      <a:cubicBezTo>
                        <a:pt x="13249" y="18238"/>
                        <a:pt x="13264" y="18193"/>
                        <a:pt x="13279" y="18148"/>
                      </a:cubicBezTo>
                      <a:cubicBezTo>
                        <a:pt x="13294" y="18088"/>
                        <a:pt x="13309" y="18029"/>
                        <a:pt x="13324" y="17984"/>
                      </a:cubicBezTo>
                      <a:cubicBezTo>
                        <a:pt x="13339" y="17924"/>
                        <a:pt x="13353" y="17864"/>
                        <a:pt x="13353" y="17819"/>
                      </a:cubicBezTo>
                      <a:cubicBezTo>
                        <a:pt x="13368" y="17760"/>
                        <a:pt x="13383" y="17700"/>
                        <a:pt x="13398" y="17640"/>
                      </a:cubicBezTo>
                      <a:cubicBezTo>
                        <a:pt x="13413" y="17595"/>
                        <a:pt x="13413" y="17536"/>
                        <a:pt x="13428" y="17476"/>
                      </a:cubicBezTo>
                      <a:cubicBezTo>
                        <a:pt x="13443" y="17416"/>
                        <a:pt x="13458" y="17356"/>
                        <a:pt x="13458" y="17297"/>
                      </a:cubicBezTo>
                      <a:cubicBezTo>
                        <a:pt x="13473" y="17237"/>
                        <a:pt x="13488" y="17177"/>
                        <a:pt x="13488" y="17117"/>
                      </a:cubicBezTo>
                      <a:cubicBezTo>
                        <a:pt x="13503" y="17058"/>
                        <a:pt x="13503" y="16983"/>
                        <a:pt x="13518" y="16923"/>
                      </a:cubicBezTo>
                      <a:cubicBezTo>
                        <a:pt x="13518" y="16864"/>
                        <a:pt x="13533" y="16804"/>
                        <a:pt x="13533" y="16744"/>
                      </a:cubicBezTo>
                      <a:cubicBezTo>
                        <a:pt x="13548" y="16669"/>
                        <a:pt x="13548" y="16610"/>
                        <a:pt x="13548" y="16550"/>
                      </a:cubicBezTo>
                      <a:cubicBezTo>
                        <a:pt x="13563" y="16490"/>
                        <a:pt x="13563" y="16415"/>
                        <a:pt x="13578" y="16356"/>
                      </a:cubicBezTo>
                      <a:cubicBezTo>
                        <a:pt x="13578" y="16281"/>
                        <a:pt x="13578" y="16221"/>
                        <a:pt x="13578" y="16162"/>
                      </a:cubicBezTo>
                      <a:cubicBezTo>
                        <a:pt x="13592" y="16087"/>
                        <a:pt x="13592" y="16027"/>
                        <a:pt x="13592" y="15952"/>
                      </a:cubicBezTo>
                      <a:cubicBezTo>
                        <a:pt x="13592" y="15893"/>
                        <a:pt x="13607" y="15818"/>
                        <a:pt x="13607" y="15758"/>
                      </a:cubicBezTo>
                      <a:cubicBezTo>
                        <a:pt x="13607" y="15684"/>
                        <a:pt x="13607" y="15624"/>
                        <a:pt x="13607" y="15549"/>
                      </a:cubicBezTo>
                      <a:cubicBezTo>
                        <a:pt x="13607" y="15489"/>
                        <a:pt x="13607" y="15415"/>
                        <a:pt x="13607" y="15355"/>
                      </a:cubicBezTo>
                      <a:cubicBezTo>
                        <a:pt x="13607" y="15280"/>
                        <a:pt x="13607" y="15206"/>
                        <a:pt x="13607" y="15146"/>
                      </a:cubicBezTo>
                      <a:cubicBezTo>
                        <a:pt x="13607" y="15071"/>
                        <a:pt x="13607" y="15012"/>
                        <a:pt x="13607" y="14937"/>
                      </a:cubicBezTo>
                      <a:cubicBezTo>
                        <a:pt x="13607" y="14862"/>
                        <a:pt x="13607" y="14802"/>
                        <a:pt x="13607" y="14728"/>
                      </a:cubicBezTo>
                      <a:cubicBezTo>
                        <a:pt x="13607" y="14668"/>
                        <a:pt x="13607" y="14593"/>
                        <a:pt x="13607" y="14519"/>
                      </a:cubicBezTo>
                      <a:cubicBezTo>
                        <a:pt x="13607" y="14459"/>
                        <a:pt x="13607" y="14384"/>
                        <a:pt x="13592" y="14310"/>
                      </a:cubicBezTo>
                      <a:cubicBezTo>
                        <a:pt x="13592" y="14250"/>
                        <a:pt x="13592" y="14175"/>
                        <a:pt x="13592" y="14115"/>
                      </a:cubicBezTo>
                      <a:cubicBezTo>
                        <a:pt x="13592" y="14041"/>
                        <a:pt x="13592" y="13966"/>
                        <a:pt x="13578" y="13906"/>
                      </a:cubicBezTo>
                      <a:cubicBezTo>
                        <a:pt x="13578" y="13832"/>
                        <a:pt x="13578" y="13772"/>
                        <a:pt x="13578" y="13697"/>
                      </a:cubicBezTo>
                      <a:cubicBezTo>
                        <a:pt x="13428" y="11233"/>
                        <a:pt x="12980" y="8962"/>
                        <a:pt x="12980" y="8962"/>
                      </a:cubicBezTo>
                      <a:lnTo>
                        <a:pt x="12547" y="9754"/>
                      </a:lnTo>
                      <a:cubicBezTo>
                        <a:pt x="11755" y="6737"/>
                        <a:pt x="8425" y="3138"/>
                        <a:pt x="8425" y="3138"/>
                      </a:cubicBezTo>
                      <a:lnTo>
                        <a:pt x="8425" y="3152"/>
                      </a:lnTo>
                      <a:lnTo>
                        <a:pt x="8440" y="4064"/>
                      </a:lnTo>
                      <a:cubicBezTo>
                        <a:pt x="7439" y="2630"/>
                        <a:pt x="5094" y="1285"/>
                        <a:pt x="5094" y="1285"/>
                      </a:cubicBezTo>
                      <a:lnTo>
                        <a:pt x="5094" y="1300"/>
                      </a:lnTo>
                      <a:lnTo>
                        <a:pt x="5109" y="1883"/>
                      </a:lnTo>
                      <a:cubicBezTo>
                        <a:pt x="4034" y="1002"/>
                        <a:pt x="1390" y="31"/>
                        <a:pt x="130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0" name="Google Shape;780;p13"/>
                <p:cNvSpPr/>
                <p:nvPr/>
              </p:nvSpPr>
              <p:spPr>
                <a:xfrm>
                  <a:off x="4137577" y="3199694"/>
                  <a:ext cx="207445" cy="272059"/>
                </a:xfrm>
                <a:custGeom>
                  <a:avLst/>
                  <a:gdLst/>
                  <a:ahLst/>
                  <a:cxnLst/>
                  <a:rect l="l" t="t" r="r" b="b"/>
                  <a:pathLst>
                    <a:path w="6572" h="8619" extrusionOk="0">
                      <a:moveTo>
                        <a:pt x="6199" y="1"/>
                      </a:moveTo>
                      <a:lnTo>
                        <a:pt x="6199" y="1"/>
                      </a:lnTo>
                      <a:cubicBezTo>
                        <a:pt x="4630" y="300"/>
                        <a:pt x="3555" y="1420"/>
                        <a:pt x="3555" y="1420"/>
                      </a:cubicBezTo>
                      <a:lnTo>
                        <a:pt x="3316" y="807"/>
                      </a:lnTo>
                      <a:cubicBezTo>
                        <a:pt x="2241" y="1509"/>
                        <a:pt x="1583" y="4078"/>
                        <a:pt x="1583" y="4078"/>
                      </a:cubicBezTo>
                      <a:lnTo>
                        <a:pt x="1285" y="3660"/>
                      </a:lnTo>
                      <a:lnTo>
                        <a:pt x="1285" y="3660"/>
                      </a:lnTo>
                      <a:cubicBezTo>
                        <a:pt x="0" y="6020"/>
                        <a:pt x="1389" y="8619"/>
                        <a:pt x="1389" y="8619"/>
                      </a:cubicBezTo>
                      <a:cubicBezTo>
                        <a:pt x="3540" y="8365"/>
                        <a:pt x="5228" y="6408"/>
                        <a:pt x="5228" y="6408"/>
                      </a:cubicBezTo>
                      <a:lnTo>
                        <a:pt x="5228" y="6408"/>
                      </a:lnTo>
                      <a:lnTo>
                        <a:pt x="4436" y="6573"/>
                      </a:lnTo>
                      <a:cubicBezTo>
                        <a:pt x="5691" y="5736"/>
                        <a:pt x="6527" y="3302"/>
                        <a:pt x="6572" y="3197"/>
                      </a:cubicBezTo>
                      <a:lnTo>
                        <a:pt x="6572" y="3197"/>
                      </a:lnTo>
                      <a:lnTo>
                        <a:pt x="5945" y="3451"/>
                      </a:lnTo>
                      <a:cubicBezTo>
                        <a:pt x="6467" y="2286"/>
                        <a:pt x="6199" y="1"/>
                        <a:pt x="619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1" name="Google Shape;781;p13"/>
                <p:cNvSpPr/>
                <p:nvPr/>
              </p:nvSpPr>
              <p:spPr>
                <a:xfrm>
                  <a:off x="3255967" y="2989439"/>
                  <a:ext cx="652512" cy="337619"/>
                </a:xfrm>
                <a:custGeom>
                  <a:avLst/>
                  <a:gdLst/>
                  <a:ahLst/>
                  <a:cxnLst/>
                  <a:rect l="l" t="t" r="r" b="b"/>
                  <a:pathLst>
                    <a:path w="20672" h="10696" extrusionOk="0">
                      <a:moveTo>
                        <a:pt x="12427" y="0"/>
                      </a:moveTo>
                      <a:lnTo>
                        <a:pt x="12427" y="15"/>
                      </a:lnTo>
                      <a:lnTo>
                        <a:pt x="12681" y="658"/>
                      </a:lnTo>
                      <a:cubicBezTo>
                        <a:pt x="12576" y="629"/>
                        <a:pt x="11042" y="273"/>
                        <a:pt x="9055" y="273"/>
                      </a:cubicBezTo>
                      <a:cubicBezTo>
                        <a:pt x="7921" y="273"/>
                        <a:pt x="6640" y="389"/>
                        <a:pt x="5392" y="747"/>
                      </a:cubicBezTo>
                      <a:lnTo>
                        <a:pt x="5407" y="762"/>
                      </a:lnTo>
                      <a:lnTo>
                        <a:pt x="5392" y="762"/>
                      </a:lnTo>
                      <a:lnTo>
                        <a:pt x="6109" y="1330"/>
                      </a:lnTo>
                      <a:cubicBezTo>
                        <a:pt x="5870" y="1434"/>
                        <a:pt x="2286" y="2943"/>
                        <a:pt x="0" y="5796"/>
                      </a:cubicBezTo>
                      <a:cubicBezTo>
                        <a:pt x="165" y="5945"/>
                        <a:pt x="1972" y="7588"/>
                        <a:pt x="4466" y="8155"/>
                      </a:cubicBezTo>
                      <a:lnTo>
                        <a:pt x="3689" y="8514"/>
                      </a:lnTo>
                      <a:cubicBezTo>
                        <a:pt x="3689" y="8514"/>
                        <a:pt x="7041" y="10001"/>
                        <a:pt x="10015" y="10001"/>
                      </a:cubicBezTo>
                      <a:cubicBezTo>
                        <a:pt x="10224" y="10001"/>
                        <a:pt x="10431" y="9993"/>
                        <a:pt x="10635" y="9978"/>
                      </a:cubicBezTo>
                      <a:lnTo>
                        <a:pt x="10635" y="9978"/>
                      </a:lnTo>
                      <a:lnTo>
                        <a:pt x="9604" y="10575"/>
                      </a:lnTo>
                      <a:cubicBezTo>
                        <a:pt x="9604" y="10575"/>
                        <a:pt x="10408" y="10695"/>
                        <a:pt x="11654" y="10695"/>
                      </a:cubicBezTo>
                      <a:cubicBezTo>
                        <a:pt x="13921" y="10695"/>
                        <a:pt x="17654" y="10297"/>
                        <a:pt x="20671" y="8051"/>
                      </a:cubicBezTo>
                      <a:lnTo>
                        <a:pt x="20671" y="8036"/>
                      </a:lnTo>
                      <a:lnTo>
                        <a:pt x="20657" y="8021"/>
                      </a:lnTo>
                      <a:lnTo>
                        <a:pt x="20642" y="7991"/>
                      </a:lnTo>
                      <a:lnTo>
                        <a:pt x="20627" y="7946"/>
                      </a:lnTo>
                      <a:lnTo>
                        <a:pt x="20612" y="7901"/>
                      </a:lnTo>
                      <a:lnTo>
                        <a:pt x="20582" y="7857"/>
                      </a:lnTo>
                      <a:lnTo>
                        <a:pt x="20567" y="7797"/>
                      </a:lnTo>
                      <a:lnTo>
                        <a:pt x="20537" y="7722"/>
                      </a:lnTo>
                      <a:lnTo>
                        <a:pt x="20507" y="7648"/>
                      </a:lnTo>
                      <a:lnTo>
                        <a:pt x="20462" y="7573"/>
                      </a:lnTo>
                      <a:lnTo>
                        <a:pt x="20418" y="7483"/>
                      </a:lnTo>
                      <a:lnTo>
                        <a:pt x="20373" y="7394"/>
                      </a:lnTo>
                      <a:lnTo>
                        <a:pt x="20328" y="7304"/>
                      </a:lnTo>
                      <a:cubicBezTo>
                        <a:pt x="20313" y="7274"/>
                        <a:pt x="20298" y="7229"/>
                        <a:pt x="20283" y="7200"/>
                      </a:cubicBezTo>
                      <a:cubicBezTo>
                        <a:pt x="19402" y="5467"/>
                        <a:pt x="17012" y="1613"/>
                        <a:pt x="1242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2" name="Google Shape;782;p13"/>
                <p:cNvSpPr/>
                <p:nvPr/>
              </p:nvSpPr>
              <p:spPr>
                <a:xfrm>
                  <a:off x="3675560" y="3494669"/>
                  <a:ext cx="490331" cy="341123"/>
                </a:xfrm>
                <a:custGeom>
                  <a:avLst/>
                  <a:gdLst/>
                  <a:ahLst/>
                  <a:cxnLst/>
                  <a:rect l="l" t="t" r="r" b="b"/>
                  <a:pathLst>
                    <a:path w="15534" h="10807" extrusionOk="0">
                      <a:moveTo>
                        <a:pt x="1855" y="1"/>
                      </a:moveTo>
                      <a:cubicBezTo>
                        <a:pt x="1234" y="1"/>
                        <a:pt x="602" y="57"/>
                        <a:pt x="0" y="200"/>
                      </a:cubicBezTo>
                      <a:cubicBezTo>
                        <a:pt x="0" y="200"/>
                        <a:pt x="553" y="2022"/>
                        <a:pt x="2569" y="3874"/>
                      </a:cubicBezTo>
                      <a:lnTo>
                        <a:pt x="1778" y="3874"/>
                      </a:lnTo>
                      <a:cubicBezTo>
                        <a:pt x="1778" y="3874"/>
                        <a:pt x="3898" y="6787"/>
                        <a:pt x="5855" y="8071"/>
                      </a:cubicBezTo>
                      <a:lnTo>
                        <a:pt x="4959" y="7952"/>
                      </a:lnTo>
                      <a:lnTo>
                        <a:pt x="4959" y="7952"/>
                      </a:lnTo>
                      <a:cubicBezTo>
                        <a:pt x="4959" y="7952"/>
                        <a:pt x="7764" y="10807"/>
                        <a:pt x="12135" y="10807"/>
                      </a:cubicBezTo>
                      <a:cubicBezTo>
                        <a:pt x="13101" y="10807"/>
                        <a:pt x="14144" y="10667"/>
                        <a:pt x="15250" y="10326"/>
                      </a:cubicBezTo>
                      <a:cubicBezTo>
                        <a:pt x="15250" y="10326"/>
                        <a:pt x="15533" y="7593"/>
                        <a:pt x="12935" y="3575"/>
                      </a:cubicBezTo>
                      <a:lnTo>
                        <a:pt x="12785" y="4083"/>
                      </a:lnTo>
                      <a:cubicBezTo>
                        <a:pt x="12785" y="4083"/>
                        <a:pt x="9529" y="1096"/>
                        <a:pt x="6004" y="36"/>
                      </a:cubicBezTo>
                      <a:lnTo>
                        <a:pt x="6004" y="36"/>
                      </a:lnTo>
                      <a:lnTo>
                        <a:pt x="6169" y="723"/>
                      </a:lnTo>
                      <a:cubicBezTo>
                        <a:pt x="6169" y="723"/>
                        <a:pt x="4085" y="1"/>
                        <a:pt x="185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3" name="Google Shape;783;p13"/>
                <p:cNvSpPr/>
                <p:nvPr/>
              </p:nvSpPr>
              <p:spPr>
                <a:xfrm>
                  <a:off x="3688281" y="2611322"/>
                  <a:ext cx="602544" cy="1611456"/>
                </a:xfrm>
                <a:custGeom>
                  <a:avLst/>
                  <a:gdLst/>
                  <a:ahLst/>
                  <a:cxnLst/>
                  <a:rect l="l" t="t" r="r" b="b"/>
                  <a:pathLst>
                    <a:path w="19089" h="51052" extrusionOk="0">
                      <a:moveTo>
                        <a:pt x="120" y="1"/>
                      </a:moveTo>
                      <a:lnTo>
                        <a:pt x="0" y="76"/>
                      </a:lnTo>
                      <a:cubicBezTo>
                        <a:pt x="717" y="972"/>
                        <a:pt x="1375" y="1913"/>
                        <a:pt x="2017" y="2854"/>
                      </a:cubicBezTo>
                      <a:cubicBezTo>
                        <a:pt x="2674" y="3795"/>
                        <a:pt x="3286" y="4780"/>
                        <a:pt x="3869" y="5751"/>
                      </a:cubicBezTo>
                      <a:cubicBezTo>
                        <a:pt x="5064" y="7693"/>
                        <a:pt x="6184" y="9694"/>
                        <a:pt x="7229" y="11740"/>
                      </a:cubicBezTo>
                      <a:cubicBezTo>
                        <a:pt x="9291" y="15818"/>
                        <a:pt x="11098" y="20045"/>
                        <a:pt x="12636" y="24361"/>
                      </a:cubicBezTo>
                      <a:cubicBezTo>
                        <a:pt x="12830" y="24884"/>
                        <a:pt x="13010" y="25437"/>
                        <a:pt x="13204" y="25974"/>
                      </a:cubicBezTo>
                      <a:cubicBezTo>
                        <a:pt x="13398" y="26527"/>
                        <a:pt x="13592" y="27065"/>
                        <a:pt x="13756" y="27602"/>
                      </a:cubicBezTo>
                      <a:lnTo>
                        <a:pt x="14279" y="29245"/>
                      </a:lnTo>
                      <a:lnTo>
                        <a:pt x="14772" y="30888"/>
                      </a:lnTo>
                      <a:lnTo>
                        <a:pt x="15011" y="31710"/>
                      </a:lnTo>
                      <a:lnTo>
                        <a:pt x="15250" y="32531"/>
                      </a:lnTo>
                      <a:lnTo>
                        <a:pt x="15698" y="34189"/>
                      </a:lnTo>
                      <a:lnTo>
                        <a:pt x="16116" y="35847"/>
                      </a:lnTo>
                      <a:lnTo>
                        <a:pt x="16325" y="36683"/>
                      </a:lnTo>
                      <a:lnTo>
                        <a:pt x="16505" y="37520"/>
                      </a:lnTo>
                      <a:cubicBezTo>
                        <a:pt x="17535" y="41986"/>
                        <a:pt x="18342" y="46511"/>
                        <a:pt x="18879" y="51052"/>
                      </a:cubicBezTo>
                      <a:lnTo>
                        <a:pt x="19088" y="51022"/>
                      </a:lnTo>
                      <a:cubicBezTo>
                        <a:pt x="18536" y="46466"/>
                        <a:pt x="17729" y="41941"/>
                        <a:pt x="16684" y="37490"/>
                      </a:cubicBezTo>
                      <a:lnTo>
                        <a:pt x="16505" y="36653"/>
                      </a:lnTo>
                      <a:lnTo>
                        <a:pt x="16295" y="35817"/>
                      </a:lnTo>
                      <a:lnTo>
                        <a:pt x="15862" y="34144"/>
                      </a:lnTo>
                      <a:lnTo>
                        <a:pt x="15414" y="32471"/>
                      </a:lnTo>
                      <a:lnTo>
                        <a:pt x="15175" y="31650"/>
                      </a:lnTo>
                      <a:lnTo>
                        <a:pt x="14936" y="30828"/>
                      </a:lnTo>
                      <a:lnTo>
                        <a:pt x="14443" y="29186"/>
                      </a:lnTo>
                      <a:lnTo>
                        <a:pt x="13921" y="27558"/>
                      </a:lnTo>
                      <a:cubicBezTo>
                        <a:pt x="13741" y="27005"/>
                        <a:pt x="13562" y="26452"/>
                        <a:pt x="13368" y="25915"/>
                      </a:cubicBezTo>
                      <a:cubicBezTo>
                        <a:pt x="13189" y="25377"/>
                        <a:pt x="13010" y="24839"/>
                        <a:pt x="12800" y="24302"/>
                      </a:cubicBezTo>
                      <a:cubicBezTo>
                        <a:pt x="11247" y="19985"/>
                        <a:pt x="9425" y="15758"/>
                        <a:pt x="7349" y="11681"/>
                      </a:cubicBezTo>
                      <a:cubicBezTo>
                        <a:pt x="6303" y="9649"/>
                        <a:pt x="5183" y="7648"/>
                        <a:pt x="3988" y="5676"/>
                      </a:cubicBezTo>
                      <a:cubicBezTo>
                        <a:pt x="3391" y="4706"/>
                        <a:pt x="2779" y="3735"/>
                        <a:pt x="2136" y="2779"/>
                      </a:cubicBezTo>
                      <a:cubicBezTo>
                        <a:pt x="1494" y="1838"/>
                        <a:pt x="822" y="897"/>
                        <a:pt x="120" y="1"/>
                      </a:cubicBez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4" name="Google Shape;784;p13"/>
                <p:cNvSpPr/>
                <p:nvPr/>
              </p:nvSpPr>
              <p:spPr>
                <a:xfrm>
                  <a:off x="3347884" y="3087985"/>
                  <a:ext cx="723722" cy="239515"/>
                </a:xfrm>
                <a:custGeom>
                  <a:avLst/>
                  <a:gdLst/>
                  <a:ahLst/>
                  <a:cxnLst/>
                  <a:rect l="l" t="t" r="r" b="b"/>
                  <a:pathLst>
                    <a:path w="22928" h="7588" fill="none" extrusionOk="0">
                      <a:moveTo>
                        <a:pt x="22927" y="7587"/>
                      </a:moveTo>
                      <a:cubicBezTo>
                        <a:pt x="22927" y="7587"/>
                        <a:pt x="11785" y="0"/>
                        <a:pt x="1" y="227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5" name="Google Shape;785;p13"/>
                <p:cNvSpPr/>
                <p:nvPr/>
              </p:nvSpPr>
              <p:spPr>
                <a:xfrm>
                  <a:off x="4023470" y="2831962"/>
                  <a:ext cx="318270" cy="431430"/>
                </a:xfrm>
                <a:custGeom>
                  <a:avLst/>
                  <a:gdLst/>
                  <a:ahLst/>
                  <a:cxnLst/>
                  <a:rect l="l" t="t" r="r" b="b"/>
                  <a:pathLst>
                    <a:path w="10083" h="13668" extrusionOk="0">
                      <a:moveTo>
                        <a:pt x="9933" y="3376"/>
                      </a:moveTo>
                      <a:cubicBezTo>
                        <a:pt x="9933" y="3376"/>
                        <a:pt x="9933" y="3376"/>
                        <a:pt x="9933" y="3376"/>
                      </a:cubicBezTo>
                      <a:lnTo>
                        <a:pt x="9933" y="3376"/>
                      </a:lnTo>
                      <a:lnTo>
                        <a:pt x="9933" y="3376"/>
                      </a:lnTo>
                      <a:close/>
                      <a:moveTo>
                        <a:pt x="9739" y="1"/>
                      </a:moveTo>
                      <a:lnTo>
                        <a:pt x="9739" y="1"/>
                      </a:lnTo>
                      <a:cubicBezTo>
                        <a:pt x="6976" y="270"/>
                        <a:pt x="4526" y="1987"/>
                        <a:pt x="4526" y="1987"/>
                      </a:cubicBezTo>
                      <a:lnTo>
                        <a:pt x="4467" y="1300"/>
                      </a:lnTo>
                      <a:cubicBezTo>
                        <a:pt x="2420" y="3048"/>
                        <a:pt x="1450" y="5751"/>
                        <a:pt x="1450" y="5751"/>
                      </a:cubicBezTo>
                      <a:lnTo>
                        <a:pt x="1151" y="5333"/>
                      </a:lnTo>
                      <a:lnTo>
                        <a:pt x="1151" y="5333"/>
                      </a:lnTo>
                      <a:cubicBezTo>
                        <a:pt x="1" y="9859"/>
                        <a:pt x="2764" y="13667"/>
                        <a:pt x="2764" y="13667"/>
                      </a:cubicBezTo>
                      <a:cubicBezTo>
                        <a:pt x="6811" y="12174"/>
                        <a:pt x="8798" y="7858"/>
                        <a:pt x="8798" y="7857"/>
                      </a:cubicBezTo>
                      <a:lnTo>
                        <a:pt x="8798" y="7857"/>
                      </a:lnTo>
                      <a:lnTo>
                        <a:pt x="8006" y="8260"/>
                      </a:lnTo>
                      <a:cubicBezTo>
                        <a:pt x="9406" y="6444"/>
                        <a:pt x="9915" y="3397"/>
                        <a:pt x="9933" y="3376"/>
                      </a:cubicBezTo>
                      <a:lnTo>
                        <a:pt x="9933" y="3376"/>
                      </a:lnTo>
                      <a:lnTo>
                        <a:pt x="9395" y="3705"/>
                      </a:lnTo>
                      <a:cubicBezTo>
                        <a:pt x="10082" y="1853"/>
                        <a:pt x="9739" y="1"/>
                        <a:pt x="973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6" name="Google Shape;786;p13"/>
                <p:cNvSpPr/>
                <p:nvPr/>
              </p:nvSpPr>
              <p:spPr>
                <a:xfrm>
                  <a:off x="4090893" y="2884296"/>
                  <a:ext cx="194756" cy="513436"/>
                </a:xfrm>
                <a:custGeom>
                  <a:avLst/>
                  <a:gdLst/>
                  <a:ahLst/>
                  <a:cxnLst/>
                  <a:rect l="l" t="t" r="r" b="b"/>
                  <a:pathLst>
                    <a:path w="6170" h="16266" fill="none" extrusionOk="0">
                      <a:moveTo>
                        <a:pt x="180" y="16266"/>
                      </a:moveTo>
                      <a:cubicBezTo>
                        <a:pt x="180" y="16266"/>
                        <a:pt x="1" y="6334"/>
                        <a:pt x="616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7" name="Google Shape;787;p13"/>
                <p:cNvSpPr/>
                <p:nvPr/>
              </p:nvSpPr>
              <p:spPr>
                <a:xfrm>
                  <a:off x="3751443" y="3534914"/>
                  <a:ext cx="495065" cy="419625"/>
                </a:xfrm>
                <a:custGeom>
                  <a:avLst/>
                  <a:gdLst/>
                  <a:ahLst/>
                  <a:cxnLst/>
                  <a:rect l="l" t="t" r="r" b="b"/>
                  <a:pathLst>
                    <a:path w="15684" h="13294" fill="none" extrusionOk="0">
                      <a:moveTo>
                        <a:pt x="1" y="0"/>
                      </a:moveTo>
                      <a:cubicBezTo>
                        <a:pt x="1" y="0"/>
                        <a:pt x="13368" y="6781"/>
                        <a:pt x="15683" y="1329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8" name="Google Shape;788;p13"/>
                <p:cNvSpPr/>
                <p:nvPr/>
              </p:nvSpPr>
              <p:spPr>
                <a:xfrm>
                  <a:off x="4225265" y="3427404"/>
                  <a:ext cx="260727" cy="608699"/>
                </a:xfrm>
                <a:custGeom>
                  <a:avLst/>
                  <a:gdLst/>
                  <a:ahLst/>
                  <a:cxnLst/>
                  <a:rect l="l" t="t" r="r" b="b"/>
                  <a:pathLst>
                    <a:path w="8260" h="19284" fill="none" extrusionOk="0">
                      <a:moveTo>
                        <a:pt x="8260" y="1"/>
                      </a:moveTo>
                      <a:cubicBezTo>
                        <a:pt x="8260" y="1"/>
                        <a:pt x="0" y="12502"/>
                        <a:pt x="1180" y="1928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9" name="Google Shape;789;p13"/>
                <p:cNvSpPr/>
                <p:nvPr/>
              </p:nvSpPr>
              <p:spPr>
                <a:xfrm>
                  <a:off x="3786827" y="3358119"/>
                  <a:ext cx="384714" cy="273479"/>
                </a:xfrm>
                <a:custGeom>
                  <a:avLst/>
                  <a:gdLst/>
                  <a:ahLst/>
                  <a:cxnLst/>
                  <a:rect l="l" t="t" r="r" b="b"/>
                  <a:pathLst>
                    <a:path w="12188" h="8664" fill="none" extrusionOk="0">
                      <a:moveTo>
                        <a:pt x="12188" y="8663"/>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0" name="Google Shape;790;p13"/>
                <p:cNvSpPr/>
                <p:nvPr/>
              </p:nvSpPr>
              <p:spPr>
                <a:xfrm>
                  <a:off x="3934835" y="3380751"/>
                  <a:ext cx="22664" cy="98546"/>
                </a:xfrm>
                <a:custGeom>
                  <a:avLst/>
                  <a:gdLst/>
                  <a:ahLst/>
                  <a:cxnLst/>
                  <a:rect l="l" t="t" r="r" b="b"/>
                  <a:pathLst>
                    <a:path w="718" h="3122" fill="none" extrusionOk="0">
                      <a:moveTo>
                        <a:pt x="1" y="0"/>
                      </a:moveTo>
                      <a:lnTo>
                        <a:pt x="718" y="312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1" name="Google Shape;791;p13"/>
                <p:cNvSpPr/>
                <p:nvPr/>
              </p:nvSpPr>
              <p:spPr>
                <a:xfrm>
                  <a:off x="4149824" y="3259099"/>
                  <a:ext cx="148545" cy="298479"/>
                </a:xfrm>
                <a:custGeom>
                  <a:avLst/>
                  <a:gdLst/>
                  <a:ahLst/>
                  <a:cxnLst/>
                  <a:rect l="l" t="t" r="r" b="b"/>
                  <a:pathLst>
                    <a:path w="4706" h="9456" fill="none" extrusionOk="0">
                      <a:moveTo>
                        <a:pt x="1" y="9455"/>
                      </a:moveTo>
                      <a:cubicBezTo>
                        <a:pt x="1" y="9455"/>
                        <a:pt x="2286" y="2420"/>
                        <a:pt x="4705"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2" name="Google Shape;792;p13"/>
                <p:cNvSpPr/>
                <p:nvPr/>
              </p:nvSpPr>
              <p:spPr>
                <a:xfrm>
                  <a:off x="4182841" y="3523582"/>
                  <a:ext cx="68370" cy="149965"/>
                </a:xfrm>
                <a:custGeom>
                  <a:avLst/>
                  <a:gdLst/>
                  <a:ahLst/>
                  <a:cxnLst/>
                  <a:rect l="l" t="t" r="r" b="b"/>
                  <a:pathLst>
                    <a:path w="2166" h="4751" fill="none" extrusionOk="0">
                      <a:moveTo>
                        <a:pt x="0" y="4750"/>
                      </a:moveTo>
                      <a:lnTo>
                        <a:pt x="2166"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3" name="Google Shape;793;p13"/>
                <p:cNvSpPr/>
                <p:nvPr/>
              </p:nvSpPr>
              <p:spPr>
                <a:xfrm>
                  <a:off x="4212071" y="3533494"/>
                  <a:ext cx="11805" cy="50472"/>
                </a:xfrm>
                <a:custGeom>
                  <a:avLst/>
                  <a:gdLst/>
                  <a:ahLst/>
                  <a:cxnLst/>
                  <a:rect l="l" t="t" r="r" b="b"/>
                  <a:pathLst>
                    <a:path w="374" h="1599" fill="none" extrusionOk="0">
                      <a:moveTo>
                        <a:pt x="0" y="0"/>
                      </a:moveTo>
                      <a:lnTo>
                        <a:pt x="374"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13"/>
                <p:cNvSpPr/>
                <p:nvPr/>
              </p:nvSpPr>
              <p:spPr>
                <a:xfrm>
                  <a:off x="3668963" y="3201588"/>
                  <a:ext cx="138160" cy="48137"/>
                </a:xfrm>
                <a:custGeom>
                  <a:avLst/>
                  <a:gdLst/>
                  <a:ahLst/>
                  <a:cxnLst/>
                  <a:rect l="l" t="t" r="r" b="b"/>
                  <a:pathLst>
                    <a:path w="4377" h="1525" fill="none" extrusionOk="0">
                      <a:moveTo>
                        <a:pt x="4376" y="1"/>
                      </a:moveTo>
                      <a:lnTo>
                        <a:pt x="0"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13"/>
                <p:cNvSpPr/>
                <p:nvPr/>
              </p:nvSpPr>
              <p:spPr>
                <a:xfrm>
                  <a:off x="4101751" y="3068636"/>
                  <a:ext cx="28314" cy="98577"/>
                </a:xfrm>
                <a:custGeom>
                  <a:avLst/>
                  <a:gdLst/>
                  <a:ahLst/>
                  <a:cxnLst/>
                  <a:rect l="l" t="t" r="r" b="b"/>
                  <a:pathLst>
                    <a:path w="897" h="3123" fill="none" extrusionOk="0">
                      <a:moveTo>
                        <a:pt x="896" y="312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13"/>
                <p:cNvSpPr/>
                <p:nvPr/>
              </p:nvSpPr>
              <p:spPr>
                <a:xfrm>
                  <a:off x="4178580" y="3003107"/>
                  <a:ext cx="91033" cy="35384"/>
                </a:xfrm>
                <a:custGeom>
                  <a:avLst/>
                  <a:gdLst/>
                  <a:ahLst/>
                  <a:cxnLst/>
                  <a:rect l="l" t="t" r="r" b="b"/>
                  <a:pathLst>
                    <a:path w="2884" h="1121" fill="none" extrusionOk="0">
                      <a:moveTo>
                        <a:pt x="2883" y="1"/>
                      </a:moveTo>
                      <a:lnTo>
                        <a:pt x="1" y="112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13"/>
                <p:cNvSpPr/>
                <p:nvPr/>
              </p:nvSpPr>
              <p:spPr>
                <a:xfrm>
                  <a:off x="4309638" y="3719727"/>
                  <a:ext cx="96210" cy="48105"/>
                </a:xfrm>
                <a:custGeom>
                  <a:avLst/>
                  <a:gdLst/>
                  <a:ahLst/>
                  <a:cxnLst/>
                  <a:rect l="l" t="t" r="r" b="b"/>
                  <a:pathLst>
                    <a:path w="3048" h="1524" fill="none" extrusionOk="0">
                      <a:moveTo>
                        <a:pt x="3048" y="0"/>
                      </a:moveTo>
                      <a:lnTo>
                        <a:pt x="1"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8" name="Google Shape;798;p13"/>
                <p:cNvSpPr/>
                <p:nvPr/>
              </p:nvSpPr>
              <p:spPr>
                <a:xfrm>
                  <a:off x="4368570" y="3540091"/>
                  <a:ext cx="14173" cy="66034"/>
                </a:xfrm>
                <a:custGeom>
                  <a:avLst/>
                  <a:gdLst/>
                  <a:ahLst/>
                  <a:cxnLst/>
                  <a:rect l="l" t="t" r="r" b="b"/>
                  <a:pathLst>
                    <a:path w="449" h="2092" fill="none" extrusionOk="0">
                      <a:moveTo>
                        <a:pt x="1" y="1"/>
                      </a:moveTo>
                      <a:lnTo>
                        <a:pt x="449" y="20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9" name="Google Shape;799;p13"/>
                <p:cNvSpPr/>
                <p:nvPr/>
              </p:nvSpPr>
              <p:spPr>
                <a:xfrm>
                  <a:off x="3969746" y="3756500"/>
                  <a:ext cx="130616" cy="10385"/>
                </a:xfrm>
                <a:custGeom>
                  <a:avLst/>
                  <a:gdLst/>
                  <a:ahLst/>
                  <a:cxnLst/>
                  <a:rect l="l" t="t" r="r" b="b"/>
                  <a:pathLst>
                    <a:path w="4138" h="329" fill="none" extrusionOk="0">
                      <a:moveTo>
                        <a:pt x="4137" y="329"/>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0" name="Google Shape;800;p13"/>
                <p:cNvSpPr/>
                <p:nvPr/>
              </p:nvSpPr>
              <p:spPr>
                <a:xfrm>
                  <a:off x="3956994" y="3585355"/>
                  <a:ext cx="19854" cy="86299"/>
                </a:xfrm>
                <a:custGeom>
                  <a:avLst/>
                  <a:gdLst/>
                  <a:ahLst/>
                  <a:cxnLst/>
                  <a:rect l="l" t="t" r="r" b="b"/>
                  <a:pathLst>
                    <a:path w="629" h="2734" fill="none" extrusionOk="0">
                      <a:moveTo>
                        <a:pt x="1" y="0"/>
                      </a:moveTo>
                      <a:lnTo>
                        <a:pt x="628" y="273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1" name="Google Shape;801;p13"/>
                <p:cNvSpPr/>
                <p:nvPr/>
              </p:nvSpPr>
              <p:spPr>
                <a:xfrm>
                  <a:off x="3783513" y="2922490"/>
                  <a:ext cx="124966" cy="38225"/>
                </a:xfrm>
                <a:custGeom>
                  <a:avLst/>
                  <a:gdLst/>
                  <a:ahLst/>
                  <a:cxnLst/>
                  <a:rect l="l" t="t" r="r" b="b"/>
                  <a:pathLst>
                    <a:path w="3959" h="1211" fill="none" extrusionOk="0">
                      <a:moveTo>
                        <a:pt x="3958" y="1210"/>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2" name="Google Shape;802;p13"/>
                <p:cNvSpPr/>
                <p:nvPr/>
              </p:nvSpPr>
              <p:spPr>
                <a:xfrm>
                  <a:off x="3824042" y="2697621"/>
                  <a:ext cx="32102" cy="111740"/>
                </a:xfrm>
                <a:custGeom>
                  <a:avLst/>
                  <a:gdLst/>
                  <a:ahLst/>
                  <a:cxnLst/>
                  <a:rect l="l" t="t" r="r" b="b"/>
                  <a:pathLst>
                    <a:path w="1017" h="3540" fill="none" extrusionOk="0">
                      <a:moveTo>
                        <a:pt x="1017" y="0"/>
                      </a:moveTo>
                      <a:lnTo>
                        <a:pt x="1" y="354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03" name="Google Shape;803;p13"/>
              <p:cNvSpPr/>
              <p:nvPr/>
            </p:nvSpPr>
            <p:spPr>
              <a:xfrm rot="2700000">
                <a:off x="8650415" y="1880453"/>
                <a:ext cx="345019" cy="240054"/>
              </a:xfrm>
              <a:custGeom>
                <a:avLst/>
                <a:gdLst/>
                <a:ahLst/>
                <a:cxnLst/>
                <a:rect l="l" t="t" r="r" b="b"/>
                <a:pathLst>
                  <a:path w="9082" h="6319" fill="none" extrusionOk="0">
                    <a:moveTo>
                      <a:pt x="0" y="0"/>
                    </a:moveTo>
                    <a:cubicBezTo>
                      <a:pt x="0" y="0"/>
                      <a:pt x="4421" y="1867"/>
                      <a:pt x="9081" y="2121"/>
                    </a:cubicBezTo>
                    <a:moveTo>
                      <a:pt x="7438" y="4003"/>
                    </a:moveTo>
                    <a:cubicBezTo>
                      <a:pt x="7438" y="4003"/>
                      <a:pt x="6766" y="5168"/>
                      <a:pt x="6542" y="6318"/>
                    </a:cubicBezTo>
                    <a:moveTo>
                      <a:pt x="6004" y="1748"/>
                    </a:moveTo>
                    <a:cubicBezTo>
                      <a:pt x="6004" y="1748"/>
                      <a:pt x="7005" y="2569"/>
                      <a:pt x="7856" y="5049"/>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04" name="Google Shape;804;p13"/>
              <p:cNvGrpSpPr/>
              <p:nvPr/>
            </p:nvGrpSpPr>
            <p:grpSpPr>
              <a:xfrm rot="-807232" flipH="1">
                <a:off x="8552209" y="49152"/>
                <a:ext cx="470610" cy="408065"/>
                <a:chOff x="6855700" y="5304375"/>
                <a:chExt cx="168425" cy="146050"/>
              </a:xfrm>
            </p:grpSpPr>
            <p:sp>
              <p:nvSpPr>
                <p:cNvPr id="805" name="Google Shape;805;p13"/>
                <p:cNvSpPr/>
                <p:nvPr/>
              </p:nvSpPr>
              <p:spPr>
                <a:xfrm>
                  <a:off x="6933725" y="5304375"/>
                  <a:ext cx="90400" cy="127375"/>
                </a:xfrm>
                <a:custGeom>
                  <a:avLst/>
                  <a:gdLst/>
                  <a:ahLst/>
                  <a:cxnLst/>
                  <a:rect l="l" t="t" r="r" b="b"/>
                  <a:pathLst>
                    <a:path w="3616" h="5095" extrusionOk="0">
                      <a:moveTo>
                        <a:pt x="703" y="1539"/>
                      </a:moveTo>
                      <a:cubicBezTo>
                        <a:pt x="762" y="1539"/>
                        <a:pt x="852" y="1599"/>
                        <a:pt x="852" y="1689"/>
                      </a:cubicBezTo>
                      <a:lnTo>
                        <a:pt x="852" y="1883"/>
                      </a:lnTo>
                      <a:cubicBezTo>
                        <a:pt x="852" y="1980"/>
                        <a:pt x="777" y="2029"/>
                        <a:pt x="703" y="2029"/>
                      </a:cubicBezTo>
                      <a:cubicBezTo>
                        <a:pt x="628" y="2029"/>
                        <a:pt x="553" y="1980"/>
                        <a:pt x="553" y="1883"/>
                      </a:cubicBezTo>
                      <a:lnTo>
                        <a:pt x="553" y="1689"/>
                      </a:lnTo>
                      <a:cubicBezTo>
                        <a:pt x="568" y="1599"/>
                        <a:pt x="613" y="1539"/>
                        <a:pt x="703" y="1539"/>
                      </a:cubicBezTo>
                      <a:close/>
                      <a:moveTo>
                        <a:pt x="2071" y="2155"/>
                      </a:moveTo>
                      <a:cubicBezTo>
                        <a:pt x="2144" y="2155"/>
                        <a:pt x="2219" y="2204"/>
                        <a:pt x="2226" y="2301"/>
                      </a:cubicBezTo>
                      <a:cubicBezTo>
                        <a:pt x="2226" y="2376"/>
                        <a:pt x="2226" y="2436"/>
                        <a:pt x="2241" y="2495"/>
                      </a:cubicBezTo>
                      <a:cubicBezTo>
                        <a:pt x="2241" y="2570"/>
                        <a:pt x="2151" y="2645"/>
                        <a:pt x="2092" y="2645"/>
                      </a:cubicBezTo>
                      <a:cubicBezTo>
                        <a:pt x="2002" y="2645"/>
                        <a:pt x="1942" y="2570"/>
                        <a:pt x="1927" y="2495"/>
                      </a:cubicBezTo>
                      <a:cubicBezTo>
                        <a:pt x="1927" y="2421"/>
                        <a:pt x="1927" y="2376"/>
                        <a:pt x="1927" y="2301"/>
                      </a:cubicBezTo>
                      <a:cubicBezTo>
                        <a:pt x="1927" y="2204"/>
                        <a:pt x="1998" y="2155"/>
                        <a:pt x="2071" y="2155"/>
                      </a:cubicBezTo>
                      <a:close/>
                      <a:moveTo>
                        <a:pt x="538" y="1"/>
                      </a:moveTo>
                      <a:lnTo>
                        <a:pt x="538" y="1"/>
                      </a:lnTo>
                      <a:cubicBezTo>
                        <a:pt x="538" y="1"/>
                        <a:pt x="1" y="1988"/>
                        <a:pt x="807" y="3526"/>
                      </a:cubicBezTo>
                      <a:cubicBezTo>
                        <a:pt x="852" y="3496"/>
                        <a:pt x="912" y="3466"/>
                        <a:pt x="986" y="3466"/>
                      </a:cubicBezTo>
                      <a:cubicBezTo>
                        <a:pt x="1315" y="3466"/>
                        <a:pt x="1375" y="3899"/>
                        <a:pt x="1151" y="4049"/>
                      </a:cubicBezTo>
                      <a:cubicBezTo>
                        <a:pt x="1524" y="4497"/>
                        <a:pt x="2077" y="4885"/>
                        <a:pt x="2853" y="5094"/>
                      </a:cubicBezTo>
                      <a:cubicBezTo>
                        <a:pt x="2853" y="5079"/>
                        <a:pt x="3615" y="3123"/>
                        <a:pt x="2271" y="1375"/>
                      </a:cubicBezTo>
                      <a:cubicBezTo>
                        <a:pt x="2226" y="1420"/>
                        <a:pt x="2151" y="1465"/>
                        <a:pt x="2077" y="1465"/>
                      </a:cubicBezTo>
                      <a:cubicBezTo>
                        <a:pt x="1748" y="1465"/>
                        <a:pt x="1703" y="1091"/>
                        <a:pt x="1868" y="927"/>
                      </a:cubicBezTo>
                      <a:cubicBezTo>
                        <a:pt x="1524" y="598"/>
                        <a:pt x="1076" y="270"/>
                        <a:pt x="53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6" name="Google Shape;806;p13"/>
                <p:cNvSpPr/>
                <p:nvPr/>
              </p:nvSpPr>
              <p:spPr>
                <a:xfrm>
                  <a:off x="6855700" y="5397900"/>
                  <a:ext cx="118375" cy="52525"/>
                </a:xfrm>
                <a:custGeom>
                  <a:avLst/>
                  <a:gdLst/>
                  <a:ahLst/>
                  <a:cxnLst/>
                  <a:rect l="l" t="t" r="r" b="b"/>
                  <a:pathLst>
                    <a:path w="4735" h="2101" extrusionOk="0">
                      <a:moveTo>
                        <a:pt x="2267" y="212"/>
                      </a:moveTo>
                      <a:cubicBezTo>
                        <a:pt x="2317" y="212"/>
                        <a:pt x="2364" y="242"/>
                        <a:pt x="2405" y="293"/>
                      </a:cubicBezTo>
                      <a:cubicBezTo>
                        <a:pt x="2435" y="323"/>
                        <a:pt x="2494" y="367"/>
                        <a:pt x="2524" y="412"/>
                      </a:cubicBezTo>
                      <a:cubicBezTo>
                        <a:pt x="2628" y="528"/>
                        <a:pt x="2526" y="679"/>
                        <a:pt x="2413" y="679"/>
                      </a:cubicBezTo>
                      <a:cubicBezTo>
                        <a:pt x="2380" y="679"/>
                        <a:pt x="2346" y="667"/>
                        <a:pt x="2315" y="636"/>
                      </a:cubicBezTo>
                      <a:cubicBezTo>
                        <a:pt x="2255" y="576"/>
                        <a:pt x="2181" y="502"/>
                        <a:pt x="2151" y="442"/>
                      </a:cubicBezTo>
                      <a:cubicBezTo>
                        <a:pt x="2106" y="367"/>
                        <a:pt x="2136" y="278"/>
                        <a:pt x="2196" y="233"/>
                      </a:cubicBezTo>
                      <a:cubicBezTo>
                        <a:pt x="2220" y="219"/>
                        <a:pt x="2244" y="212"/>
                        <a:pt x="2267" y="212"/>
                      </a:cubicBezTo>
                      <a:close/>
                      <a:moveTo>
                        <a:pt x="2069" y="1"/>
                      </a:moveTo>
                      <a:cubicBezTo>
                        <a:pt x="1464" y="1"/>
                        <a:pt x="769" y="175"/>
                        <a:pt x="0" y="651"/>
                      </a:cubicBezTo>
                      <a:cubicBezTo>
                        <a:pt x="0" y="651"/>
                        <a:pt x="1061" y="1712"/>
                        <a:pt x="2345" y="2010"/>
                      </a:cubicBezTo>
                      <a:cubicBezTo>
                        <a:pt x="2360" y="1876"/>
                        <a:pt x="2465" y="1771"/>
                        <a:pt x="2629" y="1771"/>
                      </a:cubicBezTo>
                      <a:cubicBezTo>
                        <a:pt x="2838" y="1771"/>
                        <a:pt x="2928" y="1936"/>
                        <a:pt x="2928" y="2100"/>
                      </a:cubicBezTo>
                      <a:cubicBezTo>
                        <a:pt x="2949" y="2100"/>
                        <a:pt x="2970" y="2101"/>
                        <a:pt x="2991" y="2101"/>
                      </a:cubicBezTo>
                      <a:cubicBezTo>
                        <a:pt x="3570" y="2101"/>
                        <a:pt x="4187" y="1900"/>
                        <a:pt x="4735" y="1338"/>
                      </a:cubicBezTo>
                      <a:cubicBezTo>
                        <a:pt x="4735" y="1338"/>
                        <a:pt x="3744" y="1"/>
                        <a:pt x="206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7" name="Google Shape;807;p13"/>
                <p:cNvSpPr/>
                <p:nvPr/>
              </p:nvSpPr>
              <p:spPr>
                <a:xfrm>
                  <a:off x="6881450" y="5340975"/>
                  <a:ext cx="135575" cy="109050"/>
                </a:xfrm>
                <a:custGeom>
                  <a:avLst/>
                  <a:gdLst/>
                  <a:ahLst/>
                  <a:cxnLst/>
                  <a:rect l="l" t="t" r="r" b="b"/>
                  <a:pathLst>
                    <a:path w="5423" h="4362" fill="none" extrusionOk="0">
                      <a:moveTo>
                        <a:pt x="1" y="3033"/>
                      </a:moveTo>
                      <a:cubicBezTo>
                        <a:pt x="1" y="3033"/>
                        <a:pt x="4840" y="3854"/>
                        <a:pt x="5169" y="3839"/>
                      </a:cubicBezTo>
                      <a:moveTo>
                        <a:pt x="5422" y="4362"/>
                      </a:moveTo>
                      <a:cubicBezTo>
                        <a:pt x="5422" y="4362"/>
                        <a:pt x="3570" y="1196"/>
                        <a:pt x="3197" y="1"/>
                      </a:cubicBezTo>
                      <a:moveTo>
                        <a:pt x="2883" y="942"/>
                      </a:moveTo>
                      <a:lnTo>
                        <a:pt x="3779" y="1315"/>
                      </a:lnTo>
                      <a:moveTo>
                        <a:pt x="4556" y="1166"/>
                      </a:moveTo>
                      <a:lnTo>
                        <a:pt x="4467" y="2644"/>
                      </a:lnTo>
                      <a:moveTo>
                        <a:pt x="1106" y="3212"/>
                      </a:moveTo>
                      <a:lnTo>
                        <a:pt x="494" y="3436"/>
                      </a:lnTo>
                      <a:moveTo>
                        <a:pt x="1898" y="2988"/>
                      </a:moveTo>
                      <a:lnTo>
                        <a:pt x="2211" y="3033"/>
                      </a:lnTo>
                      <a:moveTo>
                        <a:pt x="2092" y="2809"/>
                      </a:moveTo>
                      <a:lnTo>
                        <a:pt x="2465" y="345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08" name="Google Shape;808;p13"/>
              <p:cNvGrpSpPr/>
              <p:nvPr/>
            </p:nvGrpSpPr>
            <p:grpSpPr>
              <a:xfrm rot="-2301188">
                <a:off x="8509029" y="453592"/>
                <a:ext cx="1204027" cy="1209279"/>
                <a:chOff x="10706150" y="7143750"/>
                <a:chExt cx="510075" cy="512300"/>
              </a:xfrm>
            </p:grpSpPr>
            <p:sp>
              <p:nvSpPr>
                <p:cNvPr id="809" name="Google Shape;809;p13"/>
                <p:cNvSpPr/>
                <p:nvPr/>
              </p:nvSpPr>
              <p:spPr>
                <a:xfrm>
                  <a:off x="10706150" y="7143750"/>
                  <a:ext cx="510075" cy="449950"/>
                </a:xfrm>
                <a:custGeom>
                  <a:avLst/>
                  <a:gdLst/>
                  <a:ahLst/>
                  <a:cxnLst/>
                  <a:rect l="l" t="t" r="r" b="b"/>
                  <a:pathLst>
                    <a:path w="20403" h="17998" extrusionOk="0">
                      <a:moveTo>
                        <a:pt x="10156" y="0"/>
                      </a:moveTo>
                      <a:cubicBezTo>
                        <a:pt x="10156" y="0"/>
                        <a:pt x="9783" y="2255"/>
                        <a:pt x="9051" y="2479"/>
                      </a:cubicBezTo>
                      <a:cubicBezTo>
                        <a:pt x="8947" y="2510"/>
                        <a:pt x="8847" y="2523"/>
                        <a:pt x="8753" y="2523"/>
                      </a:cubicBezTo>
                      <a:cubicBezTo>
                        <a:pt x="8201" y="2523"/>
                        <a:pt x="7842" y="2076"/>
                        <a:pt x="7841" y="2076"/>
                      </a:cubicBezTo>
                      <a:lnTo>
                        <a:pt x="7841" y="2076"/>
                      </a:lnTo>
                      <a:cubicBezTo>
                        <a:pt x="7842" y="2077"/>
                        <a:pt x="8737" y="4003"/>
                        <a:pt x="8439" y="4376"/>
                      </a:cubicBezTo>
                      <a:cubicBezTo>
                        <a:pt x="8371" y="4465"/>
                        <a:pt x="8289" y="4499"/>
                        <a:pt x="8202" y="4499"/>
                      </a:cubicBezTo>
                      <a:cubicBezTo>
                        <a:pt x="7911" y="4499"/>
                        <a:pt x="7573" y="4108"/>
                        <a:pt x="7573" y="4107"/>
                      </a:cubicBezTo>
                      <a:lnTo>
                        <a:pt x="7573" y="4107"/>
                      </a:lnTo>
                      <a:cubicBezTo>
                        <a:pt x="7573" y="4108"/>
                        <a:pt x="7916" y="5123"/>
                        <a:pt x="7363" y="5900"/>
                      </a:cubicBezTo>
                      <a:cubicBezTo>
                        <a:pt x="6826" y="6706"/>
                        <a:pt x="6333" y="6721"/>
                        <a:pt x="6333" y="6721"/>
                      </a:cubicBezTo>
                      <a:cubicBezTo>
                        <a:pt x="6333" y="6721"/>
                        <a:pt x="9798" y="7662"/>
                        <a:pt x="7916" y="10082"/>
                      </a:cubicBezTo>
                      <a:cubicBezTo>
                        <a:pt x="7580" y="10513"/>
                        <a:pt x="7291" y="10691"/>
                        <a:pt x="7041" y="10691"/>
                      </a:cubicBezTo>
                      <a:cubicBezTo>
                        <a:pt x="5893" y="10691"/>
                        <a:pt x="5601" y="6930"/>
                        <a:pt x="5601" y="6930"/>
                      </a:cubicBezTo>
                      <a:cubicBezTo>
                        <a:pt x="5601" y="6930"/>
                        <a:pt x="5278" y="8514"/>
                        <a:pt x="3936" y="8514"/>
                      </a:cubicBezTo>
                      <a:cubicBezTo>
                        <a:pt x="3923" y="8514"/>
                        <a:pt x="3911" y="8514"/>
                        <a:pt x="3898" y="8513"/>
                      </a:cubicBezTo>
                      <a:cubicBezTo>
                        <a:pt x="2524" y="8484"/>
                        <a:pt x="1643" y="7931"/>
                        <a:pt x="1643" y="7931"/>
                      </a:cubicBezTo>
                      <a:lnTo>
                        <a:pt x="1643" y="7931"/>
                      </a:lnTo>
                      <a:cubicBezTo>
                        <a:pt x="1643" y="7931"/>
                        <a:pt x="2494" y="8887"/>
                        <a:pt x="1703" y="8991"/>
                      </a:cubicBezTo>
                      <a:cubicBezTo>
                        <a:pt x="1612" y="9003"/>
                        <a:pt x="1520" y="9009"/>
                        <a:pt x="1427" y="9009"/>
                      </a:cubicBezTo>
                      <a:cubicBezTo>
                        <a:pt x="714" y="9009"/>
                        <a:pt x="0" y="8693"/>
                        <a:pt x="0" y="8693"/>
                      </a:cubicBezTo>
                      <a:lnTo>
                        <a:pt x="0" y="8693"/>
                      </a:lnTo>
                      <a:cubicBezTo>
                        <a:pt x="0" y="8693"/>
                        <a:pt x="1255" y="9843"/>
                        <a:pt x="1120" y="10560"/>
                      </a:cubicBezTo>
                      <a:cubicBezTo>
                        <a:pt x="1054" y="10948"/>
                        <a:pt x="764" y="11035"/>
                        <a:pt x="518" y="11035"/>
                      </a:cubicBezTo>
                      <a:cubicBezTo>
                        <a:pt x="320" y="11035"/>
                        <a:pt x="150" y="10978"/>
                        <a:pt x="149" y="10978"/>
                      </a:cubicBezTo>
                      <a:lnTo>
                        <a:pt x="149" y="10978"/>
                      </a:lnTo>
                      <a:cubicBezTo>
                        <a:pt x="150" y="10978"/>
                        <a:pt x="1987" y="11874"/>
                        <a:pt x="1942" y="13084"/>
                      </a:cubicBezTo>
                      <a:cubicBezTo>
                        <a:pt x="1897" y="14294"/>
                        <a:pt x="1240" y="14428"/>
                        <a:pt x="1240" y="14428"/>
                      </a:cubicBezTo>
                      <a:cubicBezTo>
                        <a:pt x="1240" y="14428"/>
                        <a:pt x="2463" y="14307"/>
                        <a:pt x="3385" y="14307"/>
                      </a:cubicBezTo>
                      <a:cubicBezTo>
                        <a:pt x="3760" y="14307"/>
                        <a:pt x="4084" y="14327"/>
                        <a:pt x="4257" y="14383"/>
                      </a:cubicBezTo>
                      <a:cubicBezTo>
                        <a:pt x="4839" y="14577"/>
                        <a:pt x="4645" y="15011"/>
                        <a:pt x="4645" y="15011"/>
                      </a:cubicBezTo>
                      <a:cubicBezTo>
                        <a:pt x="4645" y="15011"/>
                        <a:pt x="4747" y="15009"/>
                        <a:pt x="4915" y="15009"/>
                      </a:cubicBezTo>
                      <a:cubicBezTo>
                        <a:pt x="5639" y="15009"/>
                        <a:pt x="7580" y="15039"/>
                        <a:pt x="7677" y="15354"/>
                      </a:cubicBezTo>
                      <a:cubicBezTo>
                        <a:pt x="7797" y="15742"/>
                        <a:pt x="7005" y="15996"/>
                        <a:pt x="7005" y="15996"/>
                      </a:cubicBezTo>
                      <a:cubicBezTo>
                        <a:pt x="7005" y="15996"/>
                        <a:pt x="9529" y="16504"/>
                        <a:pt x="10186" y="17998"/>
                      </a:cubicBezTo>
                      <a:lnTo>
                        <a:pt x="10246" y="17998"/>
                      </a:lnTo>
                      <a:cubicBezTo>
                        <a:pt x="10903" y="16489"/>
                        <a:pt x="13427" y="15996"/>
                        <a:pt x="13427" y="15996"/>
                      </a:cubicBezTo>
                      <a:cubicBezTo>
                        <a:pt x="13427" y="15996"/>
                        <a:pt x="12636" y="15742"/>
                        <a:pt x="12755" y="15354"/>
                      </a:cubicBezTo>
                      <a:cubicBezTo>
                        <a:pt x="12864" y="15039"/>
                        <a:pt x="14798" y="15009"/>
                        <a:pt x="15519" y="15009"/>
                      </a:cubicBezTo>
                      <a:cubicBezTo>
                        <a:pt x="15685" y="15009"/>
                        <a:pt x="15787" y="15011"/>
                        <a:pt x="15787" y="15011"/>
                      </a:cubicBezTo>
                      <a:cubicBezTo>
                        <a:pt x="15787" y="15011"/>
                        <a:pt x="15593" y="14577"/>
                        <a:pt x="16176" y="14383"/>
                      </a:cubicBezTo>
                      <a:cubicBezTo>
                        <a:pt x="16348" y="14327"/>
                        <a:pt x="16673" y="14307"/>
                        <a:pt x="17047" y="14307"/>
                      </a:cubicBezTo>
                      <a:cubicBezTo>
                        <a:pt x="17969" y="14307"/>
                        <a:pt x="19193" y="14428"/>
                        <a:pt x="19193" y="14428"/>
                      </a:cubicBezTo>
                      <a:cubicBezTo>
                        <a:pt x="19193" y="14428"/>
                        <a:pt x="18520" y="14294"/>
                        <a:pt x="18476" y="13084"/>
                      </a:cubicBezTo>
                      <a:cubicBezTo>
                        <a:pt x="18431" y="11874"/>
                        <a:pt x="20282" y="10978"/>
                        <a:pt x="20283" y="10978"/>
                      </a:cubicBezTo>
                      <a:lnTo>
                        <a:pt x="20283" y="10978"/>
                      </a:lnTo>
                      <a:cubicBezTo>
                        <a:pt x="20283" y="10978"/>
                        <a:pt x="20116" y="11035"/>
                        <a:pt x="19919" y="11035"/>
                      </a:cubicBezTo>
                      <a:cubicBezTo>
                        <a:pt x="19675" y="11035"/>
                        <a:pt x="19386" y="10948"/>
                        <a:pt x="19312" y="10560"/>
                      </a:cubicBezTo>
                      <a:cubicBezTo>
                        <a:pt x="19148" y="9843"/>
                        <a:pt x="20402" y="8693"/>
                        <a:pt x="20402" y="8693"/>
                      </a:cubicBezTo>
                      <a:lnTo>
                        <a:pt x="20402" y="8693"/>
                      </a:lnTo>
                      <a:cubicBezTo>
                        <a:pt x="20402" y="8693"/>
                        <a:pt x="19670" y="9005"/>
                        <a:pt x="18948" y="9005"/>
                      </a:cubicBezTo>
                      <a:cubicBezTo>
                        <a:pt x="18865" y="9005"/>
                        <a:pt x="18782" y="9001"/>
                        <a:pt x="18700" y="8991"/>
                      </a:cubicBezTo>
                      <a:cubicBezTo>
                        <a:pt x="17908" y="8887"/>
                        <a:pt x="18759" y="7931"/>
                        <a:pt x="18759" y="7931"/>
                      </a:cubicBezTo>
                      <a:lnTo>
                        <a:pt x="18759" y="7931"/>
                      </a:lnTo>
                      <a:cubicBezTo>
                        <a:pt x="18759" y="7931"/>
                        <a:pt x="17878" y="8484"/>
                        <a:pt x="16504" y="8513"/>
                      </a:cubicBezTo>
                      <a:cubicBezTo>
                        <a:pt x="16492" y="8514"/>
                        <a:pt x="16479" y="8514"/>
                        <a:pt x="16467" y="8514"/>
                      </a:cubicBezTo>
                      <a:cubicBezTo>
                        <a:pt x="15124" y="8514"/>
                        <a:pt x="14801" y="6930"/>
                        <a:pt x="14801" y="6930"/>
                      </a:cubicBezTo>
                      <a:cubicBezTo>
                        <a:pt x="14801" y="6930"/>
                        <a:pt x="14509" y="10696"/>
                        <a:pt x="13363" y="10696"/>
                      </a:cubicBezTo>
                      <a:cubicBezTo>
                        <a:pt x="13113" y="10696"/>
                        <a:pt x="12823" y="10517"/>
                        <a:pt x="12486" y="10082"/>
                      </a:cubicBezTo>
                      <a:cubicBezTo>
                        <a:pt x="10604" y="7677"/>
                        <a:pt x="14085" y="6721"/>
                        <a:pt x="14085" y="6721"/>
                      </a:cubicBezTo>
                      <a:cubicBezTo>
                        <a:pt x="14085" y="6721"/>
                        <a:pt x="13577" y="6706"/>
                        <a:pt x="13039" y="5900"/>
                      </a:cubicBezTo>
                      <a:cubicBezTo>
                        <a:pt x="12486" y="5108"/>
                        <a:pt x="12830" y="4108"/>
                        <a:pt x="12830" y="4107"/>
                      </a:cubicBezTo>
                      <a:lnTo>
                        <a:pt x="12830" y="4107"/>
                      </a:lnTo>
                      <a:cubicBezTo>
                        <a:pt x="12830" y="4108"/>
                        <a:pt x="12494" y="4505"/>
                        <a:pt x="12203" y="4505"/>
                      </a:cubicBezTo>
                      <a:cubicBezTo>
                        <a:pt x="12116" y="4505"/>
                        <a:pt x="12033" y="4469"/>
                        <a:pt x="11964" y="4376"/>
                      </a:cubicBezTo>
                      <a:cubicBezTo>
                        <a:pt x="11665" y="4003"/>
                        <a:pt x="12576" y="2077"/>
                        <a:pt x="12576" y="2076"/>
                      </a:cubicBezTo>
                      <a:lnTo>
                        <a:pt x="12576" y="2076"/>
                      </a:lnTo>
                      <a:cubicBezTo>
                        <a:pt x="12576" y="2076"/>
                        <a:pt x="12205" y="2523"/>
                        <a:pt x="11651" y="2523"/>
                      </a:cubicBezTo>
                      <a:cubicBezTo>
                        <a:pt x="11556" y="2523"/>
                        <a:pt x="11456" y="2510"/>
                        <a:pt x="11351" y="2479"/>
                      </a:cubicBezTo>
                      <a:cubicBezTo>
                        <a:pt x="10619" y="2255"/>
                        <a:pt x="10246" y="0"/>
                        <a:pt x="102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0" name="Google Shape;810;p13"/>
                <p:cNvSpPr/>
                <p:nvPr/>
              </p:nvSpPr>
              <p:spPr>
                <a:xfrm>
                  <a:off x="10955575" y="7144100"/>
                  <a:ext cx="12350" cy="511950"/>
                </a:xfrm>
                <a:custGeom>
                  <a:avLst/>
                  <a:gdLst/>
                  <a:ahLst/>
                  <a:cxnLst/>
                  <a:rect l="l" t="t" r="r" b="b"/>
                  <a:pathLst>
                    <a:path w="494" h="20478" extrusionOk="0">
                      <a:moveTo>
                        <a:pt x="60" y="1"/>
                      </a:moveTo>
                      <a:lnTo>
                        <a:pt x="0" y="20478"/>
                      </a:lnTo>
                      <a:lnTo>
                        <a:pt x="493" y="20478"/>
                      </a:lnTo>
                      <a:lnTo>
                        <a:pt x="35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1" name="Google Shape;811;p13"/>
                <p:cNvSpPr/>
                <p:nvPr/>
              </p:nvSpPr>
              <p:spPr>
                <a:xfrm>
                  <a:off x="10781575" y="7277775"/>
                  <a:ext cx="366325" cy="244975"/>
                </a:xfrm>
                <a:custGeom>
                  <a:avLst/>
                  <a:gdLst/>
                  <a:ahLst/>
                  <a:cxnLst/>
                  <a:rect l="l" t="t" r="r" b="b"/>
                  <a:pathLst>
                    <a:path w="14653" h="9799" fill="none" extrusionOk="0">
                      <a:moveTo>
                        <a:pt x="7184" y="7902"/>
                      </a:moveTo>
                      <a:cubicBezTo>
                        <a:pt x="7184" y="7902"/>
                        <a:pt x="3405" y="5856"/>
                        <a:pt x="0" y="5751"/>
                      </a:cubicBezTo>
                      <a:moveTo>
                        <a:pt x="7184" y="8694"/>
                      </a:moveTo>
                      <a:cubicBezTo>
                        <a:pt x="7184" y="8694"/>
                        <a:pt x="11232" y="6364"/>
                        <a:pt x="14652" y="5751"/>
                      </a:cubicBezTo>
                      <a:moveTo>
                        <a:pt x="11262" y="5453"/>
                      </a:moveTo>
                      <a:lnTo>
                        <a:pt x="11262" y="6125"/>
                      </a:lnTo>
                      <a:moveTo>
                        <a:pt x="9738" y="7394"/>
                      </a:moveTo>
                      <a:lnTo>
                        <a:pt x="12606" y="4990"/>
                      </a:lnTo>
                      <a:moveTo>
                        <a:pt x="12935" y="6169"/>
                      </a:moveTo>
                      <a:lnTo>
                        <a:pt x="13935" y="6543"/>
                      </a:lnTo>
                      <a:moveTo>
                        <a:pt x="7184" y="2271"/>
                      </a:moveTo>
                      <a:lnTo>
                        <a:pt x="9096" y="643"/>
                      </a:lnTo>
                      <a:moveTo>
                        <a:pt x="6154" y="2749"/>
                      </a:moveTo>
                      <a:lnTo>
                        <a:pt x="7184" y="3675"/>
                      </a:lnTo>
                      <a:moveTo>
                        <a:pt x="7184" y="5781"/>
                      </a:moveTo>
                      <a:lnTo>
                        <a:pt x="8289" y="4885"/>
                      </a:lnTo>
                      <a:moveTo>
                        <a:pt x="5735" y="643"/>
                      </a:moveTo>
                      <a:lnTo>
                        <a:pt x="6393" y="583"/>
                      </a:lnTo>
                      <a:moveTo>
                        <a:pt x="5616" y="1"/>
                      </a:moveTo>
                      <a:lnTo>
                        <a:pt x="7184" y="1181"/>
                      </a:lnTo>
                      <a:moveTo>
                        <a:pt x="8394" y="419"/>
                      </a:moveTo>
                      <a:lnTo>
                        <a:pt x="8200" y="1405"/>
                      </a:lnTo>
                      <a:moveTo>
                        <a:pt x="4824" y="8694"/>
                      </a:moveTo>
                      <a:lnTo>
                        <a:pt x="7184" y="9799"/>
                      </a:lnTo>
                      <a:moveTo>
                        <a:pt x="3585" y="7992"/>
                      </a:moveTo>
                      <a:lnTo>
                        <a:pt x="4272" y="7394"/>
                      </a:lnTo>
                      <a:moveTo>
                        <a:pt x="6154" y="7394"/>
                      </a:moveTo>
                      <a:lnTo>
                        <a:pt x="2913" y="7394"/>
                      </a:lnTo>
                      <a:moveTo>
                        <a:pt x="672" y="6543"/>
                      </a:moveTo>
                      <a:lnTo>
                        <a:pt x="1897" y="597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812" name="Google Shape;812;p13"/>
            <p:cNvGrpSpPr/>
            <p:nvPr/>
          </p:nvGrpSpPr>
          <p:grpSpPr>
            <a:xfrm rot="-783310" flipH="1">
              <a:off x="469017" y="295169"/>
              <a:ext cx="286326" cy="174629"/>
              <a:chOff x="8227451" y="796881"/>
              <a:chExt cx="286312" cy="174621"/>
            </a:xfrm>
          </p:grpSpPr>
          <p:sp>
            <p:nvSpPr>
              <p:cNvPr id="813" name="Google Shape;813;p13"/>
              <p:cNvSpPr/>
              <p:nvPr/>
            </p:nvSpPr>
            <p:spPr>
              <a:xfrm>
                <a:off x="8351049" y="796881"/>
                <a:ext cx="162715" cy="174621"/>
              </a:xfrm>
              <a:custGeom>
                <a:avLst/>
                <a:gdLst/>
                <a:ahLst/>
                <a:cxnLst/>
                <a:rect l="l" t="t" r="r" b="b"/>
                <a:pathLst>
                  <a:path w="1435" h="1540" extrusionOk="0">
                    <a:moveTo>
                      <a:pt x="210" y="1"/>
                    </a:moveTo>
                    <a:lnTo>
                      <a:pt x="210" y="1"/>
                    </a:lnTo>
                    <a:cubicBezTo>
                      <a:pt x="1" y="1315"/>
                      <a:pt x="1046" y="1539"/>
                      <a:pt x="1046" y="1539"/>
                    </a:cubicBezTo>
                    <a:cubicBezTo>
                      <a:pt x="1434" y="509"/>
                      <a:pt x="210" y="1"/>
                      <a:pt x="21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4" name="Google Shape;814;p13"/>
              <p:cNvSpPr/>
              <p:nvPr/>
            </p:nvSpPr>
            <p:spPr>
              <a:xfrm>
                <a:off x="8227451" y="805385"/>
                <a:ext cx="123708" cy="132213"/>
              </a:xfrm>
              <a:custGeom>
                <a:avLst/>
                <a:gdLst/>
                <a:ahLst/>
                <a:cxnLst/>
                <a:rect l="l" t="t" r="r" b="b"/>
                <a:pathLst>
                  <a:path w="1091" h="1166" extrusionOk="0">
                    <a:moveTo>
                      <a:pt x="1031" y="1"/>
                    </a:moveTo>
                    <a:cubicBezTo>
                      <a:pt x="0" y="314"/>
                      <a:pt x="194" y="1166"/>
                      <a:pt x="194" y="1166"/>
                    </a:cubicBezTo>
                    <a:cubicBezTo>
                      <a:pt x="1090" y="1076"/>
                      <a:pt x="1031" y="1"/>
                      <a:pt x="103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15" name="Google Shape;815;p13"/>
            <p:cNvGrpSpPr/>
            <p:nvPr/>
          </p:nvGrpSpPr>
          <p:grpSpPr>
            <a:xfrm>
              <a:off x="-1126249" y="2459101"/>
              <a:ext cx="3513564" cy="3491406"/>
              <a:chOff x="-1126249" y="2459101"/>
              <a:chExt cx="3513564" cy="3491406"/>
            </a:xfrm>
          </p:grpSpPr>
          <p:sp>
            <p:nvSpPr>
              <p:cNvPr id="816" name="Google Shape;816;p13"/>
              <p:cNvSpPr/>
              <p:nvPr/>
            </p:nvSpPr>
            <p:spPr>
              <a:xfrm rot="-9900009">
                <a:off x="2205030" y="4810314"/>
                <a:ext cx="170994" cy="109763"/>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17" name="Google Shape;817;p13"/>
              <p:cNvGrpSpPr/>
              <p:nvPr/>
            </p:nvGrpSpPr>
            <p:grpSpPr>
              <a:xfrm rot="-8100000">
                <a:off x="-309016" y="4495472"/>
                <a:ext cx="827989" cy="1076622"/>
                <a:chOff x="7054700" y="8340850"/>
                <a:chExt cx="411525" cy="535100"/>
              </a:xfrm>
            </p:grpSpPr>
            <p:sp>
              <p:nvSpPr>
                <p:cNvPr id="818" name="Google Shape;818;p13"/>
                <p:cNvSpPr/>
                <p:nvPr/>
              </p:nvSpPr>
              <p:spPr>
                <a:xfrm>
                  <a:off x="7224975" y="8340850"/>
                  <a:ext cx="101600" cy="243850"/>
                </a:xfrm>
                <a:custGeom>
                  <a:avLst/>
                  <a:gdLst/>
                  <a:ahLst/>
                  <a:cxnLst/>
                  <a:rect l="l" t="t" r="r" b="b"/>
                  <a:pathLst>
                    <a:path w="4064" h="9754" fill="none" extrusionOk="0">
                      <a:moveTo>
                        <a:pt x="1" y="9753"/>
                      </a:moveTo>
                      <a:cubicBezTo>
                        <a:pt x="1" y="9753"/>
                        <a:pt x="3107" y="3690"/>
                        <a:pt x="4063" y="0"/>
                      </a:cubicBezTo>
                      <a:moveTo>
                        <a:pt x="3555" y="9753"/>
                      </a:moveTo>
                      <a:cubicBezTo>
                        <a:pt x="3555" y="9753"/>
                        <a:pt x="2465" y="7050"/>
                        <a:pt x="2420" y="4496"/>
                      </a:cubicBezTo>
                    </a:path>
                  </a:pathLst>
                </a:custGeom>
                <a:noFill/>
                <a:ln w="156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9" name="Google Shape;819;p13"/>
                <p:cNvSpPr/>
                <p:nvPr/>
              </p:nvSpPr>
              <p:spPr>
                <a:xfrm>
                  <a:off x="7054700" y="8573950"/>
                  <a:ext cx="252825" cy="194075"/>
                </a:xfrm>
                <a:custGeom>
                  <a:avLst/>
                  <a:gdLst/>
                  <a:ahLst/>
                  <a:cxnLst/>
                  <a:rect l="l" t="t" r="r" b="b"/>
                  <a:pathLst>
                    <a:path w="10113" h="7763" extrusionOk="0">
                      <a:moveTo>
                        <a:pt x="6465" y="0"/>
                      </a:moveTo>
                      <a:cubicBezTo>
                        <a:pt x="6295" y="0"/>
                        <a:pt x="6122" y="87"/>
                        <a:pt x="6020" y="250"/>
                      </a:cubicBezTo>
                      <a:cubicBezTo>
                        <a:pt x="5632" y="848"/>
                        <a:pt x="5497" y="1490"/>
                        <a:pt x="5452" y="1998"/>
                      </a:cubicBezTo>
                      <a:cubicBezTo>
                        <a:pt x="5044" y="1913"/>
                        <a:pt x="4502" y="1830"/>
                        <a:pt x="3931" y="1830"/>
                      </a:cubicBezTo>
                      <a:cubicBezTo>
                        <a:pt x="2791" y="1830"/>
                        <a:pt x="1539" y="2162"/>
                        <a:pt x="1031" y="3476"/>
                      </a:cubicBezTo>
                      <a:cubicBezTo>
                        <a:pt x="1" y="6135"/>
                        <a:pt x="4497" y="7106"/>
                        <a:pt x="4497" y="7106"/>
                      </a:cubicBezTo>
                      <a:cubicBezTo>
                        <a:pt x="4497" y="7106"/>
                        <a:pt x="5916" y="7762"/>
                        <a:pt x="7253" y="7762"/>
                      </a:cubicBezTo>
                      <a:cubicBezTo>
                        <a:pt x="8206" y="7762"/>
                        <a:pt x="9117" y="7428"/>
                        <a:pt x="9440" y="6284"/>
                      </a:cubicBezTo>
                      <a:cubicBezTo>
                        <a:pt x="10112" y="4014"/>
                        <a:pt x="7379" y="2670"/>
                        <a:pt x="6453" y="2296"/>
                      </a:cubicBezTo>
                      <a:cubicBezTo>
                        <a:pt x="6722" y="1848"/>
                        <a:pt x="7080" y="1490"/>
                        <a:pt x="7379" y="1236"/>
                      </a:cubicBezTo>
                      <a:cubicBezTo>
                        <a:pt x="7678" y="982"/>
                        <a:pt x="7603" y="519"/>
                        <a:pt x="7275" y="355"/>
                      </a:cubicBezTo>
                      <a:lnTo>
                        <a:pt x="6692" y="56"/>
                      </a:lnTo>
                      <a:cubicBezTo>
                        <a:pt x="6622" y="18"/>
                        <a:pt x="6543" y="0"/>
                        <a:pt x="646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0" name="Google Shape;820;p13"/>
                <p:cNvSpPr/>
                <p:nvPr/>
              </p:nvSpPr>
              <p:spPr>
                <a:xfrm>
                  <a:off x="7065175" y="8679500"/>
                  <a:ext cx="190450" cy="186150"/>
                </a:xfrm>
                <a:custGeom>
                  <a:avLst/>
                  <a:gdLst/>
                  <a:ahLst/>
                  <a:cxnLst/>
                  <a:rect l="l" t="t" r="r" b="b"/>
                  <a:pathLst>
                    <a:path w="7618" h="7446" extrusionOk="0">
                      <a:moveTo>
                        <a:pt x="2208" y="0"/>
                      </a:moveTo>
                      <a:cubicBezTo>
                        <a:pt x="1980" y="0"/>
                        <a:pt x="1759" y="147"/>
                        <a:pt x="1688" y="389"/>
                      </a:cubicBezTo>
                      <a:lnTo>
                        <a:pt x="538" y="3840"/>
                      </a:lnTo>
                      <a:cubicBezTo>
                        <a:pt x="0" y="5438"/>
                        <a:pt x="1673" y="7021"/>
                        <a:pt x="2599" y="7335"/>
                      </a:cubicBezTo>
                      <a:cubicBezTo>
                        <a:pt x="2659" y="7365"/>
                        <a:pt x="2733" y="7379"/>
                        <a:pt x="2793" y="7379"/>
                      </a:cubicBezTo>
                      <a:cubicBezTo>
                        <a:pt x="2986" y="7422"/>
                        <a:pt x="3215" y="7445"/>
                        <a:pt x="3464" y="7445"/>
                      </a:cubicBezTo>
                      <a:cubicBezTo>
                        <a:pt x="4179" y="7445"/>
                        <a:pt x="5055" y="7251"/>
                        <a:pt x="5676" y="6752"/>
                      </a:cubicBezTo>
                      <a:lnTo>
                        <a:pt x="5691" y="6737"/>
                      </a:lnTo>
                      <a:lnTo>
                        <a:pt x="5706" y="6737"/>
                      </a:lnTo>
                      <a:lnTo>
                        <a:pt x="5721" y="6722"/>
                      </a:lnTo>
                      <a:lnTo>
                        <a:pt x="5735" y="6707"/>
                      </a:lnTo>
                      <a:lnTo>
                        <a:pt x="5750" y="6692"/>
                      </a:lnTo>
                      <a:lnTo>
                        <a:pt x="5765" y="6677"/>
                      </a:lnTo>
                      <a:lnTo>
                        <a:pt x="5780" y="6677"/>
                      </a:lnTo>
                      <a:lnTo>
                        <a:pt x="5795" y="6663"/>
                      </a:lnTo>
                      <a:lnTo>
                        <a:pt x="5795" y="6648"/>
                      </a:lnTo>
                      <a:lnTo>
                        <a:pt x="5810" y="6633"/>
                      </a:lnTo>
                      <a:lnTo>
                        <a:pt x="5825" y="6618"/>
                      </a:lnTo>
                      <a:lnTo>
                        <a:pt x="5840" y="6603"/>
                      </a:lnTo>
                      <a:lnTo>
                        <a:pt x="5855" y="6603"/>
                      </a:lnTo>
                      <a:cubicBezTo>
                        <a:pt x="6079" y="6379"/>
                        <a:pt x="6258" y="6110"/>
                        <a:pt x="6378" y="5811"/>
                      </a:cubicBezTo>
                      <a:lnTo>
                        <a:pt x="7528" y="2361"/>
                      </a:lnTo>
                      <a:cubicBezTo>
                        <a:pt x="7617" y="2122"/>
                        <a:pt x="7513" y="1853"/>
                        <a:pt x="7304" y="1704"/>
                      </a:cubicBezTo>
                      <a:cubicBezTo>
                        <a:pt x="7289" y="1674"/>
                        <a:pt x="7244" y="1659"/>
                        <a:pt x="7214" y="1644"/>
                      </a:cubicBezTo>
                      <a:cubicBezTo>
                        <a:pt x="6004" y="808"/>
                        <a:pt x="4615" y="285"/>
                        <a:pt x="3181" y="91"/>
                      </a:cubicBezTo>
                      <a:cubicBezTo>
                        <a:pt x="2868" y="46"/>
                        <a:pt x="2569" y="16"/>
                        <a:pt x="2241" y="1"/>
                      </a:cubicBezTo>
                      <a:cubicBezTo>
                        <a:pt x="2230" y="0"/>
                        <a:pt x="2219" y="0"/>
                        <a:pt x="220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1" name="Google Shape;821;p13"/>
                <p:cNvSpPr/>
                <p:nvPr/>
              </p:nvSpPr>
              <p:spPr>
                <a:xfrm>
                  <a:off x="7064800" y="8679875"/>
                  <a:ext cx="79550" cy="184500"/>
                </a:xfrm>
                <a:custGeom>
                  <a:avLst/>
                  <a:gdLst/>
                  <a:ahLst/>
                  <a:cxnLst/>
                  <a:rect l="l" t="t" r="r" b="b"/>
                  <a:pathLst>
                    <a:path w="3182" h="7380" extrusionOk="0">
                      <a:moveTo>
                        <a:pt x="2223" y="0"/>
                      </a:moveTo>
                      <a:cubicBezTo>
                        <a:pt x="1982" y="0"/>
                        <a:pt x="1759" y="161"/>
                        <a:pt x="1688" y="389"/>
                      </a:cubicBezTo>
                      <a:lnTo>
                        <a:pt x="538" y="3825"/>
                      </a:lnTo>
                      <a:cubicBezTo>
                        <a:pt x="0" y="5438"/>
                        <a:pt x="1688" y="7021"/>
                        <a:pt x="2599" y="7335"/>
                      </a:cubicBezTo>
                      <a:cubicBezTo>
                        <a:pt x="2659" y="7364"/>
                        <a:pt x="2733" y="7364"/>
                        <a:pt x="2793" y="7379"/>
                      </a:cubicBezTo>
                      <a:cubicBezTo>
                        <a:pt x="1688" y="4616"/>
                        <a:pt x="2554" y="1629"/>
                        <a:pt x="3182" y="91"/>
                      </a:cubicBezTo>
                      <a:cubicBezTo>
                        <a:pt x="2868" y="46"/>
                        <a:pt x="2569" y="16"/>
                        <a:pt x="2256" y="1"/>
                      </a:cubicBezTo>
                      <a:cubicBezTo>
                        <a:pt x="2245" y="0"/>
                        <a:pt x="2234" y="0"/>
                        <a:pt x="222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2" name="Google Shape;822;p13"/>
                <p:cNvSpPr/>
                <p:nvPr/>
              </p:nvSpPr>
              <p:spPr>
                <a:xfrm>
                  <a:off x="7220125" y="8580850"/>
                  <a:ext cx="246100" cy="190825"/>
                </a:xfrm>
                <a:custGeom>
                  <a:avLst/>
                  <a:gdLst/>
                  <a:ahLst/>
                  <a:cxnLst/>
                  <a:rect l="l" t="t" r="r" b="b"/>
                  <a:pathLst>
                    <a:path w="9844" h="7633" extrusionOk="0">
                      <a:moveTo>
                        <a:pt x="4066" y="0"/>
                      </a:moveTo>
                      <a:cubicBezTo>
                        <a:pt x="4046" y="0"/>
                        <a:pt x="4025" y="2"/>
                        <a:pt x="4003" y="4"/>
                      </a:cubicBezTo>
                      <a:lnTo>
                        <a:pt x="3361" y="49"/>
                      </a:lnTo>
                      <a:cubicBezTo>
                        <a:pt x="3092" y="79"/>
                        <a:pt x="2883" y="318"/>
                        <a:pt x="2883" y="587"/>
                      </a:cubicBezTo>
                      <a:cubicBezTo>
                        <a:pt x="2883" y="1304"/>
                        <a:pt x="3107" y="1916"/>
                        <a:pt x="3346" y="2364"/>
                      </a:cubicBezTo>
                      <a:cubicBezTo>
                        <a:pt x="2181" y="2797"/>
                        <a:pt x="0" y="3902"/>
                        <a:pt x="419" y="5964"/>
                      </a:cubicBezTo>
                      <a:cubicBezTo>
                        <a:pt x="671" y="7283"/>
                        <a:pt x="1762" y="7633"/>
                        <a:pt x="2847" y="7633"/>
                      </a:cubicBezTo>
                      <a:cubicBezTo>
                        <a:pt x="4071" y="7633"/>
                        <a:pt x="5288" y="7188"/>
                        <a:pt x="5288" y="7188"/>
                      </a:cubicBezTo>
                      <a:cubicBezTo>
                        <a:pt x="5288" y="7188"/>
                        <a:pt x="9843" y="6576"/>
                        <a:pt x="9022" y="3843"/>
                      </a:cubicBezTo>
                      <a:cubicBezTo>
                        <a:pt x="8564" y="2286"/>
                        <a:pt x="7004" y="1949"/>
                        <a:pt x="5754" y="1949"/>
                      </a:cubicBezTo>
                      <a:cubicBezTo>
                        <a:pt x="5169" y="1949"/>
                        <a:pt x="4652" y="2023"/>
                        <a:pt x="4347" y="2080"/>
                      </a:cubicBezTo>
                      <a:cubicBezTo>
                        <a:pt x="4332" y="1557"/>
                        <a:pt x="4451" y="1065"/>
                        <a:pt x="4571" y="691"/>
                      </a:cubicBezTo>
                      <a:cubicBezTo>
                        <a:pt x="4669" y="339"/>
                        <a:pt x="4409" y="0"/>
                        <a:pt x="406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3" name="Google Shape;823;p13"/>
                <p:cNvSpPr/>
                <p:nvPr/>
              </p:nvSpPr>
              <p:spPr>
                <a:xfrm>
                  <a:off x="7266800" y="8692100"/>
                  <a:ext cx="174400" cy="183850"/>
                </a:xfrm>
                <a:custGeom>
                  <a:avLst/>
                  <a:gdLst/>
                  <a:ahLst/>
                  <a:cxnLst/>
                  <a:rect l="l" t="t" r="r" b="b"/>
                  <a:pathLst>
                    <a:path w="6976" h="7354" extrusionOk="0">
                      <a:moveTo>
                        <a:pt x="5102" y="1"/>
                      </a:moveTo>
                      <a:cubicBezTo>
                        <a:pt x="3724" y="1"/>
                        <a:pt x="2379" y="298"/>
                        <a:pt x="1151" y="856"/>
                      </a:cubicBezTo>
                      <a:cubicBezTo>
                        <a:pt x="882" y="976"/>
                        <a:pt x="598" y="1140"/>
                        <a:pt x="329" y="1289"/>
                      </a:cubicBezTo>
                      <a:cubicBezTo>
                        <a:pt x="105" y="1409"/>
                        <a:pt x="0" y="1663"/>
                        <a:pt x="60" y="1917"/>
                      </a:cubicBezTo>
                      <a:lnTo>
                        <a:pt x="912" y="5442"/>
                      </a:lnTo>
                      <a:cubicBezTo>
                        <a:pt x="1249" y="6815"/>
                        <a:pt x="2901" y="7354"/>
                        <a:pt x="3984" y="7354"/>
                      </a:cubicBezTo>
                      <a:cubicBezTo>
                        <a:pt x="4196" y="7354"/>
                        <a:pt x="4387" y="7333"/>
                        <a:pt x="4541" y="7294"/>
                      </a:cubicBezTo>
                      <a:cubicBezTo>
                        <a:pt x="4601" y="7279"/>
                        <a:pt x="4660" y="7264"/>
                        <a:pt x="4735" y="7234"/>
                      </a:cubicBezTo>
                      <a:cubicBezTo>
                        <a:pt x="5452" y="6980"/>
                        <a:pt x="6483" y="6173"/>
                        <a:pt x="6826" y="5158"/>
                      </a:cubicBezTo>
                      <a:lnTo>
                        <a:pt x="6841" y="5143"/>
                      </a:lnTo>
                      <a:lnTo>
                        <a:pt x="6841" y="5113"/>
                      </a:lnTo>
                      <a:lnTo>
                        <a:pt x="6856" y="5098"/>
                      </a:lnTo>
                      <a:lnTo>
                        <a:pt x="6856" y="5083"/>
                      </a:lnTo>
                      <a:lnTo>
                        <a:pt x="6856" y="5068"/>
                      </a:lnTo>
                      <a:lnTo>
                        <a:pt x="6871" y="5053"/>
                      </a:lnTo>
                      <a:lnTo>
                        <a:pt x="6871" y="5038"/>
                      </a:lnTo>
                      <a:lnTo>
                        <a:pt x="6871" y="5008"/>
                      </a:lnTo>
                      <a:lnTo>
                        <a:pt x="6886" y="4994"/>
                      </a:lnTo>
                      <a:lnTo>
                        <a:pt x="6886" y="4979"/>
                      </a:lnTo>
                      <a:lnTo>
                        <a:pt x="6886" y="4964"/>
                      </a:lnTo>
                      <a:lnTo>
                        <a:pt x="6886" y="4949"/>
                      </a:lnTo>
                      <a:cubicBezTo>
                        <a:pt x="6961" y="4635"/>
                        <a:pt x="6975" y="4307"/>
                        <a:pt x="6901" y="3978"/>
                      </a:cubicBezTo>
                      <a:lnTo>
                        <a:pt x="6035" y="453"/>
                      </a:lnTo>
                      <a:cubicBezTo>
                        <a:pt x="5975" y="199"/>
                        <a:pt x="5766" y="20"/>
                        <a:pt x="5497" y="5"/>
                      </a:cubicBezTo>
                      <a:lnTo>
                        <a:pt x="5392" y="5"/>
                      </a:lnTo>
                      <a:cubicBezTo>
                        <a:pt x="5295" y="2"/>
                        <a:pt x="5199" y="1"/>
                        <a:pt x="510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4" name="Google Shape;824;p13"/>
                <p:cNvSpPr/>
                <p:nvPr/>
              </p:nvSpPr>
              <p:spPr>
                <a:xfrm>
                  <a:off x="7266800" y="8713500"/>
                  <a:ext cx="118400" cy="162450"/>
                </a:xfrm>
                <a:custGeom>
                  <a:avLst/>
                  <a:gdLst/>
                  <a:ahLst/>
                  <a:cxnLst/>
                  <a:rect l="l" t="t" r="r" b="b"/>
                  <a:pathLst>
                    <a:path w="4736" h="6498" extrusionOk="0">
                      <a:moveTo>
                        <a:pt x="1151" y="0"/>
                      </a:moveTo>
                      <a:cubicBezTo>
                        <a:pt x="882" y="120"/>
                        <a:pt x="598" y="269"/>
                        <a:pt x="329" y="433"/>
                      </a:cubicBezTo>
                      <a:cubicBezTo>
                        <a:pt x="105" y="553"/>
                        <a:pt x="0" y="807"/>
                        <a:pt x="60" y="1061"/>
                      </a:cubicBezTo>
                      <a:lnTo>
                        <a:pt x="912" y="4586"/>
                      </a:lnTo>
                      <a:cubicBezTo>
                        <a:pt x="1249" y="5959"/>
                        <a:pt x="2901" y="6498"/>
                        <a:pt x="3984" y="6498"/>
                      </a:cubicBezTo>
                      <a:cubicBezTo>
                        <a:pt x="4196" y="6498"/>
                        <a:pt x="4387" y="6477"/>
                        <a:pt x="4541" y="6438"/>
                      </a:cubicBezTo>
                      <a:cubicBezTo>
                        <a:pt x="4601" y="6423"/>
                        <a:pt x="4660" y="6408"/>
                        <a:pt x="4735" y="6378"/>
                      </a:cubicBezTo>
                      <a:cubicBezTo>
                        <a:pt x="2316" y="4645"/>
                        <a:pt x="1449" y="1658"/>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5" name="Google Shape;825;p13"/>
                <p:cNvSpPr/>
                <p:nvPr/>
              </p:nvSpPr>
              <p:spPr>
                <a:xfrm>
                  <a:off x="7292575" y="8422250"/>
                  <a:ext cx="159825" cy="136675"/>
                </a:xfrm>
                <a:custGeom>
                  <a:avLst/>
                  <a:gdLst/>
                  <a:ahLst/>
                  <a:cxnLst/>
                  <a:rect l="l" t="t" r="r" b="b"/>
                  <a:pathLst>
                    <a:path w="6393" h="5467" extrusionOk="0">
                      <a:moveTo>
                        <a:pt x="1090" y="0"/>
                      </a:moveTo>
                      <a:cubicBezTo>
                        <a:pt x="1090" y="1"/>
                        <a:pt x="0" y="4541"/>
                        <a:pt x="5422" y="5467"/>
                      </a:cubicBezTo>
                      <a:lnTo>
                        <a:pt x="5437" y="5467"/>
                      </a:lnTo>
                      <a:cubicBezTo>
                        <a:pt x="5437" y="5467"/>
                        <a:pt x="6393" y="1479"/>
                        <a:pt x="10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6" name="Google Shape;826;p13"/>
                <p:cNvSpPr/>
                <p:nvPr/>
              </p:nvSpPr>
              <p:spPr>
                <a:xfrm>
                  <a:off x="7306375" y="8404700"/>
                  <a:ext cx="97850" cy="124000"/>
                </a:xfrm>
                <a:custGeom>
                  <a:avLst/>
                  <a:gdLst/>
                  <a:ahLst/>
                  <a:cxnLst/>
                  <a:rect l="l" t="t" r="r" b="b"/>
                  <a:pathLst>
                    <a:path w="3914" h="4960" fill="none" extrusionOk="0">
                      <a:moveTo>
                        <a:pt x="1" y="0"/>
                      </a:moveTo>
                      <a:lnTo>
                        <a:pt x="3914" y="495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7" name="Google Shape;827;p13"/>
                <p:cNvSpPr/>
                <p:nvPr/>
              </p:nvSpPr>
              <p:spPr>
                <a:xfrm>
                  <a:off x="7104375" y="8455100"/>
                  <a:ext cx="188200" cy="154625"/>
                </a:xfrm>
                <a:custGeom>
                  <a:avLst/>
                  <a:gdLst/>
                  <a:ahLst/>
                  <a:cxnLst/>
                  <a:rect l="l" t="t" r="r" b="b"/>
                  <a:pathLst>
                    <a:path w="7528" h="6185" extrusionOk="0">
                      <a:moveTo>
                        <a:pt x="6796" y="1"/>
                      </a:moveTo>
                      <a:lnTo>
                        <a:pt x="6796" y="1"/>
                      </a:lnTo>
                      <a:cubicBezTo>
                        <a:pt x="0" y="1091"/>
                        <a:pt x="643" y="6184"/>
                        <a:pt x="643" y="6184"/>
                      </a:cubicBezTo>
                      <a:lnTo>
                        <a:pt x="673" y="6184"/>
                      </a:lnTo>
                      <a:cubicBezTo>
                        <a:pt x="7528" y="5796"/>
                        <a:pt x="6796" y="1"/>
                        <a:pt x="67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8" name="Google Shape;828;p13"/>
                <p:cNvSpPr/>
                <p:nvPr/>
              </p:nvSpPr>
              <p:spPr>
                <a:xfrm>
                  <a:off x="7154775" y="8435700"/>
                  <a:ext cx="138925" cy="140025"/>
                </a:xfrm>
                <a:custGeom>
                  <a:avLst/>
                  <a:gdLst/>
                  <a:ahLst/>
                  <a:cxnLst/>
                  <a:rect l="l" t="t" r="r" b="b"/>
                  <a:pathLst>
                    <a:path w="5557" h="5601" fill="none" extrusionOk="0">
                      <a:moveTo>
                        <a:pt x="5557" y="0"/>
                      </a:moveTo>
                      <a:lnTo>
                        <a:pt x="1" y="560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29" name="Google Shape;829;p13"/>
              <p:cNvGrpSpPr/>
              <p:nvPr/>
            </p:nvGrpSpPr>
            <p:grpSpPr>
              <a:xfrm rot="1730371">
                <a:off x="-918561" y="2935515"/>
                <a:ext cx="1594097" cy="1271020"/>
                <a:chOff x="12004800" y="5638575"/>
                <a:chExt cx="810675" cy="646375"/>
              </a:xfrm>
            </p:grpSpPr>
            <p:grpSp>
              <p:nvGrpSpPr>
                <p:cNvPr id="830" name="Google Shape;830;p13"/>
                <p:cNvGrpSpPr/>
                <p:nvPr/>
              </p:nvGrpSpPr>
              <p:grpSpPr>
                <a:xfrm>
                  <a:off x="12004800" y="5638575"/>
                  <a:ext cx="810675" cy="646375"/>
                  <a:chOff x="12004800" y="5638575"/>
                  <a:chExt cx="810675" cy="646375"/>
                </a:xfrm>
              </p:grpSpPr>
              <p:sp>
                <p:nvSpPr>
                  <p:cNvPr id="831" name="Google Shape;831;p13"/>
                  <p:cNvSpPr/>
                  <p:nvPr/>
                </p:nvSpPr>
                <p:spPr>
                  <a:xfrm>
                    <a:off x="12004800" y="5638950"/>
                    <a:ext cx="587750" cy="461350"/>
                  </a:xfrm>
                  <a:custGeom>
                    <a:avLst/>
                    <a:gdLst/>
                    <a:ahLst/>
                    <a:cxnLst/>
                    <a:rect l="l" t="t" r="r" b="b"/>
                    <a:pathLst>
                      <a:path w="23510" h="18454" extrusionOk="0">
                        <a:moveTo>
                          <a:pt x="23510" y="1"/>
                        </a:moveTo>
                        <a:cubicBezTo>
                          <a:pt x="23092" y="598"/>
                          <a:pt x="20702" y="3077"/>
                          <a:pt x="20702" y="3077"/>
                        </a:cubicBezTo>
                        <a:lnTo>
                          <a:pt x="20478" y="2599"/>
                        </a:lnTo>
                        <a:cubicBezTo>
                          <a:pt x="19880" y="3481"/>
                          <a:pt x="18521" y="4810"/>
                          <a:pt x="18521" y="4810"/>
                        </a:cubicBezTo>
                        <a:lnTo>
                          <a:pt x="18222" y="4332"/>
                        </a:lnTo>
                        <a:cubicBezTo>
                          <a:pt x="17595" y="4840"/>
                          <a:pt x="16565" y="6647"/>
                          <a:pt x="16565" y="6647"/>
                        </a:cubicBezTo>
                        <a:lnTo>
                          <a:pt x="16176" y="6124"/>
                        </a:lnTo>
                        <a:cubicBezTo>
                          <a:pt x="15566" y="7129"/>
                          <a:pt x="15497" y="8268"/>
                          <a:pt x="15490" y="8468"/>
                        </a:cubicBezTo>
                        <a:lnTo>
                          <a:pt x="15490" y="8468"/>
                        </a:lnTo>
                        <a:cubicBezTo>
                          <a:pt x="15519" y="7158"/>
                          <a:pt x="14578" y="5452"/>
                          <a:pt x="14578" y="5452"/>
                        </a:cubicBezTo>
                        <a:lnTo>
                          <a:pt x="14399" y="6020"/>
                        </a:lnTo>
                        <a:cubicBezTo>
                          <a:pt x="13936" y="4974"/>
                          <a:pt x="12562" y="3690"/>
                          <a:pt x="12562" y="3690"/>
                        </a:cubicBezTo>
                        <a:lnTo>
                          <a:pt x="12383" y="4123"/>
                        </a:lnTo>
                        <a:cubicBezTo>
                          <a:pt x="11979" y="3481"/>
                          <a:pt x="10560" y="1957"/>
                          <a:pt x="10560" y="1957"/>
                        </a:cubicBezTo>
                        <a:lnTo>
                          <a:pt x="10531" y="2495"/>
                        </a:lnTo>
                        <a:cubicBezTo>
                          <a:pt x="9709" y="1763"/>
                          <a:pt x="7424" y="61"/>
                          <a:pt x="7424" y="60"/>
                        </a:cubicBezTo>
                        <a:lnTo>
                          <a:pt x="7424" y="60"/>
                        </a:lnTo>
                        <a:cubicBezTo>
                          <a:pt x="7767" y="777"/>
                          <a:pt x="7917" y="3062"/>
                          <a:pt x="7917" y="3062"/>
                        </a:cubicBezTo>
                        <a:lnTo>
                          <a:pt x="7469" y="3062"/>
                        </a:lnTo>
                        <a:cubicBezTo>
                          <a:pt x="7842" y="3944"/>
                          <a:pt x="8260" y="5721"/>
                          <a:pt x="8260" y="5721"/>
                        </a:cubicBezTo>
                        <a:lnTo>
                          <a:pt x="7723" y="5661"/>
                        </a:lnTo>
                        <a:lnTo>
                          <a:pt x="7723" y="5661"/>
                        </a:lnTo>
                        <a:cubicBezTo>
                          <a:pt x="7887" y="6617"/>
                          <a:pt x="8768" y="8141"/>
                          <a:pt x="8768" y="8141"/>
                        </a:cubicBezTo>
                        <a:lnTo>
                          <a:pt x="8051" y="8141"/>
                        </a:lnTo>
                        <a:cubicBezTo>
                          <a:pt x="8678" y="9365"/>
                          <a:pt x="10112" y="10500"/>
                          <a:pt x="10112" y="10500"/>
                        </a:cubicBezTo>
                        <a:cubicBezTo>
                          <a:pt x="9052" y="9813"/>
                          <a:pt x="6752" y="9679"/>
                          <a:pt x="6752" y="9679"/>
                        </a:cubicBezTo>
                        <a:lnTo>
                          <a:pt x="6752" y="9679"/>
                        </a:lnTo>
                        <a:lnTo>
                          <a:pt x="6841" y="10187"/>
                        </a:lnTo>
                        <a:cubicBezTo>
                          <a:pt x="6162" y="10086"/>
                          <a:pt x="5549" y="10057"/>
                          <a:pt x="5067" y="10057"/>
                        </a:cubicBezTo>
                        <a:cubicBezTo>
                          <a:pt x="4404" y="10057"/>
                          <a:pt x="3989" y="10112"/>
                          <a:pt x="3989" y="10112"/>
                        </a:cubicBezTo>
                        <a:lnTo>
                          <a:pt x="4317" y="10485"/>
                        </a:lnTo>
                        <a:cubicBezTo>
                          <a:pt x="3033" y="10530"/>
                          <a:pt x="1" y="11307"/>
                          <a:pt x="1" y="11307"/>
                        </a:cubicBezTo>
                        <a:cubicBezTo>
                          <a:pt x="1793" y="12756"/>
                          <a:pt x="3839" y="13921"/>
                          <a:pt x="3839" y="13921"/>
                        </a:cubicBezTo>
                        <a:lnTo>
                          <a:pt x="3436" y="14175"/>
                        </a:lnTo>
                        <a:cubicBezTo>
                          <a:pt x="4482" y="14712"/>
                          <a:pt x="6767" y="16505"/>
                          <a:pt x="6767" y="16505"/>
                        </a:cubicBezTo>
                        <a:lnTo>
                          <a:pt x="6423" y="16788"/>
                        </a:lnTo>
                        <a:cubicBezTo>
                          <a:pt x="7648" y="17640"/>
                          <a:pt x="10277" y="17983"/>
                          <a:pt x="10277" y="17983"/>
                        </a:cubicBezTo>
                        <a:lnTo>
                          <a:pt x="10067" y="18431"/>
                        </a:lnTo>
                        <a:cubicBezTo>
                          <a:pt x="10308" y="18447"/>
                          <a:pt x="10537" y="18454"/>
                          <a:pt x="10755" y="18454"/>
                        </a:cubicBezTo>
                        <a:cubicBezTo>
                          <a:pt x="13074" y="18454"/>
                          <a:pt x="14085" y="17655"/>
                          <a:pt x="14085" y="17655"/>
                        </a:cubicBezTo>
                        <a:lnTo>
                          <a:pt x="2351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2" name="Google Shape;832;p13"/>
                  <p:cNvSpPr/>
                  <p:nvPr/>
                </p:nvSpPr>
                <p:spPr>
                  <a:xfrm>
                    <a:off x="12354300" y="5638575"/>
                    <a:ext cx="461175" cy="646375"/>
                  </a:xfrm>
                  <a:custGeom>
                    <a:avLst/>
                    <a:gdLst/>
                    <a:ahLst/>
                    <a:cxnLst/>
                    <a:rect l="l" t="t" r="r" b="b"/>
                    <a:pathLst>
                      <a:path w="18447" h="25855" extrusionOk="0">
                        <a:moveTo>
                          <a:pt x="9545" y="1"/>
                        </a:moveTo>
                        <a:lnTo>
                          <a:pt x="105" y="17670"/>
                        </a:lnTo>
                        <a:cubicBezTo>
                          <a:pt x="105" y="17670"/>
                          <a:pt x="1" y="19208"/>
                          <a:pt x="1688" y="21434"/>
                        </a:cubicBezTo>
                        <a:lnTo>
                          <a:pt x="1957" y="21015"/>
                        </a:lnTo>
                        <a:cubicBezTo>
                          <a:pt x="1957" y="21015"/>
                          <a:pt x="3705" y="23017"/>
                          <a:pt x="5079" y="23554"/>
                        </a:cubicBezTo>
                        <a:lnTo>
                          <a:pt x="5124" y="23106"/>
                        </a:lnTo>
                        <a:cubicBezTo>
                          <a:pt x="5124" y="23106"/>
                          <a:pt x="7872" y="24017"/>
                          <a:pt x="8917" y="24585"/>
                        </a:cubicBezTo>
                        <a:lnTo>
                          <a:pt x="8902" y="24107"/>
                        </a:lnTo>
                        <a:lnTo>
                          <a:pt x="8902" y="24107"/>
                        </a:lnTo>
                        <a:cubicBezTo>
                          <a:pt x="8903" y="24107"/>
                          <a:pt x="11023" y="25153"/>
                          <a:pt x="13219" y="25855"/>
                        </a:cubicBezTo>
                        <a:cubicBezTo>
                          <a:pt x="13219" y="25855"/>
                          <a:pt x="12173" y="22897"/>
                          <a:pt x="11501" y="21792"/>
                        </a:cubicBezTo>
                        <a:lnTo>
                          <a:pt x="11501" y="21792"/>
                        </a:lnTo>
                        <a:lnTo>
                          <a:pt x="11994" y="21852"/>
                        </a:lnTo>
                        <a:cubicBezTo>
                          <a:pt x="11994" y="21852"/>
                          <a:pt x="11441" y="20717"/>
                          <a:pt x="10351" y="19522"/>
                        </a:cubicBezTo>
                        <a:lnTo>
                          <a:pt x="10814" y="19313"/>
                        </a:lnTo>
                        <a:cubicBezTo>
                          <a:pt x="10814" y="19313"/>
                          <a:pt x="9410" y="17461"/>
                          <a:pt x="8260" y="16983"/>
                        </a:cubicBezTo>
                        <a:lnTo>
                          <a:pt x="8260" y="16983"/>
                        </a:lnTo>
                        <a:cubicBezTo>
                          <a:pt x="8261" y="16983"/>
                          <a:pt x="9641" y="17407"/>
                          <a:pt x="10902" y="17407"/>
                        </a:cubicBezTo>
                        <a:cubicBezTo>
                          <a:pt x="11060" y="17407"/>
                          <a:pt x="11216" y="17401"/>
                          <a:pt x="11367" y="17386"/>
                        </a:cubicBezTo>
                        <a:lnTo>
                          <a:pt x="10964" y="16803"/>
                        </a:lnTo>
                        <a:cubicBezTo>
                          <a:pt x="10964" y="16803"/>
                          <a:pt x="12726" y="16669"/>
                          <a:pt x="13607" y="16296"/>
                        </a:cubicBezTo>
                        <a:lnTo>
                          <a:pt x="13249" y="15892"/>
                        </a:lnTo>
                        <a:cubicBezTo>
                          <a:pt x="13249" y="15892"/>
                          <a:pt x="14966" y="15250"/>
                          <a:pt x="15922" y="15071"/>
                        </a:cubicBezTo>
                        <a:lnTo>
                          <a:pt x="15668" y="14683"/>
                        </a:lnTo>
                        <a:cubicBezTo>
                          <a:pt x="15668" y="14683"/>
                          <a:pt x="17655" y="13532"/>
                          <a:pt x="18446" y="13428"/>
                        </a:cubicBezTo>
                        <a:cubicBezTo>
                          <a:pt x="18446" y="13428"/>
                          <a:pt x="15758" y="12457"/>
                          <a:pt x="14683" y="12218"/>
                        </a:cubicBezTo>
                        <a:lnTo>
                          <a:pt x="15116" y="11875"/>
                        </a:lnTo>
                        <a:cubicBezTo>
                          <a:pt x="15116" y="11875"/>
                          <a:pt x="13335" y="11587"/>
                          <a:pt x="12471" y="11587"/>
                        </a:cubicBezTo>
                        <a:cubicBezTo>
                          <a:pt x="12412" y="11587"/>
                          <a:pt x="12357" y="11588"/>
                          <a:pt x="12308" y="11591"/>
                        </a:cubicBezTo>
                        <a:lnTo>
                          <a:pt x="12577" y="11202"/>
                        </a:lnTo>
                        <a:cubicBezTo>
                          <a:pt x="12577" y="11202"/>
                          <a:pt x="11336" y="10900"/>
                          <a:pt x="10272" y="10900"/>
                        </a:cubicBezTo>
                        <a:cubicBezTo>
                          <a:pt x="10041" y="10900"/>
                          <a:pt x="9819" y="10914"/>
                          <a:pt x="9619" y="10949"/>
                        </a:cubicBezTo>
                        <a:lnTo>
                          <a:pt x="9978" y="10471"/>
                        </a:lnTo>
                        <a:lnTo>
                          <a:pt x="9978" y="10471"/>
                        </a:lnTo>
                        <a:cubicBezTo>
                          <a:pt x="9977" y="10471"/>
                          <a:pt x="8024" y="10650"/>
                          <a:pt x="6948" y="11410"/>
                        </a:cubicBezTo>
                        <a:lnTo>
                          <a:pt x="6948" y="11410"/>
                        </a:lnTo>
                        <a:cubicBezTo>
                          <a:pt x="7006" y="11369"/>
                          <a:pt x="8007" y="10646"/>
                          <a:pt x="8529" y="9515"/>
                        </a:cubicBezTo>
                        <a:lnTo>
                          <a:pt x="7887" y="9470"/>
                        </a:lnTo>
                        <a:cubicBezTo>
                          <a:pt x="7887" y="9470"/>
                          <a:pt x="8813" y="7603"/>
                          <a:pt x="8873" y="6811"/>
                        </a:cubicBezTo>
                        <a:lnTo>
                          <a:pt x="8873" y="6811"/>
                        </a:lnTo>
                        <a:lnTo>
                          <a:pt x="8320" y="6826"/>
                        </a:lnTo>
                        <a:cubicBezTo>
                          <a:pt x="8320" y="6826"/>
                          <a:pt x="8678" y="4944"/>
                          <a:pt x="9052" y="3974"/>
                        </a:cubicBezTo>
                        <a:lnTo>
                          <a:pt x="9052" y="3974"/>
                        </a:lnTo>
                        <a:lnTo>
                          <a:pt x="8529" y="4033"/>
                        </a:lnTo>
                        <a:cubicBezTo>
                          <a:pt x="8529" y="4033"/>
                          <a:pt x="9276" y="658"/>
                          <a:pt x="954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33" name="Google Shape;833;p13"/>
                <p:cNvGrpSpPr/>
                <p:nvPr/>
              </p:nvGrpSpPr>
              <p:grpSpPr>
                <a:xfrm>
                  <a:off x="12117950" y="5719225"/>
                  <a:ext cx="604550" cy="543325"/>
                  <a:chOff x="12117950" y="5719225"/>
                  <a:chExt cx="604550" cy="543325"/>
                </a:xfrm>
              </p:grpSpPr>
              <p:sp>
                <p:nvSpPr>
                  <p:cNvPr id="834" name="Google Shape;834;p13"/>
                  <p:cNvSpPr/>
                  <p:nvPr/>
                </p:nvSpPr>
                <p:spPr>
                  <a:xfrm>
                    <a:off x="12263575" y="5772250"/>
                    <a:ext cx="258025" cy="490300"/>
                  </a:xfrm>
                  <a:custGeom>
                    <a:avLst/>
                    <a:gdLst/>
                    <a:ahLst/>
                    <a:cxnLst/>
                    <a:rect l="l" t="t" r="r" b="b"/>
                    <a:pathLst>
                      <a:path w="10321" h="19612" extrusionOk="0">
                        <a:moveTo>
                          <a:pt x="10276" y="1"/>
                        </a:moveTo>
                        <a:cubicBezTo>
                          <a:pt x="9410" y="1599"/>
                          <a:pt x="8558" y="3212"/>
                          <a:pt x="7677" y="4795"/>
                        </a:cubicBezTo>
                        <a:cubicBezTo>
                          <a:pt x="6453" y="7006"/>
                          <a:pt x="4287" y="10993"/>
                          <a:pt x="3062" y="13174"/>
                        </a:cubicBezTo>
                        <a:cubicBezTo>
                          <a:pt x="2091" y="14981"/>
                          <a:pt x="1016" y="16803"/>
                          <a:pt x="239" y="18715"/>
                        </a:cubicBezTo>
                        <a:cubicBezTo>
                          <a:pt x="150" y="18924"/>
                          <a:pt x="75" y="19178"/>
                          <a:pt x="0" y="19417"/>
                        </a:cubicBezTo>
                        <a:lnTo>
                          <a:pt x="1135" y="19611"/>
                        </a:lnTo>
                        <a:cubicBezTo>
                          <a:pt x="1195" y="18790"/>
                          <a:pt x="1494" y="17894"/>
                          <a:pt x="1778" y="17087"/>
                        </a:cubicBezTo>
                        <a:cubicBezTo>
                          <a:pt x="2644" y="14608"/>
                          <a:pt x="4063" y="12054"/>
                          <a:pt x="5258" y="9709"/>
                        </a:cubicBezTo>
                        <a:cubicBezTo>
                          <a:pt x="6736" y="6886"/>
                          <a:pt x="8827" y="2809"/>
                          <a:pt x="10321" y="30"/>
                        </a:cubicBezTo>
                        <a:cubicBezTo>
                          <a:pt x="10321" y="30"/>
                          <a:pt x="10276" y="16"/>
                          <a:pt x="1027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5" name="Google Shape;835;p13"/>
                  <p:cNvSpPr/>
                  <p:nvPr/>
                </p:nvSpPr>
                <p:spPr>
                  <a:xfrm>
                    <a:off x="12383800" y="6029900"/>
                    <a:ext cx="217725" cy="173650"/>
                  </a:xfrm>
                  <a:custGeom>
                    <a:avLst/>
                    <a:gdLst/>
                    <a:ahLst/>
                    <a:cxnLst/>
                    <a:rect l="l" t="t" r="r" b="b"/>
                    <a:pathLst>
                      <a:path w="8709" h="6946" fill="none" extrusionOk="0">
                        <a:moveTo>
                          <a:pt x="1" y="0"/>
                        </a:moveTo>
                        <a:cubicBezTo>
                          <a:pt x="1" y="0"/>
                          <a:pt x="5497" y="2928"/>
                          <a:pt x="8708" y="6946"/>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6" name="Google Shape;836;p13"/>
                  <p:cNvSpPr/>
                  <p:nvPr/>
                </p:nvSpPr>
                <p:spPr>
                  <a:xfrm>
                    <a:off x="12538025" y="6137800"/>
                    <a:ext cx="6000" cy="39975"/>
                  </a:xfrm>
                  <a:custGeom>
                    <a:avLst/>
                    <a:gdLst/>
                    <a:ahLst/>
                    <a:cxnLst/>
                    <a:rect l="l" t="t" r="r" b="b"/>
                    <a:pathLst>
                      <a:path w="240" h="1599" fill="none" extrusionOk="0">
                        <a:moveTo>
                          <a:pt x="0" y="1"/>
                        </a:moveTo>
                        <a:lnTo>
                          <a:pt x="239"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7" name="Google Shape;837;p13"/>
                  <p:cNvSpPr/>
                  <p:nvPr/>
                </p:nvSpPr>
                <p:spPr>
                  <a:xfrm>
                    <a:off x="12472300" y="6085525"/>
                    <a:ext cx="66100" cy="5625"/>
                  </a:xfrm>
                  <a:custGeom>
                    <a:avLst/>
                    <a:gdLst/>
                    <a:ahLst/>
                    <a:cxnLst/>
                    <a:rect l="l" t="t" r="r" b="b"/>
                    <a:pathLst>
                      <a:path w="2644" h="225" fill="none" extrusionOk="0">
                        <a:moveTo>
                          <a:pt x="0" y="1"/>
                        </a:moveTo>
                        <a:lnTo>
                          <a:pt x="2644" y="22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8" name="Google Shape;838;p13"/>
                  <p:cNvSpPr/>
                  <p:nvPr/>
                </p:nvSpPr>
                <p:spPr>
                  <a:xfrm>
                    <a:off x="12400600" y="5975375"/>
                    <a:ext cx="321900" cy="22800"/>
                  </a:xfrm>
                  <a:custGeom>
                    <a:avLst/>
                    <a:gdLst/>
                    <a:ahLst/>
                    <a:cxnLst/>
                    <a:rect l="l" t="t" r="r" b="b"/>
                    <a:pathLst>
                      <a:path w="12876" h="912" fill="none" extrusionOk="0">
                        <a:moveTo>
                          <a:pt x="1" y="912"/>
                        </a:moveTo>
                        <a:cubicBezTo>
                          <a:pt x="1" y="912"/>
                          <a:pt x="7484" y="1"/>
                          <a:pt x="12875" y="10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9" name="Google Shape;839;p13"/>
                  <p:cNvSpPr/>
                  <p:nvPr/>
                </p:nvSpPr>
                <p:spPr>
                  <a:xfrm>
                    <a:off x="12617175" y="5979500"/>
                    <a:ext cx="67975" cy="23525"/>
                  </a:xfrm>
                  <a:custGeom>
                    <a:avLst/>
                    <a:gdLst/>
                    <a:ahLst/>
                    <a:cxnLst/>
                    <a:rect l="l" t="t" r="r" b="b"/>
                    <a:pathLst>
                      <a:path w="2719" h="941" fill="none" extrusionOk="0">
                        <a:moveTo>
                          <a:pt x="0" y="0"/>
                        </a:moveTo>
                        <a:lnTo>
                          <a:pt x="2719" y="94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0" name="Google Shape;840;p13"/>
                  <p:cNvSpPr/>
                  <p:nvPr/>
                </p:nvSpPr>
                <p:spPr>
                  <a:xfrm>
                    <a:off x="12525700" y="5955600"/>
                    <a:ext cx="22800" cy="30250"/>
                  </a:xfrm>
                  <a:custGeom>
                    <a:avLst/>
                    <a:gdLst/>
                    <a:ahLst/>
                    <a:cxnLst/>
                    <a:rect l="l" t="t" r="r" b="b"/>
                    <a:pathLst>
                      <a:path w="912" h="1210" fill="none" extrusionOk="0">
                        <a:moveTo>
                          <a:pt x="0" y="1210"/>
                        </a:moveTo>
                        <a:lnTo>
                          <a:pt x="911"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1" name="Google Shape;841;p13"/>
                  <p:cNvSpPr/>
                  <p:nvPr/>
                </p:nvSpPr>
                <p:spPr>
                  <a:xfrm>
                    <a:off x="12117950" y="5945500"/>
                    <a:ext cx="265875" cy="84425"/>
                  </a:xfrm>
                  <a:custGeom>
                    <a:avLst/>
                    <a:gdLst/>
                    <a:ahLst/>
                    <a:cxnLst/>
                    <a:rect l="l" t="t" r="r" b="b"/>
                    <a:pathLst>
                      <a:path w="10635" h="3377" fill="none" extrusionOk="0">
                        <a:moveTo>
                          <a:pt x="10635" y="3376"/>
                        </a:moveTo>
                        <a:cubicBezTo>
                          <a:pt x="10635" y="3376"/>
                          <a:pt x="5138" y="434"/>
                          <a:pt x="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2" name="Google Shape;842;p13"/>
                  <p:cNvSpPr/>
                  <p:nvPr/>
                </p:nvSpPr>
                <p:spPr>
                  <a:xfrm>
                    <a:off x="12171350" y="5961575"/>
                    <a:ext cx="36975" cy="17575"/>
                  </a:xfrm>
                  <a:custGeom>
                    <a:avLst/>
                    <a:gdLst/>
                    <a:ahLst/>
                    <a:cxnLst/>
                    <a:rect l="l" t="t" r="r" b="b"/>
                    <a:pathLst>
                      <a:path w="1479" h="703" fill="none" extrusionOk="0">
                        <a:moveTo>
                          <a:pt x="1479" y="0"/>
                        </a:moveTo>
                        <a:lnTo>
                          <a:pt x="0" y="70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3" name="Google Shape;843;p13"/>
                  <p:cNvSpPr/>
                  <p:nvPr/>
                </p:nvSpPr>
                <p:spPr>
                  <a:xfrm>
                    <a:off x="12246775" y="5935050"/>
                    <a:ext cx="41475" cy="52300"/>
                  </a:xfrm>
                  <a:custGeom>
                    <a:avLst/>
                    <a:gdLst/>
                    <a:ahLst/>
                    <a:cxnLst/>
                    <a:rect l="l" t="t" r="r" b="b"/>
                    <a:pathLst>
                      <a:path w="1659" h="2092" fill="none" extrusionOk="0">
                        <a:moveTo>
                          <a:pt x="1658" y="209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13"/>
                  <p:cNvSpPr/>
                  <p:nvPr/>
                </p:nvSpPr>
                <p:spPr>
                  <a:xfrm>
                    <a:off x="12238550" y="5719225"/>
                    <a:ext cx="162075" cy="278950"/>
                  </a:xfrm>
                  <a:custGeom>
                    <a:avLst/>
                    <a:gdLst/>
                    <a:ahLst/>
                    <a:cxnLst/>
                    <a:rect l="l" t="t" r="r" b="b"/>
                    <a:pathLst>
                      <a:path w="6483" h="11158" fill="none" extrusionOk="0">
                        <a:moveTo>
                          <a:pt x="6483" y="11158"/>
                        </a:moveTo>
                        <a:cubicBezTo>
                          <a:pt x="6483" y="11158"/>
                          <a:pt x="3077" y="4452"/>
                          <a:pt x="1"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13"/>
                  <p:cNvSpPr/>
                  <p:nvPr/>
                </p:nvSpPr>
                <p:spPr>
                  <a:xfrm>
                    <a:off x="12238550" y="5764400"/>
                    <a:ext cx="57150" cy="43725"/>
                  </a:xfrm>
                  <a:custGeom>
                    <a:avLst/>
                    <a:gdLst/>
                    <a:ahLst/>
                    <a:cxnLst/>
                    <a:rect l="l" t="t" r="r" b="b"/>
                    <a:pathLst>
                      <a:path w="2286" h="1749" fill="none" extrusionOk="0">
                        <a:moveTo>
                          <a:pt x="2286" y="1748"/>
                        </a:moveTo>
                        <a:lnTo>
                          <a:pt x="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13"/>
                  <p:cNvSpPr/>
                  <p:nvPr/>
                </p:nvSpPr>
                <p:spPr>
                  <a:xfrm>
                    <a:off x="12341225" y="5851775"/>
                    <a:ext cx="12725" cy="35500"/>
                  </a:xfrm>
                  <a:custGeom>
                    <a:avLst/>
                    <a:gdLst/>
                    <a:ahLst/>
                    <a:cxnLst/>
                    <a:rect l="l" t="t" r="r" b="b"/>
                    <a:pathLst>
                      <a:path w="509" h="1420" fill="none" extrusionOk="0">
                        <a:moveTo>
                          <a:pt x="1" y="1420"/>
                        </a:moveTo>
                        <a:lnTo>
                          <a:pt x="509"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13"/>
                  <p:cNvSpPr/>
                  <p:nvPr/>
                </p:nvSpPr>
                <p:spPr>
                  <a:xfrm>
                    <a:off x="12474525" y="5840200"/>
                    <a:ext cx="56800" cy="19825"/>
                  </a:xfrm>
                  <a:custGeom>
                    <a:avLst/>
                    <a:gdLst/>
                    <a:ahLst/>
                    <a:cxnLst/>
                    <a:rect l="l" t="t" r="r" b="b"/>
                    <a:pathLst>
                      <a:path w="2272" h="793" fill="none" extrusionOk="0">
                        <a:moveTo>
                          <a:pt x="1" y="793"/>
                        </a:moveTo>
                        <a:lnTo>
                          <a:pt x="227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8" name="Google Shape;848;p13"/>
                  <p:cNvSpPr/>
                  <p:nvPr/>
                </p:nvSpPr>
                <p:spPr>
                  <a:xfrm>
                    <a:off x="12483875" y="5783075"/>
                    <a:ext cx="12725" cy="35125"/>
                  </a:xfrm>
                  <a:custGeom>
                    <a:avLst/>
                    <a:gdLst/>
                    <a:ahLst/>
                    <a:cxnLst/>
                    <a:rect l="l" t="t" r="r" b="b"/>
                    <a:pathLst>
                      <a:path w="509" h="1405" fill="none" extrusionOk="0">
                        <a:moveTo>
                          <a:pt x="0" y="1"/>
                        </a:moveTo>
                        <a:lnTo>
                          <a:pt x="508" y="140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849" name="Google Shape;849;p13"/>
              <p:cNvSpPr/>
              <p:nvPr/>
            </p:nvSpPr>
            <p:spPr>
              <a:xfrm rot="10800000">
                <a:off x="174437" y="2790321"/>
                <a:ext cx="215061" cy="165143"/>
              </a:xfrm>
              <a:custGeom>
                <a:avLst/>
                <a:gdLst/>
                <a:ahLst/>
                <a:cxnLst/>
                <a:rect l="l" t="t" r="r" b="b"/>
                <a:pathLst>
                  <a:path w="5661" h="4347" fill="none" extrusionOk="0">
                    <a:moveTo>
                      <a:pt x="5661" y="4347"/>
                    </a:moveTo>
                    <a:cubicBezTo>
                      <a:pt x="5661" y="4347"/>
                      <a:pt x="1150" y="762"/>
                      <a:pt x="702" y="1"/>
                    </a:cubicBezTo>
                    <a:moveTo>
                      <a:pt x="0" y="2181"/>
                    </a:moveTo>
                    <a:lnTo>
                      <a:pt x="3017" y="218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13"/>
              <p:cNvSpPr/>
              <p:nvPr/>
            </p:nvSpPr>
            <p:spPr>
              <a:xfrm rot="6214287" flipH="1">
                <a:off x="196465" y="2500207"/>
                <a:ext cx="170990" cy="109760"/>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1" name="Google Shape;851;p13"/>
              <p:cNvGrpSpPr/>
              <p:nvPr/>
            </p:nvGrpSpPr>
            <p:grpSpPr>
              <a:xfrm rot="790941" flipH="1">
                <a:off x="900662" y="4778735"/>
                <a:ext cx="1091806" cy="1061261"/>
                <a:chOff x="4719681" y="3910588"/>
                <a:chExt cx="1477670" cy="1436330"/>
              </a:xfrm>
            </p:grpSpPr>
            <p:sp>
              <p:nvSpPr>
                <p:cNvPr id="852" name="Google Shape;852;p13"/>
                <p:cNvSpPr/>
                <p:nvPr/>
              </p:nvSpPr>
              <p:spPr>
                <a:xfrm>
                  <a:off x="4918697" y="3910588"/>
                  <a:ext cx="1278654" cy="1245050"/>
                </a:xfrm>
                <a:custGeom>
                  <a:avLst/>
                  <a:gdLst/>
                  <a:ahLst/>
                  <a:cxnLst/>
                  <a:rect l="l" t="t" r="r" b="b"/>
                  <a:pathLst>
                    <a:path w="24466" h="23823" extrusionOk="0">
                      <a:moveTo>
                        <a:pt x="1" y="0"/>
                      </a:moveTo>
                      <a:lnTo>
                        <a:pt x="1" y="15"/>
                      </a:lnTo>
                      <a:cubicBezTo>
                        <a:pt x="1" y="15"/>
                        <a:pt x="22" y="37"/>
                        <a:pt x="62" y="77"/>
                      </a:cubicBezTo>
                      <a:lnTo>
                        <a:pt x="62" y="77"/>
                      </a:lnTo>
                      <a:lnTo>
                        <a:pt x="1" y="0"/>
                      </a:lnTo>
                      <a:close/>
                      <a:moveTo>
                        <a:pt x="62" y="77"/>
                      </a:moveTo>
                      <a:lnTo>
                        <a:pt x="18969" y="23823"/>
                      </a:lnTo>
                      <a:lnTo>
                        <a:pt x="22136" y="20417"/>
                      </a:lnTo>
                      <a:lnTo>
                        <a:pt x="21240" y="20776"/>
                      </a:lnTo>
                      <a:lnTo>
                        <a:pt x="21240" y="20776"/>
                      </a:lnTo>
                      <a:lnTo>
                        <a:pt x="24077" y="17953"/>
                      </a:lnTo>
                      <a:lnTo>
                        <a:pt x="23331" y="18058"/>
                      </a:lnTo>
                      <a:lnTo>
                        <a:pt x="23331" y="18058"/>
                      </a:lnTo>
                      <a:lnTo>
                        <a:pt x="24466" y="16400"/>
                      </a:lnTo>
                      <a:lnTo>
                        <a:pt x="24466" y="16400"/>
                      </a:lnTo>
                      <a:cubicBezTo>
                        <a:pt x="24383" y="16414"/>
                        <a:pt x="24307" y="16420"/>
                        <a:pt x="24235" y="16420"/>
                      </a:cubicBezTo>
                      <a:cubicBezTo>
                        <a:pt x="22322" y="16420"/>
                        <a:pt x="24182" y="11591"/>
                        <a:pt x="24182" y="11590"/>
                      </a:cubicBezTo>
                      <a:lnTo>
                        <a:pt x="24182" y="11590"/>
                      </a:lnTo>
                      <a:cubicBezTo>
                        <a:pt x="24104" y="11626"/>
                        <a:pt x="24033" y="11642"/>
                        <a:pt x="23968" y="11642"/>
                      </a:cubicBezTo>
                      <a:cubicBezTo>
                        <a:pt x="23026" y="11642"/>
                        <a:pt x="23510" y="8097"/>
                        <a:pt x="23510" y="8095"/>
                      </a:cubicBezTo>
                      <a:lnTo>
                        <a:pt x="23510" y="8095"/>
                      </a:lnTo>
                      <a:cubicBezTo>
                        <a:pt x="22919" y="10108"/>
                        <a:pt x="21833" y="10302"/>
                        <a:pt x="21435" y="10302"/>
                      </a:cubicBezTo>
                      <a:cubicBezTo>
                        <a:pt x="21340" y="10302"/>
                        <a:pt x="21284" y="10291"/>
                        <a:pt x="21284" y="10291"/>
                      </a:cubicBezTo>
                      <a:cubicBezTo>
                        <a:pt x="21284" y="10291"/>
                        <a:pt x="20344" y="11977"/>
                        <a:pt x="19409" y="11977"/>
                      </a:cubicBezTo>
                      <a:cubicBezTo>
                        <a:pt x="19183" y="11977"/>
                        <a:pt x="18957" y="11879"/>
                        <a:pt x="18745" y="11635"/>
                      </a:cubicBezTo>
                      <a:cubicBezTo>
                        <a:pt x="17640" y="10396"/>
                        <a:pt x="20448" y="8663"/>
                        <a:pt x="20448" y="8663"/>
                      </a:cubicBezTo>
                      <a:lnTo>
                        <a:pt x="20448" y="8663"/>
                      </a:lnTo>
                      <a:cubicBezTo>
                        <a:pt x="20433" y="8664"/>
                        <a:pt x="20418" y="8664"/>
                        <a:pt x="20404" y="8664"/>
                      </a:cubicBezTo>
                      <a:cubicBezTo>
                        <a:pt x="19350" y="8664"/>
                        <a:pt x="21284" y="5960"/>
                        <a:pt x="21284" y="5960"/>
                      </a:cubicBezTo>
                      <a:lnTo>
                        <a:pt x="21284" y="5960"/>
                      </a:lnTo>
                      <a:cubicBezTo>
                        <a:pt x="21199" y="5985"/>
                        <a:pt x="21125" y="5996"/>
                        <a:pt x="21060" y="5996"/>
                      </a:cubicBezTo>
                      <a:cubicBezTo>
                        <a:pt x="20045" y="5996"/>
                        <a:pt x="21404" y="3107"/>
                        <a:pt x="21404" y="3107"/>
                      </a:cubicBezTo>
                      <a:lnTo>
                        <a:pt x="21404" y="3107"/>
                      </a:lnTo>
                      <a:cubicBezTo>
                        <a:pt x="21404" y="3107"/>
                        <a:pt x="21162" y="3309"/>
                        <a:pt x="20897" y="3309"/>
                      </a:cubicBezTo>
                      <a:cubicBezTo>
                        <a:pt x="20801" y="3309"/>
                        <a:pt x="20703" y="3283"/>
                        <a:pt x="20612" y="3211"/>
                      </a:cubicBezTo>
                      <a:cubicBezTo>
                        <a:pt x="20299" y="2928"/>
                        <a:pt x="20791" y="867"/>
                        <a:pt x="20792" y="866"/>
                      </a:cubicBezTo>
                      <a:lnTo>
                        <a:pt x="20792" y="866"/>
                      </a:lnTo>
                      <a:cubicBezTo>
                        <a:pt x="20791" y="867"/>
                        <a:pt x="19940" y="2181"/>
                        <a:pt x="18969" y="2569"/>
                      </a:cubicBezTo>
                      <a:cubicBezTo>
                        <a:pt x="18858" y="2615"/>
                        <a:pt x="18769" y="2636"/>
                        <a:pt x="18700" y="2636"/>
                      </a:cubicBezTo>
                      <a:cubicBezTo>
                        <a:pt x="18164" y="2636"/>
                        <a:pt x="18760" y="1419"/>
                        <a:pt x="18760" y="1419"/>
                      </a:cubicBezTo>
                      <a:lnTo>
                        <a:pt x="18760" y="1419"/>
                      </a:lnTo>
                      <a:cubicBezTo>
                        <a:pt x="18760" y="1419"/>
                        <a:pt x="18118" y="2121"/>
                        <a:pt x="17789" y="2300"/>
                      </a:cubicBezTo>
                      <a:cubicBezTo>
                        <a:pt x="17746" y="2324"/>
                        <a:pt x="17708" y="2335"/>
                        <a:pt x="17675" y="2335"/>
                      </a:cubicBezTo>
                      <a:cubicBezTo>
                        <a:pt x="17465" y="2335"/>
                        <a:pt x="17476" y="1897"/>
                        <a:pt x="17476" y="1897"/>
                      </a:cubicBezTo>
                      <a:lnTo>
                        <a:pt x="17476" y="1897"/>
                      </a:lnTo>
                      <a:cubicBezTo>
                        <a:pt x="17476" y="1897"/>
                        <a:pt x="16744" y="3495"/>
                        <a:pt x="16117" y="4033"/>
                      </a:cubicBezTo>
                      <a:cubicBezTo>
                        <a:pt x="15967" y="4157"/>
                        <a:pt x="15841" y="4205"/>
                        <a:pt x="15735" y="4205"/>
                      </a:cubicBezTo>
                      <a:cubicBezTo>
                        <a:pt x="15395" y="4205"/>
                        <a:pt x="15265" y="3719"/>
                        <a:pt x="15265" y="3719"/>
                      </a:cubicBezTo>
                      <a:cubicBezTo>
                        <a:pt x="15265" y="3719"/>
                        <a:pt x="14892" y="7319"/>
                        <a:pt x="14638" y="7408"/>
                      </a:cubicBezTo>
                      <a:cubicBezTo>
                        <a:pt x="14630" y="7411"/>
                        <a:pt x="14621" y="7412"/>
                        <a:pt x="14613" y="7412"/>
                      </a:cubicBezTo>
                      <a:cubicBezTo>
                        <a:pt x="14367" y="7412"/>
                        <a:pt x="14115" y="6393"/>
                        <a:pt x="14115" y="6393"/>
                      </a:cubicBezTo>
                      <a:lnTo>
                        <a:pt x="14115" y="6393"/>
                      </a:lnTo>
                      <a:cubicBezTo>
                        <a:pt x="14115" y="6394"/>
                        <a:pt x="14305" y="9930"/>
                        <a:pt x="12993" y="9930"/>
                      </a:cubicBezTo>
                      <a:cubicBezTo>
                        <a:pt x="12928" y="9930"/>
                        <a:pt x="12859" y="9921"/>
                        <a:pt x="12786" y="9903"/>
                      </a:cubicBezTo>
                      <a:cubicBezTo>
                        <a:pt x="11233" y="9514"/>
                        <a:pt x="12890" y="6572"/>
                        <a:pt x="12890" y="6572"/>
                      </a:cubicBezTo>
                      <a:lnTo>
                        <a:pt x="12890" y="6572"/>
                      </a:lnTo>
                      <a:cubicBezTo>
                        <a:pt x="12762" y="6617"/>
                        <a:pt x="12660" y="6637"/>
                        <a:pt x="12582" y="6637"/>
                      </a:cubicBezTo>
                      <a:cubicBezTo>
                        <a:pt x="11771" y="6637"/>
                        <a:pt x="13473" y="4451"/>
                        <a:pt x="13473" y="4451"/>
                      </a:cubicBezTo>
                      <a:lnTo>
                        <a:pt x="13473" y="4451"/>
                      </a:lnTo>
                      <a:cubicBezTo>
                        <a:pt x="13222" y="4601"/>
                        <a:pt x="13020" y="4663"/>
                        <a:pt x="12858" y="4663"/>
                      </a:cubicBezTo>
                      <a:cubicBezTo>
                        <a:pt x="12031" y="4663"/>
                        <a:pt x="12218" y="3047"/>
                        <a:pt x="12218" y="3047"/>
                      </a:cubicBezTo>
                      <a:lnTo>
                        <a:pt x="12218" y="3047"/>
                      </a:lnTo>
                      <a:cubicBezTo>
                        <a:pt x="12128" y="3072"/>
                        <a:pt x="12044" y="3083"/>
                        <a:pt x="11965" y="3083"/>
                      </a:cubicBezTo>
                      <a:cubicBezTo>
                        <a:pt x="10858" y="3083"/>
                        <a:pt x="10949" y="778"/>
                        <a:pt x="10949" y="777"/>
                      </a:cubicBezTo>
                      <a:lnTo>
                        <a:pt x="10949" y="777"/>
                      </a:lnTo>
                      <a:cubicBezTo>
                        <a:pt x="10949" y="777"/>
                        <a:pt x="10769" y="1569"/>
                        <a:pt x="10172" y="2494"/>
                      </a:cubicBezTo>
                      <a:cubicBezTo>
                        <a:pt x="9918" y="2872"/>
                        <a:pt x="9672" y="2983"/>
                        <a:pt x="9470" y="2983"/>
                      </a:cubicBezTo>
                      <a:cubicBezTo>
                        <a:pt x="9187" y="2983"/>
                        <a:pt x="8992" y="2763"/>
                        <a:pt x="8992" y="2763"/>
                      </a:cubicBezTo>
                      <a:lnTo>
                        <a:pt x="8992" y="2763"/>
                      </a:lnTo>
                      <a:cubicBezTo>
                        <a:pt x="8992" y="2764"/>
                        <a:pt x="9291" y="3376"/>
                        <a:pt x="9127" y="4272"/>
                      </a:cubicBezTo>
                      <a:cubicBezTo>
                        <a:pt x="9056" y="4630"/>
                        <a:pt x="8861" y="4739"/>
                        <a:pt x="8650" y="4739"/>
                      </a:cubicBezTo>
                      <a:cubicBezTo>
                        <a:pt x="8324" y="4739"/>
                        <a:pt x="7962" y="4481"/>
                        <a:pt x="7962" y="4481"/>
                      </a:cubicBezTo>
                      <a:lnTo>
                        <a:pt x="7962" y="4481"/>
                      </a:lnTo>
                      <a:cubicBezTo>
                        <a:pt x="7962" y="4481"/>
                        <a:pt x="9664" y="7408"/>
                        <a:pt x="7992" y="7588"/>
                      </a:cubicBezTo>
                      <a:cubicBezTo>
                        <a:pt x="7959" y="7591"/>
                        <a:pt x="7928" y="7593"/>
                        <a:pt x="7898" y="7593"/>
                      </a:cubicBezTo>
                      <a:cubicBezTo>
                        <a:pt x="6356" y="7593"/>
                        <a:pt x="7304" y="3183"/>
                        <a:pt x="7304" y="3181"/>
                      </a:cubicBezTo>
                      <a:lnTo>
                        <a:pt x="7304" y="3181"/>
                      </a:lnTo>
                      <a:cubicBezTo>
                        <a:pt x="7304" y="3182"/>
                        <a:pt x="6973" y="3977"/>
                        <a:pt x="6438" y="3977"/>
                      </a:cubicBezTo>
                      <a:cubicBezTo>
                        <a:pt x="6302" y="3977"/>
                        <a:pt x="6151" y="3925"/>
                        <a:pt x="5990" y="3794"/>
                      </a:cubicBezTo>
                      <a:cubicBezTo>
                        <a:pt x="5214" y="3167"/>
                        <a:pt x="5437" y="1674"/>
                        <a:pt x="5438" y="1673"/>
                      </a:cubicBezTo>
                      <a:lnTo>
                        <a:pt x="5438" y="1673"/>
                      </a:lnTo>
                      <a:cubicBezTo>
                        <a:pt x="5255" y="2325"/>
                        <a:pt x="5004" y="2560"/>
                        <a:pt x="4737" y="2560"/>
                      </a:cubicBezTo>
                      <a:cubicBezTo>
                        <a:pt x="4044" y="2560"/>
                        <a:pt x="3242" y="971"/>
                        <a:pt x="3242" y="971"/>
                      </a:cubicBezTo>
                      <a:cubicBezTo>
                        <a:pt x="3066" y="1370"/>
                        <a:pt x="2786" y="1522"/>
                        <a:pt x="2464" y="1522"/>
                      </a:cubicBezTo>
                      <a:cubicBezTo>
                        <a:pt x="1571" y="1522"/>
                        <a:pt x="346" y="359"/>
                        <a:pt x="62" y="77"/>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3" name="Google Shape;853;p13"/>
                <p:cNvGrpSpPr/>
                <p:nvPr/>
              </p:nvGrpSpPr>
              <p:grpSpPr>
                <a:xfrm>
                  <a:off x="4719681" y="3910588"/>
                  <a:ext cx="1387935" cy="1436330"/>
                  <a:chOff x="4719681" y="3910588"/>
                  <a:chExt cx="1387935" cy="1436330"/>
                </a:xfrm>
              </p:grpSpPr>
              <p:sp>
                <p:nvSpPr>
                  <p:cNvPr id="854" name="Google Shape;854;p13"/>
                  <p:cNvSpPr/>
                  <p:nvPr/>
                </p:nvSpPr>
                <p:spPr>
                  <a:xfrm>
                    <a:off x="4719681" y="3910588"/>
                    <a:ext cx="1189651" cy="1436330"/>
                  </a:xfrm>
                  <a:custGeom>
                    <a:avLst/>
                    <a:gdLst/>
                    <a:ahLst/>
                    <a:cxnLst/>
                    <a:rect l="l" t="t" r="r" b="b"/>
                    <a:pathLst>
                      <a:path w="22763" h="27483" extrusionOk="0">
                        <a:moveTo>
                          <a:pt x="3809" y="0"/>
                        </a:moveTo>
                        <a:lnTo>
                          <a:pt x="3809" y="15"/>
                        </a:lnTo>
                        <a:cubicBezTo>
                          <a:pt x="3809" y="15"/>
                          <a:pt x="5795" y="3047"/>
                          <a:pt x="4033" y="3376"/>
                        </a:cubicBezTo>
                        <a:cubicBezTo>
                          <a:pt x="4033" y="3376"/>
                          <a:pt x="6647" y="5571"/>
                          <a:pt x="4212" y="5676"/>
                        </a:cubicBezTo>
                        <a:cubicBezTo>
                          <a:pt x="4212" y="5676"/>
                          <a:pt x="5721" y="5795"/>
                          <a:pt x="6169" y="6706"/>
                        </a:cubicBezTo>
                        <a:cubicBezTo>
                          <a:pt x="6617" y="7602"/>
                          <a:pt x="5258" y="7856"/>
                          <a:pt x="5258" y="7856"/>
                        </a:cubicBezTo>
                        <a:cubicBezTo>
                          <a:pt x="5258" y="7856"/>
                          <a:pt x="9947" y="7916"/>
                          <a:pt x="9410" y="9499"/>
                        </a:cubicBezTo>
                        <a:cubicBezTo>
                          <a:pt x="9269" y="9907"/>
                          <a:pt x="9003" y="10059"/>
                          <a:pt x="8685" y="10059"/>
                        </a:cubicBezTo>
                        <a:cubicBezTo>
                          <a:pt x="7759" y="10059"/>
                          <a:pt x="6393" y="8768"/>
                          <a:pt x="6393" y="8767"/>
                        </a:cubicBezTo>
                        <a:lnTo>
                          <a:pt x="6393" y="8767"/>
                        </a:lnTo>
                        <a:cubicBezTo>
                          <a:pt x="6393" y="8768"/>
                          <a:pt x="6824" y="9859"/>
                          <a:pt x="5981" y="9859"/>
                        </a:cubicBezTo>
                        <a:cubicBezTo>
                          <a:pt x="5965" y="9859"/>
                          <a:pt x="5947" y="9859"/>
                          <a:pt x="5930" y="9858"/>
                        </a:cubicBezTo>
                        <a:cubicBezTo>
                          <a:pt x="5019" y="9813"/>
                          <a:pt x="4496" y="9395"/>
                          <a:pt x="4496" y="9395"/>
                        </a:cubicBezTo>
                        <a:lnTo>
                          <a:pt x="4496" y="9395"/>
                        </a:lnTo>
                        <a:cubicBezTo>
                          <a:pt x="4496" y="9395"/>
                          <a:pt x="5004" y="10082"/>
                          <a:pt x="3973" y="10470"/>
                        </a:cubicBezTo>
                        <a:cubicBezTo>
                          <a:pt x="2943" y="10858"/>
                          <a:pt x="2121" y="10858"/>
                          <a:pt x="2121" y="10858"/>
                        </a:cubicBezTo>
                        <a:cubicBezTo>
                          <a:pt x="2121" y="10858"/>
                          <a:pt x="4720" y="11366"/>
                          <a:pt x="4048" y="12606"/>
                        </a:cubicBezTo>
                        <a:cubicBezTo>
                          <a:pt x="4048" y="12606"/>
                          <a:pt x="6393" y="12845"/>
                          <a:pt x="5153" y="14144"/>
                        </a:cubicBezTo>
                        <a:cubicBezTo>
                          <a:pt x="5153" y="14144"/>
                          <a:pt x="6546" y="13493"/>
                          <a:pt x="7175" y="13493"/>
                        </a:cubicBezTo>
                        <a:cubicBezTo>
                          <a:pt x="7469" y="13493"/>
                          <a:pt x="7596" y="13636"/>
                          <a:pt x="7334" y="14055"/>
                        </a:cubicBezTo>
                        <a:cubicBezTo>
                          <a:pt x="7334" y="14055"/>
                          <a:pt x="8304" y="13769"/>
                          <a:pt x="9187" y="13769"/>
                        </a:cubicBezTo>
                        <a:cubicBezTo>
                          <a:pt x="9919" y="13769"/>
                          <a:pt x="10591" y="13965"/>
                          <a:pt x="10605" y="14682"/>
                        </a:cubicBezTo>
                        <a:cubicBezTo>
                          <a:pt x="10611" y="15358"/>
                          <a:pt x="9947" y="15553"/>
                          <a:pt x="9178" y="15553"/>
                        </a:cubicBezTo>
                        <a:cubicBezTo>
                          <a:pt x="8129" y="15553"/>
                          <a:pt x="6886" y="15190"/>
                          <a:pt x="6886" y="15190"/>
                        </a:cubicBezTo>
                        <a:lnTo>
                          <a:pt x="6886" y="15190"/>
                        </a:lnTo>
                        <a:cubicBezTo>
                          <a:pt x="6886" y="15190"/>
                          <a:pt x="7901" y="15683"/>
                          <a:pt x="7737" y="15922"/>
                        </a:cubicBezTo>
                        <a:cubicBezTo>
                          <a:pt x="7709" y="15971"/>
                          <a:pt x="7536" y="15990"/>
                          <a:pt x="7278" y="15990"/>
                        </a:cubicBezTo>
                        <a:cubicBezTo>
                          <a:pt x="6277" y="15990"/>
                          <a:pt x="4003" y="15698"/>
                          <a:pt x="4003" y="15698"/>
                        </a:cubicBezTo>
                        <a:lnTo>
                          <a:pt x="4003" y="15698"/>
                        </a:lnTo>
                        <a:cubicBezTo>
                          <a:pt x="4003" y="15698"/>
                          <a:pt x="4780" y="16116"/>
                          <a:pt x="4123" y="16594"/>
                        </a:cubicBezTo>
                        <a:cubicBezTo>
                          <a:pt x="3465" y="17087"/>
                          <a:pt x="1748" y="17445"/>
                          <a:pt x="1748" y="17445"/>
                        </a:cubicBezTo>
                        <a:cubicBezTo>
                          <a:pt x="1748" y="17445"/>
                          <a:pt x="2315" y="17550"/>
                          <a:pt x="2061" y="17848"/>
                        </a:cubicBezTo>
                        <a:cubicBezTo>
                          <a:pt x="1822" y="18132"/>
                          <a:pt x="986" y="18595"/>
                          <a:pt x="986" y="18595"/>
                        </a:cubicBezTo>
                        <a:cubicBezTo>
                          <a:pt x="986" y="18595"/>
                          <a:pt x="1370" y="18507"/>
                          <a:pt x="1705" y="18507"/>
                        </a:cubicBezTo>
                        <a:cubicBezTo>
                          <a:pt x="2073" y="18507"/>
                          <a:pt x="2382" y="18613"/>
                          <a:pt x="2061" y="19058"/>
                        </a:cubicBezTo>
                        <a:cubicBezTo>
                          <a:pt x="1464" y="19910"/>
                          <a:pt x="0" y="20432"/>
                          <a:pt x="0" y="20432"/>
                        </a:cubicBezTo>
                        <a:cubicBezTo>
                          <a:pt x="0" y="20432"/>
                          <a:pt x="11" y="20432"/>
                          <a:pt x="31" y="20432"/>
                        </a:cubicBezTo>
                        <a:cubicBezTo>
                          <a:pt x="293" y="20432"/>
                          <a:pt x="2135" y="20445"/>
                          <a:pt x="2315" y="20806"/>
                        </a:cubicBezTo>
                        <a:cubicBezTo>
                          <a:pt x="2509" y="21194"/>
                          <a:pt x="2032" y="21553"/>
                          <a:pt x="2032" y="21553"/>
                        </a:cubicBezTo>
                        <a:cubicBezTo>
                          <a:pt x="2032" y="21553"/>
                          <a:pt x="3088" y="21320"/>
                          <a:pt x="3926" y="21320"/>
                        </a:cubicBezTo>
                        <a:cubicBezTo>
                          <a:pt x="4619" y="21320"/>
                          <a:pt x="5164" y="21479"/>
                          <a:pt x="4839" y="22060"/>
                        </a:cubicBezTo>
                        <a:cubicBezTo>
                          <a:pt x="4839" y="22060"/>
                          <a:pt x="6406" y="21404"/>
                          <a:pt x="7215" y="21404"/>
                        </a:cubicBezTo>
                        <a:cubicBezTo>
                          <a:pt x="7550" y="21404"/>
                          <a:pt x="7754" y="21517"/>
                          <a:pt x="7662" y="21836"/>
                        </a:cubicBezTo>
                        <a:cubicBezTo>
                          <a:pt x="7662" y="21836"/>
                          <a:pt x="9061" y="20420"/>
                          <a:pt x="10140" y="20420"/>
                        </a:cubicBezTo>
                        <a:cubicBezTo>
                          <a:pt x="10449" y="20420"/>
                          <a:pt x="10732" y="20536"/>
                          <a:pt x="10948" y="20836"/>
                        </a:cubicBezTo>
                        <a:cubicBezTo>
                          <a:pt x="11934" y="22180"/>
                          <a:pt x="9066" y="23001"/>
                          <a:pt x="9066" y="23001"/>
                        </a:cubicBezTo>
                        <a:cubicBezTo>
                          <a:pt x="9066" y="23001"/>
                          <a:pt x="9036" y="24525"/>
                          <a:pt x="6438" y="24704"/>
                        </a:cubicBezTo>
                        <a:cubicBezTo>
                          <a:pt x="6438" y="24704"/>
                          <a:pt x="10515" y="25062"/>
                          <a:pt x="9679" y="26138"/>
                        </a:cubicBezTo>
                        <a:cubicBezTo>
                          <a:pt x="9679" y="26138"/>
                          <a:pt x="10691" y="25990"/>
                          <a:pt x="11778" y="25990"/>
                        </a:cubicBezTo>
                        <a:cubicBezTo>
                          <a:pt x="13228" y="25990"/>
                          <a:pt x="14812" y="26253"/>
                          <a:pt x="14309" y="27482"/>
                        </a:cubicBezTo>
                        <a:lnTo>
                          <a:pt x="16176" y="26750"/>
                        </a:lnTo>
                        <a:lnTo>
                          <a:pt x="15907" y="27452"/>
                        </a:lnTo>
                        <a:lnTo>
                          <a:pt x="19297" y="25301"/>
                        </a:lnTo>
                        <a:lnTo>
                          <a:pt x="18745" y="26093"/>
                        </a:lnTo>
                        <a:lnTo>
                          <a:pt x="22762" y="23778"/>
                        </a:lnTo>
                        <a:lnTo>
                          <a:pt x="380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5" name="Google Shape;855;p13"/>
                  <p:cNvSpPr/>
                  <p:nvPr/>
                </p:nvSpPr>
                <p:spPr>
                  <a:xfrm>
                    <a:off x="5010835" y="4029223"/>
                    <a:ext cx="976525" cy="1220904"/>
                  </a:xfrm>
                  <a:custGeom>
                    <a:avLst/>
                    <a:gdLst/>
                    <a:ahLst/>
                    <a:cxnLst/>
                    <a:rect l="l" t="t" r="r" b="b"/>
                    <a:pathLst>
                      <a:path w="18685" h="23361" extrusionOk="0">
                        <a:moveTo>
                          <a:pt x="180" y="0"/>
                        </a:moveTo>
                        <a:lnTo>
                          <a:pt x="0" y="135"/>
                        </a:lnTo>
                        <a:lnTo>
                          <a:pt x="18297" y="23360"/>
                        </a:lnTo>
                        <a:lnTo>
                          <a:pt x="18685" y="23031"/>
                        </a:lnTo>
                        <a:lnTo>
                          <a:pt x="18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56" name="Google Shape;856;p13"/>
                  <p:cNvGrpSpPr/>
                  <p:nvPr/>
                </p:nvGrpSpPr>
                <p:grpSpPr>
                  <a:xfrm>
                    <a:off x="4959305" y="4124446"/>
                    <a:ext cx="1148312" cy="1094429"/>
                    <a:chOff x="11860675" y="4981025"/>
                    <a:chExt cx="549300" cy="523525"/>
                  </a:xfrm>
                </p:grpSpPr>
                <p:sp>
                  <p:nvSpPr>
                    <p:cNvPr id="857" name="Google Shape;857;p13"/>
                    <p:cNvSpPr/>
                    <p:nvPr/>
                  </p:nvSpPr>
                  <p:spPr>
                    <a:xfrm>
                      <a:off x="12020875" y="5415275"/>
                      <a:ext cx="258025" cy="83300"/>
                    </a:xfrm>
                    <a:custGeom>
                      <a:avLst/>
                      <a:gdLst/>
                      <a:ahLst/>
                      <a:cxnLst/>
                      <a:rect l="l" t="t" r="r" b="b"/>
                      <a:pathLst>
                        <a:path w="10321" h="3332" fill="none" extrusionOk="0">
                          <a:moveTo>
                            <a:pt x="10321" y="509"/>
                          </a:moveTo>
                          <a:cubicBezTo>
                            <a:pt x="10321" y="509"/>
                            <a:pt x="3988" y="1"/>
                            <a:pt x="0" y="333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8" name="Google Shape;858;p13"/>
                    <p:cNvSpPr/>
                    <p:nvPr/>
                  </p:nvSpPr>
                  <p:spPr>
                    <a:xfrm>
                      <a:off x="12023100" y="5439550"/>
                      <a:ext cx="123625" cy="9375"/>
                    </a:xfrm>
                    <a:custGeom>
                      <a:avLst/>
                      <a:gdLst/>
                      <a:ahLst/>
                      <a:cxnLst/>
                      <a:rect l="l" t="t" r="r" b="b"/>
                      <a:pathLst>
                        <a:path w="4945" h="375" fill="none" extrusionOk="0">
                          <a:moveTo>
                            <a:pt x="1" y="374"/>
                          </a:moveTo>
                          <a:lnTo>
                            <a:pt x="4944"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859;p13"/>
                    <p:cNvSpPr/>
                    <p:nvPr/>
                  </p:nvSpPr>
                  <p:spPr>
                    <a:xfrm>
                      <a:off x="12052975" y="5451500"/>
                      <a:ext cx="53050" cy="53050"/>
                    </a:xfrm>
                    <a:custGeom>
                      <a:avLst/>
                      <a:gdLst/>
                      <a:ahLst/>
                      <a:cxnLst/>
                      <a:rect l="l" t="t" r="r" b="b"/>
                      <a:pathLst>
                        <a:path w="2122" h="2122" fill="none" extrusionOk="0">
                          <a:moveTo>
                            <a:pt x="2121" y="1"/>
                          </a:moveTo>
                          <a:cubicBezTo>
                            <a:pt x="2121" y="1"/>
                            <a:pt x="314" y="1479"/>
                            <a:pt x="0" y="212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0" name="Google Shape;860;p13"/>
                    <p:cNvSpPr/>
                    <p:nvPr/>
                  </p:nvSpPr>
                  <p:spPr>
                    <a:xfrm>
                      <a:off x="12066800" y="5366375"/>
                      <a:ext cx="166550" cy="4500"/>
                    </a:xfrm>
                    <a:custGeom>
                      <a:avLst/>
                      <a:gdLst/>
                      <a:ahLst/>
                      <a:cxnLst/>
                      <a:rect l="l" t="t" r="r" b="b"/>
                      <a:pathLst>
                        <a:path w="6662" h="180" fill="none" extrusionOk="0">
                          <a:moveTo>
                            <a:pt x="0" y="0"/>
                          </a:moveTo>
                          <a:lnTo>
                            <a:pt x="6661" y="18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1" name="Google Shape;861;p13"/>
                    <p:cNvSpPr/>
                    <p:nvPr/>
                  </p:nvSpPr>
                  <p:spPr>
                    <a:xfrm>
                      <a:off x="11860675" y="5278625"/>
                      <a:ext cx="342425" cy="83300"/>
                    </a:xfrm>
                    <a:custGeom>
                      <a:avLst/>
                      <a:gdLst/>
                      <a:ahLst/>
                      <a:cxnLst/>
                      <a:rect l="l" t="t" r="r" b="b"/>
                      <a:pathLst>
                        <a:path w="13697" h="3332" fill="none" extrusionOk="0">
                          <a:moveTo>
                            <a:pt x="13697" y="2181"/>
                          </a:moveTo>
                          <a:cubicBezTo>
                            <a:pt x="13697" y="2181"/>
                            <a:pt x="6348" y="0"/>
                            <a:pt x="1" y="333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2" name="Google Shape;862;p13"/>
                    <p:cNvSpPr/>
                    <p:nvPr/>
                  </p:nvSpPr>
                  <p:spPr>
                    <a:xfrm>
                      <a:off x="11868525" y="5317450"/>
                      <a:ext cx="87400" cy="14600"/>
                    </a:xfrm>
                    <a:custGeom>
                      <a:avLst/>
                      <a:gdLst/>
                      <a:ahLst/>
                      <a:cxnLst/>
                      <a:rect l="l" t="t" r="r" b="b"/>
                      <a:pathLst>
                        <a:path w="3496" h="584" fill="none" extrusionOk="0">
                          <a:moveTo>
                            <a:pt x="0" y="1"/>
                          </a:moveTo>
                          <a:cubicBezTo>
                            <a:pt x="0" y="1"/>
                            <a:pt x="2494" y="583"/>
                            <a:pt x="3495" y="389"/>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3" name="Google Shape;863;p13"/>
                    <p:cNvSpPr/>
                    <p:nvPr/>
                  </p:nvSpPr>
                  <p:spPr>
                    <a:xfrm>
                      <a:off x="11953275" y="5315600"/>
                      <a:ext cx="107200" cy="58275"/>
                    </a:xfrm>
                    <a:custGeom>
                      <a:avLst/>
                      <a:gdLst/>
                      <a:ahLst/>
                      <a:cxnLst/>
                      <a:rect l="l" t="t" r="r" b="b"/>
                      <a:pathLst>
                        <a:path w="4288" h="2331" fill="none" extrusionOk="0">
                          <a:moveTo>
                            <a:pt x="1" y="2330"/>
                          </a:moveTo>
                          <a:cubicBezTo>
                            <a:pt x="1" y="2330"/>
                            <a:pt x="2346" y="553"/>
                            <a:pt x="4287"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4" name="Google Shape;864;p13"/>
                    <p:cNvSpPr/>
                    <p:nvPr/>
                  </p:nvSpPr>
                  <p:spPr>
                    <a:xfrm>
                      <a:off x="12062300" y="5245775"/>
                      <a:ext cx="84800" cy="17200"/>
                    </a:xfrm>
                    <a:custGeom>
                      <a:avLst/>
                      <a:gdLst/>
                      <a:ahLst/>
                      <a:cxnLst/>
                      <a:rect l="l" t="t" r="r" b="b"/>
                      <a:pathLst>
                        <a:path w="3392" h="688" fill="none" extrusionOk="0">
                          <a:moveTo>
                            <a:pt x="1" y="0"/>
                          </a:moveTo>
                          <a:lnTo>
                            <a:pt x="3391" y="68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5" name="Google Shape;865;p13"/>
                    <p:cNvSpPr/>
                    <p:nvPr/>
                  </p:nvSpPr>
                  <p:spPr>
                    <a:xfrm>
                      <a:off x="12057825" y="5253600"/>
                      <a:ext cx="42975" cy="20200"/>
                    </a:xfrm>
                    <a:custGeom>
                      <a:avLst/>
                      <a:gdLst/>
                      <a:ahLst/>
                      <a:cxnLst/>
                      <a:rect l="l" t="t" r="r" b="b"/>
                      <a:pathLst>
                        <a:path w="1719" h="808" fill="none" extrusionOk="0">
                          <a:moveTo>
                            <a:pt x="1" y="807"/>
                          </a:moveTo>
                          <a:lnTo>
                            <a:pt x="1718"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6" name="Google Shape;866;p13"/>
                    <p:cNvSpPr/>
                    <p:nvPr/>
                  </p:nvSpPr>
                  <p:spPr>
                    <a:xfrm>
                      <a:off x="11897650" y="5153900"/>
                      <a:ext cx="191200" cy="35875"/>
                    </a:xfrm>
                    <a:custGeom>
                      <a:avLst/>
                      <a:gdLst/>
                      <a:ahLst/>
                      <a:cxnLst/>
                      <a:rect l="l" t="t" r="r" b="b"/>
                      <a:pathLst>
                        <a:path w="7648" h="1435" fill="none" extrusionOk="0">
                          <a:moveTo>
                            <a:pt x="0" y="1"/>
                          </a:moveTo>
                          <a:lnTo>
                            <a:pt x="7647" y="14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7" name="Google Shape;867;p13"/>
                    <p:cNvSpPr/>
                    <p:nvPr/>
                  </p:nvSpPr>
                  <p:spPr>
                    <a:xfrm>
                      <a:off x="11938725" y="5170700"/>
                      <a:ext cx="49300" cy="17225"/>
                    </a:xfrm>
                    <a:custGeom>
                      <a:avLst/>
                      <a:gdLst/>
                      <a:ahLst/>
                      <a:cxnLst/>
                      <a:rect l="l" t="t" r="r" b="b"/>
                      <a:pathLst>
                        <a:path w="1972" h="689" fill="none" extrusionOk="0">
                          <a:moveTo>
                            <a:pt x="0" y="688"/>
                          </a:moveTo>
                          <a:lnTo>
                            <a:pt x="1972"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 name="Google Shape;868;p13"/>
                    <p:cNvSpPr/>
                    <p:nvPr/>
                  </p:nvSpPr>
                  <p:spPr>
                    <a:xfrm>
                      <a:off x="11896900" y="5001575"/>
                      <a:ext cx="72075" cy="38100"/>
                    </a:xfrm>
                    <a:custGeom>
                      <a:avLst/>
                      <a:gdLst/>
                      <a:ahLst/>
                      <a:cxnLst/>
                      <a:rect l="l" t="t" r="r" b="b"/>
                      <a:pathLst>
                        <a:path w="2883" h="1524" fill="none" extrusionOk="0">
                          <a:moveTo>
                            <a:pt x="0" y="0"/>
                          </a:moveTo>
                          <a:lnTo>
                            <a:pt x="2883" y="1523"/>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9" name="Google Shape;869;p13"/>
                    <p:cNvSpPr/>
                    <p:nvPr/>
                  </p:nvSpPr>
                  <p:spPr>
                    <a:xfrm>
                      <a:off x="11909600" y="5019850"/>
                      <a:ext cx="21300" cy="4900"/>
                    </a:xfrm>
                    <a:custGeom>
                      <a:avLst/>
                      <a:gdLst/>
                      <a:ahLst/>
                      <a:cxnLst/>
                      <a:rect l="l" t="t" r="r" b="b"/>
                      <a:pathLst>
                        <a:path w="852" h="196" fill="none" extrusionOk="0">
                          <a:moveTo>
                            <a:pt x="0" y="195"/>
                          </a:moveTo>
                          <a:lnTo>
                            <a:pt x="85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0" name="Google Shape;870;p13"/>
                    <p:cNvSpPr/>
                    <p:nvPr/>
                  </p:nvSpPr>
                  <p:spPr>
                    <a:xfrm>
                      <a:off x="12283725" y="5195350"/>
                      <a:ext cx="126250" cy="236025"/>
                    </a:xfrm>
                    <a:custGeom>
                      <a:avLst/>
                      <a:gdLst/>
                      <a:ahLst/>
                      <a:cxnLst/>
                      <a:rect l="l" t="t" r="r" b="b"/>
                      <a:pathLst>
                        <a:path w="5050" h="9441" fill="none" extrusionOk="0">
                          <a:moveTo>
                            <a:pt x="1" y="9440"/>
                          </a:moveTo>
                          <a:cubicBezTo>
                            <a:pt x="1" y="9440"/>
                            <a:pt x="912" y="3152"/>
                            <a:pt x="504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1" name="Google Shape;871;p13"/>
                    <p:cNvSpPr/>
                    <p:nvPr/>
                  </p:nvSpPr>
                  <p:spPr>
                    <a:xfrm>
                      <a:off x="12324425" y="5186775"/>
                      <a:ext cx="36625" cy="118375"/>
                    </a:xfrm>
                    <a:custGeom>
                      <a:avLst/>
                      <a:gdLst/>
                      <a:ahLst/>
                      <a:cxnLst/>
                      <a:rect l="l" t="t" r="r" b="b"/>
                      <a:pathLst>
                        <a:path w="1465" h="4735" fill="none" extrusionOk="0">
                          <a:moveTo>
                            <a:pt x="1465" y="0"/>
                          </a:moveTo>
                          <a:lnTo>
                            <a:pt x="1" y="47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2" name="Google Shape;872;p13"/>
                    <p:cNvSpPr/>
                    <p:nvPr/>
                  </p:nvSpPr>
                  <p:spPr>
                    <a:xfrm>
                      <a:off x="12344975" y="5227850"/>
                      <a:ext cx="63875" cy="39975"/>
                    </a:xfrm>
                    <a:custGeom>
                      <a:avLst/>
                      <a:gdLst/>
                      <a:ahLst/>
                      <a:cxnLst/>
                      <a:rect l="l" t="t" r="r" b="b"/>
                      <a:pathLst>
                        <a:path w="2555" h="1599" fill="none" extrusionOk="0">
                          <a:moveTo>
                            <a:pt x="0" y="1598"/>
                          </a:moveTo>
                          <a:cubicBezTo>
                            <a:pt x="0" y="1598"/>
                            <a:pt x="1852" y="179"/>
                            <a:pt x="2554"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p13"/>
                    <p:cNvSpPr/>
                    <p:nvPr/>
                  </p:nvSpPr>
                  <p:spPr>
                    <a:xfrm>
                      <a:off x="12251625" y="5228600"/>
                      <a:ext cx="32875" cy="162825"/>
                    </a:xfrm>
                    <a:custGeom>
                      <a:avLst/>
                      <a:gdLst/>
                      <a:ahLst/>
                      <a:cxnLst/>
                      <a:rect l="l" t="t" r="r" b="b"/>
                      <a:pathLst>
                        <a:path w="1315" h="6513" fill="none" extrusionOk="0">
                          <a:moveTo>
                            <a:pt x="1315" y="0"/>
                          </a:moveTo>
                          <a:lnTo>
                            <a:pt x="0" y="651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4" name="Google Shape;874;p13"/>
                    <p:cNvSpPr/>
                    <p:nvPr/>
                  </p:nvSpPr>
                  <p:spPr>
                    <a:xfrm>
                      <a:off x="12199350" y="5013500"/>
                      <a:ext cx="116525" cy="327125"/>
                    </a:xfrm>
                    <a:custGeom>
                      <a:avLst/>
                      <a:gdLst/>
                      <a:ahLst/>
                      <a:cxnLst/>
                      <a:rect l="l" t="t" r="r" b="b"/>
                      <a:pathLst>
                        <a:path w="4661" h="13085" fill="none" extrusionOk="0">
                          <a:moveTo>
                            <a:pt x="478" y="13085"/>
                          </a:moveTo>
                          <a:cubicBezTo>
                            <a:pt x="478" y="13085"/>
                            <a:pt x="0" y="5423"/>
                            <a:pt x="466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13"/>
                    <p:cNvSpPr/>
                    <p:nvPr/>
                  </p:nvSpPr>
                  <p:spPr>
                    <a:xfrm>
                      <a:off x="12260575" y="5010900"/>
                      <a:ext cx="10850" cy="87400"/>
                    </a:xfrm>
                    <a:custGeom>
                      <a:avLst/>
                      <a:gdLst/>
                      <a:ahLst/>
                      <a:cxnLst/>
                      <a:rect l="l" t="t" r="r" b="b"/>
                      <a:pathLst>
                        <a:path w="434" h="3496" fill="none" extrusionOk="0">
                          <a:moveTo>
                            <a:pt x="404" y="0"/>
                          </a:moveTo>
                          <a:cubicBezTo>
                            <a:pt x="404" y="0"/>
                            <a:pt x="434" y="2554"/>
                            <a:pt x="1" y="349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6" name="Google Shape;876;p13"/>
                    <p:cNvSpPr/>
                    <p:nvPr/>
                  </p:nvSpPr>
                  <p:spPr>
                    <a:xfrm>
                      <a:off x="12226225" y="5106125"/>
                      <a:ext cx="80675" cy="91125"/>
                    </a:xfrm>
                    <a:custGeom>
                      <a:avLst/>
                      <a:gdLst/>
                      <a:ahLst/>
                      <a:cxnLst/>
                      <a:rect l="l" t="t" r="r" b="b"/>
                      <a:pathLst>
                        <a:path w="3227" h="3645" fill="none" extrusionOk="0">
                          <a:moveTo>
                            <a:pt x="3227" y="0"/>
                          </a:moveTo>
                          <a:cubicBezTo>
                            <a:pt x="3227" y="0"/>
                            <a:pt x="972" y="1882"/>
                            <a:pt x="1" y="3644"/>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 name="Google Shape;877;p13"/>
                    <p:cNvSpPr/>
                    <p:nvPr/>
                  </p:nvSpPr>
                  <p:spPr>
                    <a:xfrm>
                      <a:off x="12166125" y="5196850"/>
                      <a:ext cx="1500" cy="86650"/>
                    </a:xfrm>
                    <a:custGeom>
                      <a:avLst/>
                      <a:gdLst/>
                      <a:ahLst/>
                      <a:cxnLst/>
                      <a:rect l="l" t="t" r="r" b="b"/>
                      <a:pathLst>
                        <a:path w="60" h="3466" fill="none" extrusionOk="0">
                          <a:moveTo>
                            <a:pt x="60" y="0"/>
                          </a:moveTo>
                          <a:lnTo>
                            <a:pt x="0" y="3466"/>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8" name="Google Shape;878;p13"/>
                    <p:cNvSpPr/>
                    <p:nvPr/>
                  </p:nvSpPr>
                  <p:spPr>
                    <a:xfrm>
                      <a:off x="12167225" y="5199100"/>
                      <a:ext cx="29150" cy="37350"/>
                    </a:xfrm>
                    <a:custGeom>
                      <a:avLst/>
                      <a:gdLst/>
                      <a:ahLst/>
                      <a:cxnLst/>
                      <a:rect l="l" t="t" r="r" b="b"/>
                      <a:pathLst>
                        <a:path w="1166" h="1494" fill="none" extrusionOk="0">
                          <a:moveTo>
                            <a:pt x="1166" y="0"/>
                          </a:moveTo>
                          <a:lnTo>
                            <a:pt x="1" y="149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13"/>
                    <p:cNvSpPr/>
                    <p:nvPr/>
                  </p:nvSpPr>
                  <p:spPr>
                    <a:xfrm>
                      <a:off x="12093675" y="4998575"/>
                      <a:ext cx="7875" cy="194200"/>
                    </a:xfrm>
                    <a:custGeom>
                      <a:avLst/>
                      <a:gdLst/>
                      <a:ahLst/>
                      <a:cxnLst/>
                      <a:rect l="l" t="t" r="r" b="b"/>
                      <a:pathLst>
                        <a:path w="315" h="7768" fill="none" extrusionOk="0">
                          <a:moveTo>
                            <a:pt x="314" y="1"/>
                          </a:moveTo>
                          <a:lnTo>
                            <a:pt x="0" y="77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0" name="Google Shape;880;p13"/>
                    <p:cNvSpPr/>
                    <p:nvPr/>
                  </p:nvSpPr>
                  <p:spPr>
                    <a:xfrm>
                      <a:off x="12097775" y="5046375"/>
                      <a:ext cx="27650" cy="43700"/>
                    </a:xfrm>
                    <a:custGeom>
                      <a:avLst/>
                      <a:gdLst/>
                      <a:ahLst/>
                      <a:cxnLst/>
                      <a:rect l="l" t="t" r="r" b="b"/>
                      <a:pathLst>
                        <a:path w="1106" h="1748" fill="none" extrusionOk="0">
                          <a:moveTo>
                            <a:pt x="1106" y="0"/>
                          </a:moveTo>
                          <a:lnTo>
                            <a:pt x="1" y="1748"/>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 name="Google Shape;881;p13"/>
                    <p:cNvSpPr/>
                    <p:nvPr/>
                  </p:nvSpPr>
                  <p:spPr>
                    <a:xfrm>
                      <a:off x="11967100" y="4981025"/>
                      <a:ext cx="20925" cy="79175"/>
                    </a:xfrm>
                    <a:custGeom>
                      <a:avLst/>
                      <a:gdLst/>
                      <a:ahLst/>
                      <a:cxnLst/>
                      <a:rect l="l" t="t" r="r" b="b"/>
                      <a:pathLst>
                        <a:path w="837" h="3167" fill="none" extrusionOk="0">
                          <a:moveTo>
                            <a:pt x="0" y="1"/>
                          </a:moveTo>
                          <a:lnTo>
                            <a:pt x="837" y="31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2" name="Google Shape;882;p13"/>
                    <p:cNvSpPr/>
                    <p:nvPr/>
                  </p:nvSpPr>
                  <p:spPr>
                    <a:xfrm>
                      <a:off x="11977175" y="4998575"/>
                      <a:ext cx="9350" cy="19825"/>
                    </a:xfrm>
                    <a:custGeom>
                      <a:avLst/>
                      <a:gdLst/>
                      <a:ahLst/>
                      <a:cxnLst/>
                      <a:rect l="l" t="t" r="r" b="b"/>
                      <a:pathLst>
                        <a:path w="374" h="793" fill="none" extrusionOk="0">
                          <a:moveTo>
                            <a:pt x="374" y="1"/>
                          </a:moveTo>
                          <a:lnTo>
                            <a:pt x="1" y="7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78F42-097B-416F-8946-30DDCEE119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51C547-E4BC-423F-AD8B-29D63A2A2A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C94566-CDA4-4741-B964-6576CAC6BD05}"/>
              </a:ext>
            </a:extLst>
          </p:cNvPr>
          <p:cNvSpPr>
            <a:spLocks noGrp="1"/>
          </p:cNvSpPr>
          <p:nvPr>
            <p:ph type="dt" sz="half" idx="10"/>
          </p:nvPr>
        </p:nvSpPr>
        <p:spPr/>
        <p:txBody>
          <a:bodyPr/>
          <a:lstStyle/>
          <a:p>
            <a:fld id="{B28593A9-40E4-4715-BB88-DD783705E2B1}" type="datetimeFigureOut">
              <a:rPr lang="en-US" smtClean="0"/>
              <a:t>27/12/2023</a:t>
            </a:fld>
            <a:endParaRPr lang="en-US"/>
          </a:p>
        </p:txBody>
      </p:sp>
      <p:sp>
        <p:nvSpPr>
          <p:cNvPr id="5" name="Footer Placeholder 4">
            <a:extLst>
              <a:ext uri="{FF2B5EF4-FFF2-40B4-BE49-F238E27FC236}">
                <a16:creationId xmlns:a16="http://schemas.microsoft.com/office/drawing/2014/main" id="{7AD5C0DB-9765-4A30-8E83-3ABFBAED1E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DAF23C-6EDE-43B4-B49B-DA449F0EC284}"/>
              </a:ext>
            </a:extLst>
          </p:cNvPr>
          <p:cNvSpPr>
            <a:spLocks noGrp="1"/>
          </p:cNvSpPr>
          <p:nvPr>
            <p:ph type="sldNum" sz="quarter" idx="12"/>
          </p:nvPr>
        </p:nvSpPr>
        <p:spPr/>
        <p:txBody>
          <a:bodyPr/>
          <a:lstStyle/>
          <a:p>
            <a:fld id="{A1D6A31A-DEAA-4B37-8FF5-84366831316E}" type="slidenum">
              <a:rPr lang="en-US" smtClean="0"/>
              <a:t>‹#›</a:t>
            </a:fld>
            <a:endParaRPr lang="en-US"/>
          </a:p>
        </p:txBody>
      </p:sp>
    </p:spTree>
    <p:extLst>
      <p:ext uri="{BB962C8B-B14F-4D97-AF65-F5344CB8AC3E}">
        <p14:creationId xmlns:p14="http://schemas.microsoft.com/office/powerpoint/2010/main" val="29545371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5F21EE69-A1CB-4D3C-A300-F309A781E65B}"/>
              </a:ext>
            </a:extLst>
          </p:cNvPr>
          <p:cNvSpPr>
            <a:spLocks noGrp="1"/>
          </p:cNvSpPr>
          <p:nvPr>
            <p:ph type="title"/>
          </p:nvPr>
        </p:nvSpPr>
        <p:spPr>
          <a:xfrm>
            <a:off x="704180" y="212100"/>
            <a:ext cx="3912879" cy="966505"/>
          </a:xfrm>
        </p:spPr>
        <p:txBody>
          <a:bodyPr anchor="b">
            <a:normAutofit/>
          </a:bodyPr>
          <a:lstStyle/>
          <a:p>
            <a:r>
              <a:rPr lang="en-US"/>
              <a:t>Click to edit Master title style</a:t>
            </a:r>
            <a:endParaRPr lang="en-US" dirty="0"/>
          </a:p>
        </p:txBody>
      </p:sp>
      <p:sp>
        <p:nvSpPr>
          <p:cNvPr id="18" name="Content Placeholder 2">
            <a:extLst>
              <a:ext uri="{FF2B5EF4-FFF2-40B4-BE49-F238E27FC236}">
                <a16:creationId xmlns:a16="http://schemas.microsoft.com/office/drawing/2014/main" id="{04201678-5DBC-491F-AA38-F3DF166C36BE}"/>
              </a:ext>
            </a:extLst>
          </p:cNvPr>
          <p:cNvSpPr>
            <a:spLocks noGrp="1"/>
          </p:cNvSpPr>
          <p:nvPr>
            <p:ph idx="1" hasCustomPrompt="1"/>
          </p:nvPr>
        </p:nvSpPr>
        <p:spPr>
          <a:xfrm>
            <a:off x="704180" y="1286363"/>
            <a:ext cx="3912880" cy="3263504"/>
          </a:xfrm>
        </p:spPr>
        <p:txBody>
          <a:bodyPr>
            <a:normAutofit/>
          </a:bodyPr>
          <a:lstStyle>
            <a:lvl1pPr marL="0" indent="0">
              <a:lnSpc>
                <a:spcPct val="100000"/>
              </a:lnSpc>
              <a:buFontTx/>
              <a:buNone/>
              <a:defRPr sz="1350"/>
            </a:lvl1pPr>
          </a:lstStyle>
          <a:p>
            <a:pPr>
              <a:lnSpc>
                <a:spcPct val="130000"/>
              </a:lnSpc>
            </a:pPr>
            <a:r>
              <a:rPr lang="en-US" dirty="0"/>
              <a:t>Click to add text</a:t>
            </a:r>
          </a:p>
        </p:txBody>
      </p:sp>
      <p:sp>
        <p:nvSpPr>
          <p:cNvPr id="368" name="Picture Placeholder 370">
            <a:extLst>
              <a:ext uri="{FF2B5EF4-FFF2-40B4-BE49-F238E27FC236}">
                <a16:creationId xmlns:a16="http://schemas.microsoft.com/office/drawing/2014/main" id="{669561A4-DF87-4818-9B88-D1EF83F03B98}"/>
              </a:ext>
            </a:extLst>
          </p:cNvPr>
          <p:cNvSpPr>
            <a:spLocks noGrp="1"/>
          </p:cNvSpPr>
          <p:nvPr>
            <p:ph type="pic" sz="quarter" idx="13" hasCustomPrompt="1"/>
          </p:nvPr>
        </p:nvSpPr>
        <p:spPr>
          <a:xfrm>
            <a:off x="5426542" y="241878"/>
            <a:ext cx="3086100" cy="2198278"/>
          </a:xfrm>
        </p:spPr>
        <p:txBody>
          <a:bodyPr/>
          <a:lstStyle>
            <a:lvl1pPr>
              <a:buFontTx/>
              <a:buNone/>
              <a:defRPr/>
            </a:lvl1pPr>
          </a:lstStyle>
          <a:p>
            <a:r>
              <a:rPr lang="en-US" dirty="0"/>
              <a:t>Click to add photo</a:t>
            </a:r>
          </a:p>
        </p:txBody>
      </p:sp>
      <p:sp>
        <p:nvSpPr>
          <p:cNvPr id="369" name="Picture Placeholder 372">
            <a:extLst>
              <a:ext uri="{FF2B5EF4-FFF2-40B4-BE49-F238E27FC236}">
                <a16:creationId xmlns:a16="http://schemas.microsoft.com/office/drawing/2014/main" id="{FFEE5DD2-649D-41DC-9898-8730D76FDB98}"/>
              </a:ext>
            </a:extLst>
          </p:cNvPr>
          <p:cNvSpPr>
            <a:spLocks noGrp="1"/>
          </p:cNvSpPr>
          <p:nvPr>
            <p:ph type="pic" sz="quarter" idx="14" hasCustomPrompt="1"/>
          </p:nvPr>
        </p:nvSpPr>
        <p:spPr>
          <a:xfrm>
            <a:off x="5426542" y="2527508"/>
            <a:ext cx="3086099" cy="2198277"/>
          </a:xfrm>
        </p:spPr>
        <p:txBody>
          <a:bodyPr/>
          <a:lstStyle>
            <a:lvl1pPr>
              <a:buFontTx/>
              <a:buNone/>
              <a:defRPr/>
            </a:lvl1pPr>
          </a:lstStyle>
          <a:p>
            <a:r>
              <a:rPr lang="en-US" dirty="0"/>
              <a:t>Click to add photo</a:t>
            </a:r>
          </a:p>
        </p:txBody>
      </p:sp>
      <p:sp>
        <p:nvSpPr>
          <p:cNvPr id="385" name="Date Placeholder 384">
            <a:extLst>
              <a:ext uri="{FF2B5EF4-FFF2-40B4-BE49-F238E27FC236}">
                <a16:creationId xmlns:a16="http://schemas.microsoft.com/office/drawing/2014/main" id="{7B72116B-F388-4C73-BC4A-D8292B5DA7E2}"/>
              </a:ext>
            </a:extLst>
          </p:cNvPr>
          <p:cNvSpPr>
            <a:spLocks noGrp="1"/>
          </p:cNvSpPr>
          <p:nvPr>
            <p:ph type="dt" sz="half" idx="15"/>
          </p:nvPr>
        </p:nvSpPr>
        <p:spPr/>
        <p:txBody>
          <a:bodyPr/>
          <a:lstStyle/>
          <a:p>
            <a:r>
              <a:rPr lang="en-US"/>
              <a:t>2/1/20XX</a:t>
            </a:r>
            <a:endParaRPr lang="en-US" dirty="0"/>
          </a:p>
        </p:txBody>
      </p:sp>
      <p:sp>
        <p:nvSpPr>
          <p:cNvPr id="386" name="Footer Placeholder 385">
            <a:extLst>
              <a:ext uri="{FF2B5EF4-FFF2-40B4-BE49-F238E27FC236}">
                <a16:creationId xmlns:a16="http://schemas.microsoft.com/office/drawing/2014/main" id="{C072D4A9-194F-4843-B39B-6C34A5D2F221}"/>
              </a:ext>
            </a:extLst>
          </p:cNvPr>
          <p:cNvSpPr>
            <a:spLocks noGrp="1"/>
          </p:cNvSpPr>
          <p:nvPr>
            <p:ph type="ftr" sz="quarter" idx="16"/>
          </p:nvPr>
        </p:nvSpPr>
        <p:spPr/>
        <p:txBody>
          <a:bodyPr/>
          <a:lstStyle/>
          <a:p>
            <a:r>
              <a:rPr lang="en-US" dirty="0"/>
              <a:t>PRESENTATION TITLE</a:t>
            </a:r>
          </a:p>
        </p:txBody>
      </p:sp>
      <p:sp>
        <p:nvSpPr>
          <p:cNvPr id="387" name="Slide Number Placeholder 386">
            <a:extLst>
              <a:ext uri="{FF2B5EF4-FFF2-40B4-BE49-F238E27FC236}">
                <a16:creationId xmlns:a16="http://schemas.microsoft.com/office/drawing/2014/main" id="{7827E1CE-788E-4245-B60E-D39AFA591483}"/>
              </a:ext>
            </a:extLst>
          </p:cNvPr>
          <p:cNvSpPr>
            <a:spLocks noGrp="1"/>
          </p:cNvSpPr>
          <p:nvPr>
            <p:ph type="sldNum" sz="quarter" idx="17"/>
          </p:nvPr>
        </p:nvSpPr>
        <p:spPr/>
        <p:txBody>
          <a:bodyPr/>
          <a:lstStyle/>
          <a:p>
            <a:fld id="{5EA792F7-1D9E-4C7E-A103-E8EDFDC2691E}" type="slidenum">
              <a:rPr lang="en-US" smtClean="0"/>
              <a:t>‹#›</a:t>
            </a:fld>
            <a:endParaRPr lang="en-US" dirty="0"/>
          </a:p>
        </p:txBody>
      </p:sp>
      <p:grpSp>
        <p:nvGrpSpPr>
          <p:cNvPr id="9" name="Graphic 190">
            <a:extLst>
              <a:ext uri="{FF2B5EF4-FFF2-40B4-BE49-F238E27FC236}">
                <a16:creationId xmlns:a16="http://schemas.microsoft.com/office/drawing/2014/main" id="{06F4FBF1-A331-46A0-BDC5-7CEDEA62EE39}"/>
              </a:ext>
              <a:ext uri="{C183D7F6-B498-43B3-948B-1728B52AA6E4}">
                <adec:decorative xmlns:adec="http://schemas.microsoft.com/office/drawing/2017/decorative" xmlns="" val="1"/>
              </a:ext>
            </a:extLst>
          </p:cNvPr>
          <p:cNvGrpSpPr/>
          <p:nvPr userDrawn="1"/>
        </p:nvGrpSpPr>
        <p:grpSpPr>
          <a:xfrm>
            <a:off x="4317465" y="552620"/>
            <a:ext cx="1199122" cy="398470"/>
            <a:chOff x="2504802" y="1755501"/>
            <a:chExt cx="1598829" cy="531293"/>
          </a:xfrm>
          <a:solidFill>
            <a:schemeClr val="tx1"/>
          </a:solidFill>
        </p:grpSpPr>
        <p:sp>
          <p:nvSpPr>
            <p:cNvPr id="10" name="Freeform: Shape 9">
              <a:extLst>
                <a:ext uri="{FF2B5EF4-FFF2-40B4-BE49-F238E27FC236}">
                  <a16:creationId xmlns:a16="http://schemas.microsoft.com/office/drawing/2014/main" id="{AE637E45-FDA6-4FDD-96BD-4728E6FEF3C5}"/>
                </a:ext>
              </a:extLst>
            </p:cNvPr>
            <p:cNvSpPr/>
            <p:nvPr/>
          </p:nvSpPr>
          <p:spPr>
            <a:xfrm>
              <a:off x="2504802" y="2113855"/>
              <a:ext cx="1598614" cy="172939"/>
            </a:xfrm>
            <a:custGeom>
              <a:avLst/>
              <a:gdLst>
                <a:gd name="connsiteX0" fmla="*/ 1248648 w 1598614"/>
                <a:gd name="connsiteY0" fmla="*/ 172939 h 172939"/>
                <a:gd name="connsiteX1" fmla="*/ 1123031 w 1598614"/>
                <a:gd name="connsiteY1" fmla="*/ 92708 h 172939"/>
                <a:gd name="connsiteX2" fmla="*/ 1024085 w 1598614"/>
                <a:gd name="connsiteY2" fmla="*/ 29469 h 172939"/>
                <a:gd name="connsiteX3" fmla="*/ 925140 w 1598614"/>
                <a:gd name="connsiteY3" fmla="*/ 92708 h 172939"/>
                <a:gd name="connsiteX4" fmla="*/ 799522 w 1598614"/>
                <a:gd name="connsiteY4" fmla="*/ 172939 h 172939"/>
                <a:gd name="connsiteX5" fmla="*/ 799522 w 1598614"/>
                <a:gd name="connsiteY5" fmla="*/ 172939 h 172939"/>
                <a:gd name="connsiteX6" fmla="*/ 673905 w 1598614"/>
                <a:gd name="connsiteY6" fmla="*/ 92708 h 172939"/>
                <a:gd name="connsiteX7" fmla="*/ 574959 w 1598614"/>
                <a:gd name="connsiteY7" fmla="*/ 29469 h 172939"/>
                <a:gd name="connsiteX8" fmla="*/ 476014 w 1598614"/>
                <a:gd name="connsiteY8" fmla="*/ 92708 h 172939"/>
                <a:gd name="connsiteX9" fmla="*/ 350396 w 1598614"/>
                <a:gd name="connsiteY9" fmla="*/ 172939 h 172939"/>
                <a:gd name="connsiteX10" fmla="*/ 224778 w 1598614"/>
                <a:gd name="connsiteY10" fmla="*/ 92708 h 172939"/>
                <a:gd name="connsiteX11" fmla="*/ 125833 w 1598614"/>
                <a:gd name="connsiteY11" fmla="*/ 29469 h 172939"/>
                <a:gd name="connsiteX12" fmla="*/ 26887 w 1598614"/>
                <a:gd name="connsiteY12" fmla="*/ 92708 h 172939"/>
                <a:gd name="connsiteX13" fmla="*/ 0 w 1598614"/>
                <a:gd name="connsiteY13" fmla="*/ 80232 h 172939"/>
                <a:gd name="connsiteX14" fmla="*/ 125618 w 1598614"/>
                <a:gd name="connsiteY14" fmla="*/ 0 h 172939"/>
                <a:gd name="connsiteX15" fmla="*/ 251235 w 1598614"/>
                <a:gd name="connsiteY15" fmla="*/ 80232 h 172939"/>
                <a:gd name="connsiteX16" fmla="*/ 350181 w 1598614"/>
                <a:gd name="connsiteY16" fmla="*/ 143471 h 172939"/>
                <a:gd name="connsiteX17" fmla="*/ 449126 w 1598614"/>
                <a:gd name="connsiteY17" fmla="*/ 80232 h 172939"/>
                <a:gd name="connsiteX18" fmla="*/ 574744 w 1598614"/>
                <a:gd name="connsiteY18" fmla="*/ 0 h 172939"/>
                <a:gd name="connsiteX19" fmla="*/ 700362 w 1598614"/>
                <a:gd name="connsiteY19" fmla="*/ 80232 h 172939"/>
                <a:gd name="connsiteX20" fmla="*/ 799307 w 1598614"/>
                <a:gd name="connsiteY20" fmla="*/ 143471 h 172939"/>
                <a:gd name="connsiteX21" fmla="*/ 799307 w 1598614"/>
                <a:gd name="connsiteY21" fmla="*/ 143471 h 172939"/>
                <a:gd name="connsiteX22" fmla="*/ 898253 w 1598614"/>
                <a:gd name="connsiteY22" fmla="*/ 80232 h 172939"/>
                <a:gd name="connsiteX23" fmla="*/ 1023870 w 1598614"/>
                <a:gd name="connsiteY23" fmla="*/ 0 h 172939"/>
                <a:gd name="connsiteX24" fmla="*/ 1149488 w 1598614"/>
                <a:gd name="connsiteY24" fmla="*/ 80232 h 172939"/>
                <a:gd name="connsiteX25" fmla="*/ 1248433 w 1598614"/>
                <a:gd name="connsiteY25" fmla="*/ 143471 h 172939"/>
                <a:gd name="connsiteX26" fmla="*/ 1347379 w 1598614"/>
                <a:gd name="connsiteY26" fmla="*/ 80232 h 172939"/>
                <a:gd name="connsiteX27" fmla="*/ 1472997 w 1598614"/>
                <a:gd name="connsiteY27" fmla="*/ 0 h 172939"/>
                <a:gd name="connsiteX28" fmla="*/ 1598614 w 1598614"/>
                <a:gd name="connsiteY28" fmla="*/ 80232 h 172939"/>
                <a:gd name="connsiteX29" fmla="*/ 1571942 w 1598614"/>
                <a:gd name="connsiteY29" fmla="*/ 92708 h 172939"/>
                <a:gd name="connsiteX30" fmla="*/ 1472997 w 1598614"/>
                <a:gd name="connsiteY30" fmla="*/ 29469 h 172939"/>
                <a:gd name="connsiteX31" fmla="*/ 1374051 w 1598614"/>
                <a:gd name="connsiteY31" fmla="*/ 92708 h 172939"/>
                <a:gd name="connsiteX32" fmla="*/ 1248648 w 1598614"/>
                <a:gd name="connsiteY32" fmla="*/ 172939 h 17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98614" h="172939">
                  <a:moveTo>
                    <a:pt x="1248648" y="172939"/>
                  </a:moveTo>
                  <a:cubicBezTo>
                    <a:pt x="1194229" y="172939"/>
                    <a:pt x="1146046" y="142180"/>
                    <a:pt x="1123031" y="92708"/>
                  </a:cubicBezTo>
                  <a:cubicBezTo>
                    <a:pt x="1104962" y="53775"/>
                    <a:pt x="1067105" y="29469"/>
                    <a:pt x="1024085" y="29469"/>
                  </a:cubicBezTo>
                  <a:cubicBezTo>
                    <a:pt x="981066" y="29469"/>
                    <a:pt x="943208" y="53775"/>
                    <a:pt x="925140" y="92708"/>
                  </a:cubicBezTo>
                  <a:cubicBezTo>
                    <a:pt x="902124" y="142180"/>
                    <a:pt x="853942" y="172939"/>
                    <a:pt x="799522" y="172939"/>
                  </a:cubicBezTo>
                  <a:cubicBezTo>
                    <a:pt x="799522" y="172939"/>
                    <a:pt x="799522" y="172939"/>
                    <a:pt x="799522" y="172939"/>
                  </a:cubicBezTo>
                  <a:cubicBezTo>
                    <a:pt x="744887" y="172939"/>
                    <a:pt x="696920" y="142180"/>
                    <a:pt x="673905" y="92708"/>
                  </a:cubicBezTo>
                  <a:cubicBezTo>
                    <a:pt x="655836" y="53775"/>
                    <a:pt x="617979" y="29469"/>
                    <a:pt x="574959" y="29469"/>
                  </a:cubicBezTo>
                  <a:cubicBezTo>
                    <a:pt x="531939" y="29469"/>
                    <a:pt x="494082" y="53775"/>
                    <a:pt x="476014" y="92708"/>
                  </a:cubicBezTo>
                  <a:cubicBezTo>
                    <a:pt x="452998" y="142180"/>
                    <a:pt x="405031" y="172939"/>
                    <a:pt x="350396" y="172939"/>
                  </a:cubicBezTo>
                  <a:cubicBezTo>
                    <a:pt x="295976" y="172939"/>
                    <a:pt x="247794" y="142180"/>
                    <a:pt x="224778" y="92708"/>
                  </a:cubicBezTo>
                  <a:cubicBezTo>
                    <a:pt x="206710" y="53775"/>
                    <a:pt x="168853" y="29469"/>
                    <a:pt x="125833" y="29469"/>
                  </a:cubicBezTo>
                  <a:cubicBezTo>
                    <a:pt x="82813" y="29469"/>
                    <a:pt x="44956" y="53775"/>
                    <a:pt x="26887" y="92708"/>
                  </a:cubicBezTo>
                  <a:lnTo>
                    <a:pt x="0" y="80232"/>
                  </a:lnTo>
                  <a:cubicBezTo>
                    <a:pt x="23016" y="30759"/>
                    <a:pt x="70983" y="0"/>
                    <a:pt x="125618" y="0"/>
                  </a:cubicBezTo>
                  <a:cubicBezTo>
                    <a:pt x="180253" y="0"/>
                    <a:pt x="228220" y="30759"/>
                    <a:pt x="251235" y="80232"/>
                  </a:cubicBezTo>
                  <a:cubicBezTo>
                    <a:pt x="269304" y="119165"/>
                    <a:pt x="307376" y="143471"/>
                    <a:pt x="350181" y="143471"/>
                  </a:cubicBezTo>
                  <a:cubicBezTo>
                    <a:pt x="393201" y="143471"/>
                    <a:pt x="431058" y="119165"/>
                    <a:pt x="449126" y="80232"/>
                  </a:cubicBezTo>
                  <a:cubicBezTo>
                    <a:pt x="472142" y="30759"/>
                    <a:pt x="520324" y="0"/>
                    <a:pt x="574744" y="0"/>
                  </a:cubicBezTo>
                  <a:cubicBezTo>
                    <a:pt x="629164" y="0"/>
                    <a:pt x="677346" y="30759"/>
                    <a:pt x="700362" y="80232"/>
                  </a:cubicBezTo>
                  <a:cubicBezTo>
                    <a:pt x="718430" y="119165"/>
                    <a:pt x="756287" y="143471"/>
                    <a:pt x="799307" y="143471"/>
                  </a:cubicBezTo>
                  <a:lnTo>
                    <a:pt x="799307" y="143471"/>
                  </a:lnTo>
                  <a:cubicBezTo>
                    <a:pt x="842327" y="143471"/>
                    <a:pt x="880184" y="119165"/>
                    <a:pt x="898253" y="80232"/>
                  </a:cubicBezTo>
                  <a:cubicBezTo>
                    <a:pt x="921268" y="30759"/>
                    <a:pt x="969235" y="0"/>
                    <a:pt x="1023870" y="0"/>
                  </a:cubicBezTo>
                  <a:cubicBezTo>
                    <a:pt x="1078505" y="0"/>
                    <a:pt x="1126472" y="30759"/>
                    <a:pt x="1149488" y="80232"/>
                  </a:cubicBezTo>
                  <a:cubicBezTo>
                    <a:pt x="1167556" y="119165"/>
                    <a:pt x="1205414" y="143471"/>
                    <a:pt x="1248433" y="143471"/>
                  </a:cubicBezTo>
                  <a:cubicBezTo>
                    <a:pt x="1291453" y="143471"/>
                    <a:pt x="1329311" y="119165"/>
                    <a:pt x="1347379" y="80232"/>
                  </a:cubicBezTo>
                  <a:cubicBezTo>
                    <a:pt x="1370394" y="30759"/>
                    <a:pt x="1418361" y="0"/>
                    <a:pt x="1472997" y="0"/>
                  </a:cubicBezTo>
                  <a:cubicBezTo>
                    <a:pt x="1527632" y="0"/>
                    <a:pt x="1575814" y="30759"/>
                    <a:pt x="1598614" y="80232"/>
                  </a:cubicBezTo>
                  <a:lnTo>
                    <a:pt x="1571942" y="92708"/>
                  </a:lnTo>
                  <a:cubicBezTo>
                    <a:pt x="1553874" y="53775"/>
                    <a:pt x="1515801" y="29469"/>
                    <a:pt x="1472997" y="29469"/>
                  </a:cubicBezTo>
                  <a:cubicBezTo>
                    <a:pt x="1429977" y="29469"/>
                    <a:pt x="1392119" y="53775"/>
                    <a:pt x="1374051" y="92708"/>
                  </a:cubicBezTo>
                  <a:cubicBezTo>
                    <a:pt x="1351251" y="142180"/>
                    <a:pt x="1303069" y="172939"/>
                    <a:pt x="1248648" y="172939"/>
                  </a:cubicBezTo>
                  <a:close/>
                </a:path>
              </a:pathLst>
            </a:custGeom>
            <a:grpFill/>
            <a:ln w="21496"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 name="Freeform: Shape 10">
              <a:extLst>
                <a:ext uri="{FF2B5EF4-FFF2-40B4-BE49-F238E27FC236}">
                  <a16:creationId xmlns:a16="http://schemas.microsoft.com/office/drawing/2014/main" id="{34CE57ED-0E56-4B8D-BFC4-44C434AB2F54}"/>
                </a:ext>
              </a:extLst>
            </p:cNvPr>
            <p:cNvSpPr/>
            <p:nvPr/>
          </p:nvSpPr>
          <p:spPr>
            <a:xfrm>
              <a:off x="2504802" y="1755501"/>
              <a:ext cx="1598829" cy="172724"/>
            </a:xfrm>
            <a:custGeom>
              <a:avLst/>
              <a:gdLst>
                <a:gd name="connsiteX0" fmla="*/ 1248648 w 1598829"/>
                <a:gd name="connsiteY0" fmla="*/ 172724 h 172724"/>
                <a:gd name="connsiteX1" fmla="*/ 1123031 w 1598829"/>
                <a:gd name="connsiteY1" fmla="*/ 92492 h 172724"/>
                <a:gd name="connsiteX2" fmla="*/ 1024085 w 1598829"/>
                <a:gd name="connsiteY2" fmla="*/ 29253 h 172724"/>
                <a:gd name="connsiteX3" fmla="*/ 925140 w 1598829"/>
                <a:gd name="connsiteY3" fmla="*/ 92492 h 172724"/>
                <a:gd name="connsiteX4" fmla="*/ 799522 w 1598829"/>
                <a:gd name="connsiteY4" fmla="*/ 172724 h 172724"/>
                <a:gd name="connsiteX5" fmla="*/ 799522 w 1598829"/>
                <a:gd name="connsiteY5" fmla="*/ 172724 h 172724"/>
                <a:gd name="connsiteX6" fmla="*/ 673905 w 1598829"/>
                <a:gd name="connsiteY6" fmla="*/ 92492 h 172724"/>
                <a:gd name="connsiteX7" fmla="*/ 574959 w 1598829"/>
                <a:gd name="connsiteY7" fmla="*/ 29253 h 172724"/>
                <a:gd name="connsiteX8" fmla="*/ 476014 w 1598829"/>
                <a:gd name="connsiteY8" fmla="*/ 92492 h 172724"/>
                <a:gd name="connsiteX9" fmla="*/ 350396 w 1598829"/>
                <a:gd name="connsiteY9" fmla="*/ 172724 h 172724"/>
                <a:gd name="connsiteX10" fmla="*/ 224778 w 1598829"/>
                <a:gd name="connsiteY10" fmla="*/ 92492 h 172724"/>
                <a:gd name="connsiteX11" fmla="*/ 125833 w 1598829"/>
                <a:gd name="connsiteY11" fmla="*/ 29253 h 172724"/>
                <a:gd name="connsiteX12" fmla="*/ 26887 w 1598829"/>
                <a:gd name="connsiteY12" fmla="*/ 92492 h 172724"/>
                <a:gd name="connsiteX13" fmla="*/ 0 w 1598829"/>
                <a:gd name="connsiteY13" fmla="*/ 80232 h 172724"/>
                <a:gd name="connsiteX14" fmla="*/ 125618 w 1598829"/>
                <a:gd name="connsiteY14" fmla="*/ 0 h 172724"/>
                <a:gd name="connsiteX15" fmla="*/ 251235 w 1598829"/>
                <a:gd name="connsiteY15" fmla="*/ 80232 h 172724"/>
                <a:gd name="connsiteX16" fmla="*/ 350181 w 1598829"/>
                <a:gd name="connsiteY16" fmla="*/ 143471 h 172724"/>
                <a:gd name="connsiteX17" fmla="*/ 449126 w 1598829"/>
                <a:gd name="connsiteY17" fmla="*/ 80232 h 172724"/>
                <a:gd name="connsiteX18" fmla="*/ 574744 w 1598829"/>
                <a:gd name="connsiteY18" fmla="*/ 0 h 172724"/>
                <a:gd name="connsiteX19" fmla="*/ 700362 w 1598829"/>
                <a:gd name="connsiteY19" fmla="*/ 80232 h 172724"/>
                <a:gd name="connsiteX20" fmla="*/ 799307 w 1598829"/>
                <a:gd name="connsiteY20" fmla="*/ 143471 h 172724"/>
                <a:gd name="connsiteX21" fmla="*/ 799307 w 1598829"/>
                <a:gd name="connsiteY21" fmla="*/ 143471 h 172724"/>
                <a:gd name="connsiteX22" fmla="*/ 898253 w 1598829"/>
                <a:gd name="connsiteY22" fmla="*/ 80232 h 172724"/>
                <a:gd name="connsiteX23" fmla="*/ 1024085 w 1598829"/>
                <a:gd name="connsiteY23" fmla="*/ 0 h 172724"/>
                <a:gd name="connsiteX24" fmla="*/ 1149703 w 1598829"/>
                <a:gd name="connsiteY24" fmla="*/ 80232 h 172724"/>
                <a:gd name="connsiteX25" fmla="*/ 1248648 w 1598829"/>
                <a:gd name="connsiteY25" fmla="*/ 143471 h 172724"/>
                <a:gd name="connsiteX26" fmla="*/ 1347594 w 1598829"/>
                <a:gd name="connsiteY26" fmla="*/ 80232 h 172724"/>
                <a:gd name="connsiteX27" fmla="*/ 1473212 w 1598829"/>
                <a:gd name="connsiteY27" fmla="*/ 0 h 172724"/>
                <a:gd name="connsiteX28" fmla="*/ 1598829 w 1598829"/>
                <a:gd name="connsiteY28" fmla="*/ 80232 h 172724"/>
                <a:gd name="connsiteX29" fmla="*/ 1572157 w 1598829"/>
                <a:gd name="connsiteY29" fmla="*/ 92492 h 172724"/>
                <a:gd name="connsiteX30" fmla="*/ 1473212 w 1598829"/>
                <a:gd name="connsiteY30" fmla="*/ 29253 h 172724"/>
                <a:gd name="connsiteX31" fmla="*/ 1374266 w 1598829"/>
                <a:gd name="connsiteY31" fmla="*/ 92492 h 172724"/>
                <a:gd name="connsiteX32" fmla="*/ 1248648 w 1598829"/>
                <a:gd name="connsiteY32" fmla="*/ 172724 h 17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98829" h="172724">
                  <a:moveTo>
                    <a:pt x="1248648" y="172724"/>
                  </a:moveTo>
                  <a:cubicBezTo>
                    <a:pt x="1194229" y="172724"/>
                    <a:pt x="1146046" y="141965"/>
                    <a:pt x="1123031" y="92492"/>
                  </a:cubicBezTo>
                  <a:cubicBezTo>
                    <a:pt x="1104962" y="53560"/>
                    <a:pt x="1067105" y="29253"/>
                    <a:pt x="1024085" y="29253"/>
                  </a:cubicBezTo>
                  <a:cubicBezTo>
                    <a:pt x="981066" y="29253"/>
                    <a:pt x="943208" y="53560"/>
                    <a:pt x="925140" y="92492"/>
                  </a:cubicBezTo>
                  <a:cubicBezTo>
                    <a:pt x="902124" y="141965"/>
                    <a:pt x="853942" y="172724"/>
                    <a:pt x="799522" y="172724"/>
                  </a:cubicBezTo>
                  <a:cubicBezTo>
                    <a:pt x="799522" y="172724"/>
                    <a:pt x="799522" y="172724"/>
                    <a:pt x="799522" y="172724"/>
                  </a:cubicBezTo>
                  <a:cubicBezTo>
                    <a:pt x="744887" y="172724"/>
                    <a:pt x="696920" y="141965"/>
                    <a:pt x="673905" y="92492"/>
                  </a:cubicBezTo>
                  <a:cubicBezTo>
                    <a:pt x="655836" y="53560"/>
                    <a:pt x="617979" y="29253"/>
                    <a:pt x="574959" y="29253"/>
                  </a:cubicBezTo>
                  <a:cubicBezTo>
                    <a:pt x="531939" y="29253"/>
                    <a:pt x="494082" y="53560"/>
                    <a:pt x="476014" y="92492"/>
                  </a:cubicBezTo>
                  <a:cubicBezTo>
                    <a:pt x="452998" y="141965"/>
                    <a:pt x="405031" y="172724"/>
                    <a:pt x="350396" y="172724"/>
                  </a:cubicBezTo>
                  <a:cubicBezTo>
                    <a:pt x="295976" y="172724"/>
                    <a:pt x="247794" y="141965"/>
                    <a:pt x="224778" y="92492"/>
                  </a:cubicBezTo>
                  <a:cubicBezTo>
                    <a:pt x="206710" y="53560"/>
                    <a:pt x="168853" y="29253"/>
                    <a:pt x="125833" y="29253"/>
                  </a:cubicBezTo>
                  <a:cubicBezTo>
                    <a:pt x="82813" y="29253"/>
                    <a:pt x="44956" y="53560"/>
                    <a:pt x="26887" y="92492"/>
                  </a:cubicBezTo>
                  <a:lnTo>
                    <a:pt x="0" y="80232"/>
                  </a:lnTo>
                  <a:cubicBezTo>
                    <a:pt x="23016" y="30759"/>
                    <a:pt x="70983" y="0"/>
                    <a:pt x="125618" y="0"/>
                  </a:cubicBezTo>
                  <a:cubicBezTo>
                    <a:pt x="180253" y="0"/>
                    <a:pt x="228220" y="30759"/>
                    <a:pt x="251235" y="80232"/>
                  </a:cubicBezTo>
                  <a:cubicBezTo>
                    <a:pt x="269304" y="119165"/>
                    <a:pt x="307376" y="143471"/>
                    <a:pt x="350181" y="143471"/>
                  </a:cubicBezTo>
                  <a:cubicBezTo>
                    <a:pt x="393201" y="143471"/>
                    <a:pt x="431058" y="119165"/>
                    <a:pt x="449126" y="80232"/>
                  </a:cubicBezTo>
                  <a:cubicBezTo>
                    <a:pt x="472142" y="30759"/>
                    <a:pt x="520324" y="0"/>
                    <a:pt x="574744" y="0"/>
                  </a:cubicBezTo>
                  <a:cubicBezTo>
                    <a:pt x="629164" y="0"/>
                    <a:pt x="677346" y="30759"/>
                    <a:pt x="700362" y="80232"/>
                  </a:cubicBezTo>
                  <a:cubicBezTo>
                    <a:pt x="718430" y="119165"/>
                    <a:pt x="756287" y="143471"/>
                    <a:pt x="799307" y="143471"/>
                  </a:cubicBezTo>
                  <a:lnTo>
                    <a:pt x="799307" y="143471"/>
                  </a:lnTo>
                  <a:cubicBezTo>
                    <a:pt x="842327" y="143471"/>
                    <a:pt x="880184" y="119165"/>
                    <a:pt x="898253" y="80232"/>
                  </a:cubicBezTo>
                  <a:cubicBezTo>
                    <a:pt x="921483" y="30759"/>
                    <a:pt x="969450" y="0"/>
                    <a:pt x="1024085" y="0"/>
                  </a:cubicBezTo>
                  <a:cubicBezTo>
                    <a:pt x="1078720" y="0"/>
                    <a:pt x="1126688" y="30759"/>
                    <a:pt x="1149703" y="80232"/>
                  </a:cubicBezTo>
                  <a:cubicBezTo>
                    <a:pt x="1167771" y="119165"/>
                    <a:pt x="1205629" y="143471"/>
                    <a:pt x="1248648" y="143471"/>
                  </a:cubicBezTo>
                  <a:cubicBezTo>
                    <a:pt x="1291668" y="143471"/>
                    <a:pt x="1329526" y="119165"/>
                    <a:pt x="1347594" y="80232"/>
                  </a:cubicBezTo>
                  <a:cubicBezTo>
                    <a:pt x="1370610" y="30759"/>
                    <a:pt x="1418792" y="0"/>
                    <a:pt x="1473212" y="0"/>
                  </a:cubicBezTo>
                  <a:cubicBezTo>
                    <a:pt x="1527847" y="0"/>
                    <a:pt x="1576029" y="30759"/>
                    <a:pt x="1598829" y="80232"/>
                  </a:cubicBezTo>
                  <a:lnTo>
                    <a:pt x="1572157" y="92492"/>
                  </a:lnTo>
                  <a:cubicBezTo>
                    <a:pt x="1554089" y="53560"/>
                    <a:pt x="1516016" y="29253"/>
                    <a:pt x="1473212" y="29253"/>
                  </a:cubicBezTo>
                  <a:cubicBezTo>
                    <a:pt x="1430192" y="29253"/>
                    <a:pt x="1392335" y="53560"/>
                    <a:pt x="1374266" y="92492"/>
                  </a:cubicBezTo>
                  <a:cubicBezTo>
                    <a:pt x="1351251" y="141965"/>
                    <a:pt x="1303069" y="172724"/>
                    <a:pt x="1248648" y="172724"/>
                  </a:cubicBezTo>
                  <a:close/>
                </a:path>
              </a:pathLst>
            </a:custGeom>
            <a:grpFill/>
            <a:ln w="21496"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grpSp>
      <p:grpSp>
        <p:nvGrpSpPr>
          <p:cNvPr id="12" name="Group 11">
            <a:extLst>
              <a:ext uri="{FF2B5EF4-FFF2-40B4-BE49-F238E27FC236}">
                <a16:creationId xmlns:a16="http://schemas.microsoft.com/office/drawing/2014/main" id="{D6B131DC-4B42-4E21-8EE4-FCF7D6602B71}"/>
              </a:ext>
              <a:ext uri="{C183D7F6-B498-43B3-948B-1728B52AA6E4}">
                <adec:decorative xmlns:adec="http://schemas.microsoft.com/office/drawing/2017/decorative" xmlns="" val="1"/>
              </a:ext>
            </a:extLst>
          </p:cNvPr>
          <p:cNvGrpSpPr/>
          <p:nvPr userDrawn="1"/>
        </p:nvGrpSpPr>
        <p:grpSpPr>
          <a:xfrm>
            <a:off x="8164324" y="464456"/>
            <a:ext cx="699150" cy="699150"/>
            <a:chOff x="10791258" y="619275"/>
            <a:chExt cx="932200" cy="932200"/>
          </a:xfrm>
        </p:grpSpPr>
        <p:sp>
          <p:nvSpPr>
            <p:cNvPr id="13" name="Graphic 212">
              <a:extLst>
                <a:ext uri="{FF2B5EF4-FFF2-40B4-BE49-F238E27FC236}">
                  <a16:creationId xmlns:a16="http://schemas.microsoft.com/office/drawing/2014/main" id="{D826499E-185F-4853-8982-212973714079}"/>
                </a:ext>
              </a:extLst>
            </p:cNvPr>
            <p:cNvSpPr/>
            <p:nvPr/>
          </p:nvSpPr>
          <p:spPr>
            <a:xfrm>
              <a:off x="10791258" y="619275"/>
              <a:ext cx="932200" cy="932200"/>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4" name="Graphic 212">
              <a:extLst>
                <a:ext uri="{FF2B5EF4-FFF2-40B4-BE49-F238E27FC236}">
                  <a16:creationId xmlns:a16="http://schemas.microsoft.com/office/drawing/2014/main" id="{4B93A407-DCC0-4287-A189-DAFDA6CE5D81}"/>
                </a:ext>
              </a:extLst>
            </p:cNvPr>
            <p:cNvSpPr/>
            <p:nvPr/>
          </p:nvSpPr>
          <p:spPr>
            <a:xfrm>
              <a:off x="10791258" y="619275"/>
              <a:ext cx="932200" cy="932200"/>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chemeClr val="accent3">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grpSp>
      <p:grpSp>
        <p:nvGrpSpPr>
          <p:cNvPr id="15" name="Group 14">
            <a:extLst>
              <a:ext uri="{FF2B5EF4-FFF2-40B4-BE49-F238E27FC236}">
                <a16:creationId xmlns:a16="http://schemas.microsoft.com/office/drawing/2014/main" id="{3B628FE6-4C4F-49A8-9B42-67396AB1B101}"/>
              </a:ext>
              <a:ext uri="{C183D7F6-B498-43B3-948B-1728B52AA6E4}">
                <adec:decorative xmlns:adec="http://schemas.microsoft.com/office/drawing/2017/decorative" xmlns="" val="1"/>
              </a:ext>
            </a:extLst>
          </p:cNvPr>
          <p:cNvGrpSpPr/>
          <p:nvPr userDrawn="1"/>
        </p:nvGrpSpPr>
        <p:grpSpPr>
          <a:xfrm>
            <a:off x="7973401" y="3720816"/>
            <a:ext cx="864008" cy="864017"/>
            <a:chOff x="10154386" y="4452483"/>
            <a:chExt cx="1443404" cy="1443418"/>
          </a:xfrm>
          <a:solidFill>
            <a:schemeClr val="tx1"/>
          </a:solidFill>
        </p:grpSpPr>
        <p:grpSp>
          <p:nvGrpSpPr>
            <p:cNvPr id="16" name="Graphic 4">
              <a:extLst>
                <a:ext uri="{FF2B5EF4-FFF2-40B4-BE49-F238E27FC236}">
                  <a16:creationId xmlns:a16="http://schemas.microsoft.com/office/drawing/2014/main" id="{31A752B8-0B61-4973-8AE2-32B13026F5D0}"/>
                </a:ext>
              </a:extLst>
            </p:cNvPr>
            <p:cNvGrpSpPr/>
            <p:nvPr/>
          </p:nvGrpSpPr>
          <p:grpSpPr>
            <a:xfrm>
              <a:off x="10154386" y="4452483"/>
              <a:ext cx="1443404" cy="1443418"/>
              <a:chOff x="5734037" y="3067039"/>
              <a:chExt cx="724483" cy="724489"/>
            </a:xfrm>
            <a:grpFill/>
          </p:grpSpPr>
          <p:sp>
            <p:nvSpPr>
              <p:cNvPr id="189" name="Freeform: Shape 188">
                <a:extLst>
                  <a:ext uri="{FF2B5EF4-FFF2-40B4-BE49-F238E27FC236}">
                    <a16:creationId xmlns:a16="http://schemas.microsoft.com/office/drawing/2014/main" id="{5B0C923D-2B15-4591-91AF-7076EB2D39DF}"/>
                  </a:ext>
                </a:extLst>
              </p:cNvPr>
              <p:cNvSpPr/>
              <p:nvPr/>
            </p:nvSpPr>
            <p:spPr>
              <a:xfrm>
                <a:off x="5734038" y="3067039"/>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0" name="Freeform: Shape 189">
                <a:extLst>
                  <a:ext uri="{FF2B5EF4-FFF2-40B4-BE49-F238E27FC236}">
                    <a16:creationId xmlns:a16="http://schemas.microsoft.com/office/drawing/2014/main" id="{F67576B0-A9FB-4DBF-AAB2-BC4FE937A4D4}"/>
                  </a:ext>
                </a:extLst>
              </p:cNvPr>
              <p:cNvSpPr/>
              <p:nvPr/>
            </p:nvSpPr>
            <p:spPr>
              <a:xfrm>
                <a:off x="5793283"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1" name="Freeform: Shape 190">
                <a:extLst>
                  <a:ext uri="{FF2B5EF4-FFF2-40B4-BE49-F238E27FC236}">
                    <a16:creationId xmlns:a16="http://schemas.microsoft.com/office/drawing/2014/main" id="{78EDA74C-F639-4A1A-AF63-97CE1722791F}"/>
                  </a:ext>
                </a:extLst>
              </p:cNvPr>
              <p:cNvSpPr/>
              <p:nvPr/>
            </p:nvSpPr>
            <p:spPr>
              <a:xfrm>
                <a:off x="5852433"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2" name="Freeform: Shape 191">
                <a:extLst>
                  <a:ext uri="{FF2B5EF4-FFF2-40B4-BE49-F238E27FC236}">
                    <a16:creationId xmlns:a16="http://schemas.microsoft.com/office/drawing/2014/main" id="{47349CA4-9AF7-4B7C-B97D-32FCC9A753C0}"/>
                  </a:ext>
                </a:extLst>
              </p:cNvPr>
              <p:cNvSpPr/>
              <p:nvPr/>
            </p:nvSpPr>
            <p:spPr>
              <a:xfrm>
                <a:off x="591167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3" name="Freeform: Shape 192">
                <a:extLst>
                  <a:ext uri="{FF2B5EF4-FFF2-40B4-BE49-F238E27FC236}">
                    <a16:creationId xmlns:a16="http://schemas.microsoft.com/office/drawing/2014/main" id="{DBBF3B76-9FD5-449B-9E6D-B2AE17BCC28F}"/>
                  </a:ext>
                </a:extLst>
              </p:cNvPr>
              <p:cNvSpPr/>
              <p:nvPr/>
            </p:nvSpPr>
            <p:spPr>
              <a:xfrm>
                <a:off x="597082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4" name="Freeform: Shape 193">
                <a:extLst>
                  <a:ext uri="{FF2B5EF4-FFF2-40B4-BE49-F238E27FC236}">
                    <a16:creationId xmlns:a16="http://schemas.microsoft.com/office/drawing/2014/main" id="{E83A7097-449B-446C-9207-5C00FAB2EE58}"/>
                  </a:ext>
                </a:extLst>
              </p:cNvPr>
              <p:cNvSpPr/>
              <p:nvPr/>
            </p:nvSpPr>
            <p:spPr>
              <a:xfrm>
                <a:off x="6030074"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5" name="Freeform: Shape 194">
                <a:extLst>
                  <a:ext uri="{FF2B5EF4-FFF2-40B4-BE49-F238E27FC236}">
                    <a16:creationId xmlns:a16="http://schemas.microsoft.com/office/drawing/2014/main" id="{E8BCF978-C1B0-4C0E-885B-67F829DF35F5}"/>
                  </a:ext>
                </a:extLst>
              </p:cNvPr>
              <p:cNvSpPr/>
              <p:nvPr/>
            </p:nvSpPr>
            <p:spPr>
              <a:xfrm>
                <a:off x="608922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6" name="Freeform: Shape 195">
                <a:extLst>
                  <a:ext uri="{FF2B5EF4-FFF2-40B4-BE49-F238E27FC236}">
                    <a16:creationId xmlns:a16="http://schemas.microsoft.com/office/drawing/2014/main" id="{5F8A090D-EE01-4AE0-9B9D-A052A136192E}"/>
                  </a:ext>
                </a:extLst>
              </p:cNvPr>
              <p:cNvSpPr/>
              <p:nvPr/>
            </p:nvSpPr>
            <p:spPr>
              <a:xfrm>
                <a:off x="5734038" y="3126284"/>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7" name="Freeform: Shape 196">
                <a:extLst>
                  <a:ext uri="{FF2B5EF4-FFF2-40B4-BE49-F238E27FC236}">
                    <a16:creationId xmlns:a16="http://schemas.microsoft.com/office/drawing/2014/main" id="{F4973935-CD40-43B9-85EE-A0891CDFDFB7}"/>
                  </a:ext>
                </a:extLst>
              </p:cNvPr>
              <p:cNvSpPr/>
              <p:nvPr/>
            </p:nvSpPr>
            <p:spPr>
              <a:xfrm>
                <a:off x="5793283" y="312628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8" name="Freeform: Shape 197">
                <a:extLst>
                  <a:ext uri="{FF2B5EF4-FFF2-40B4-BE49-F238E27FC236}">
                    <a16:creationId xmlns:a16="http://schemas.microsoft.com/office/drawing/2014/main" id="{09BF59A1-43BA-4CAA-B07E-0753B83A0711}"/>
                  </a:ext>
                </a:extLst>
              </p:cNvPr>
              <p:cNvSpPr/>
              <p:nvPr/>
            </p:nvSpPr>
            <p:spPr>
              <a:xfrm>
                <a:off x="5852433"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9" name="Freeform: Shape 198">
                <a:extLst>
                  <a:ext uri="{FF2B5EF4-FFF2-40B4-BE49-F238E27FC236}">
                    <a16:creationId xmlns:a16="http://schemas.microsoft.com/office/drawing/2014/main" id="{F7F71212-DEF7-4416-8DD0-706B9D618165}"/>
                  </a:ext>
                </a:extLst>
              </p:cNvPr>
              <p:cNvSpPr/>
              <p:nvPr/>
            </p:nvSpPr>
            <p:spPr>
              <a:xfrm>
                <a:off x="591167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0" name="Freeform: Shape 199">
                <a:extLst>
                  <a:ext uri="{FF2B5EF4-FFF2-40B4-BE49-F238E27FC236}">
                    <a16:creationId xmlns:a16="http://schemas.microsoft.com/office/drawing/2014/main" id="{61491CF5-2443-474B-83A8-EED5E8ABCCEB}"/>
                  </a:ext>
                </a:extLst>
              </p:cNvPr>
              <p:cNvSpPr/>
              <p:nvPr/>
            </p:nvSpPr>
            <p:spPr>
              <a:xfrm>
                <a:off x="597082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1" name="Freeform: Shape 200">
                <a:extLst>
                  <a:ext uri="{FF2B5EF4-FFF2-40B4-BE49-F238E27FC236}">
                    <a16:creationId xmlns:a16="http://schemas.microsoft.com/office/drawing/2014/main" id="{7A1D052A-A011-4CC1-9757-2742CF613DDE}"/>
                  </a:ext>
                </a:extLst>
              </p:cNvPr>
              <p:cNvSpPr/>
              <p:nvPr/>
            </p:nvSpPr>
            <p:spPr>
              <a:xfrm>
                <a:off x="6030073" y="3126284"/>
                <a:ext cx="14097" cy="14097"/>
              </a:xfrm>
              <a:custGeom>
                <a:avLst/>
                <a:gdLst>
                  <a:gd name="connsiteX0" fmla="*/ 14097 w 14097"/>
                  <a:gd name="connsiteY0" fmla="*/ 7049 h 14097"/>
                  <a:gd name="connsiteX1" fmla="*/ 7048 w 14097"/>
                  <a:gd name="connsiteY1" fmla="*/ 14097 h 14097"/>
                  <a:gd name="connsiteX2" fmla="*/ 0 w 14097"/>
                  <a:gd name="connsiteY2" fmla="*/ 7049 h 14097"/>
                  <a:gd name="connsiteX3" fmla="*/ 7048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2" name="Freeform: Shape 201">
                <a:extLst>
                  <a:ext uri="{FF2B5EF4-FFF2-40B4-BE49-F238E27FC236}">
                    <a16:creationId xmlns:a16="http://schemas.microsoft.com/office/drawing/2014/main" id="{15DD3330-9838-49F4-9837-D557F3577937}"/>
                  </a:ext>
                </a:extLst>
              </p:cNvPr>
              <p:cNvSpPr/>
              <p:nvPr/>
            </p:nvSpPr>
            <p:spPr>
              <a:xfrm>
                <a:off x="6089224"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3" name="Freeform: Shape 202">
                <a:extLst>
                  <a:ext uri="{FF2B5EF4-FFF2-40B4-BE49-F238E27FC236}">
                    <a16:creationId xmlns:a16="http://schemas.microsoft.com/office/drawing/2014/main" id="{085E7E4A-1EBD-4D0A-89D3-0E91CE94BB34}"/>
                  </a:ext>
                </a:extLst>
              </p:cNvPr>
              <p:cNvSpPr/>
              <p:nvPr/>
            </p:nvSpPr>
            <p:spPr>
              <a:xfrm>
                <a:off x="5734038" y="318543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4" name="Freeform: Shape 203">
                <a:extLst>
                  <a:ext uri="{FF2B5EF4-FFF2-40B4-BE49-F238E27FC236}">
                    <a16:creationId xmlns:a16="http://schemas.microsoft.com/office/drawing/2014/main" id="{98509262-3560-484E-B2A3-65F83E2AFF4B}"/>
                  </a:ext>
                </a:extLst>
              </p:cNvPr>
              <p:cNvSpPr/>
              <p:nvPr/>
            </p:nvSpPr>
            <p:spPr>
              <a:xfrm>
                <a:off x="5793283"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5" name="Freeform: Shape 204">
                <a:extLst>
                  <a:ext uri="{FF2B5EF4-FFF2-40B4-BE49-F238E27FC236}">
                    <a16:creationId xmlns:a16="http://schemas.microsoft.com/office/drawing/2014/main" id="{82C01EF0-EFE1-4857-9C0F-983EF16648B2}"/>
                  </a:ext>
                </a:extLst>
              </p:cNvPr>
              <p:cNvSpPr/>
              <p:nvPr/>
            </p:nvSpPr>
            <p:spPr>
              <a:xfrm>
                <a:off x="5852433"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6" name="Freeform: Shape 205">
                <a:extLst>
                  <a:ext uri="{FF2B5EF4-FFF2-40B4-BE49-F238E27FC236}">
                    <a16:creationId xmlns:a16="http://schemas.microsoft.com/office/drawing/2014/main" id="{B35C6DB3-278C-4B06-AEE3-44D85C12E1AE}"/>
                  </a:ext>
                </a:extLst>
              </p:cNvPr>
              <p:cNvSpPr/>
              <p:nvPr/>
            </p:nvSpPr>
            <p:spPr>
              <a:xfrm>
                <a:off x="591167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7" name="Freeform: Shape 206">
                <a:extLst>
                  <a:ext uri="{FF2B5EF4-FFF2-40B4-BE49-F238E27FC236}">
                    <a16:creationId xmlns:a16="http://schemas.microsoft.com/office/drawing/2014/main" id="{13D90D10-B54E-4E2F-B5C7-3F4F5AA85C5C}"/>
                  </a:ext>
                </a:extLst>
              </p:cNvPr>
              <p:cNvSpPr/>
              <p:nvPr/>
            </p:nvSpPr>
            <p:spPr>
              <a:xfrm>
                <a:off x="597082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8" name="Freeform: Shape 207">
                <a:extLst>
                  <a:ext uri="{FF2B5EF4-FFF2-40B4-BE49-F238E27FC236}">
                    <a16:creationId xmlns:a16="http://schemas.microsoft.com/office/drawing/2014/main" id="{BCF88EFC-8669-4711-B4D8-18F82A715203}"/>
                  </a:ext>
                </a:extLst>
              </p:cNvPr>
              <p:cNvSpPr/>
              <p:nvPr/>
            </p:nvSpPr>
            <p:spPr>
              <a:xfrm>
                <a:off x="6030074"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9" name="Freeform: Shape 208">
                <a:extLst>
                  <a:ext uri="{FF2B5EF4-FFF2-40B4-BE49-F238E27FC236}">
                    <a16:creationId xmlns:a16="http://schemas.microsoft.com/office/drawing/2014/main" id="{1C7E26B7-A2C7-4069-94EE-F81FBFCC4F88}"/>
                  </a:ext>
                </a:extLst>
              </p:cNvPr>
              <p:cNvSpPr/>
              <p:nvPr/>
            </p:nvSpPr>
            <p:spPr>
              <a:xfrm>
                <a:off x="6089224"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0" name="Freeform: Shape 209">
                <a:extLst>
                  <a:ext uri="{FF2B5EF4-FFF2-40B4-BE49-F238E27FC236}">
                    <a16:creationId xmlns:a16="http://schemas.microsoft.com/office/drawing/2014/main" id="{45992884-B014-448F-B303-A6346A877A4E}"/>
                  </a:ext>
                </a:extLst>
              </p:cNvPr>
              <p:cNvSpPr/>
              <p:nvPr/>
            </p:nvSpPr>
            <p:spPr>
              <a:xfrm>
                <a:off x="5734038" y="324467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1" name="Freeform: Shape 210">
                <a:extLst>
                  <a:ext uri="{FF2B5EF4-FFF2-40B4-BE49-F238E27FC236}">
                    <a16:creationId xmlns:a16="http://schemas.microsoft.com/office/drawing/2014/main" id="{CE046B60-49AE-4A06-93E1-022974B3A738}"/>
                  </a:ext>
                </a:extLst>
              </p:cNvPr>
              <p:cNvSpPr/>
              <p:nvPr/>
            </p:nvSpPr>
            <p:spPr>
              <a:xfrm>
                <a:off x="5793283" y="3244677"/>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2" name="Freeform: Shape 211">
                <a:extLst>
                  <a:ext uri="{FF2B5EF4-FFF2-40B4-BE49-F238E27FC236}">
                    <a16:creationId xmlns:a16="http://schemas.microsoft.com/office/drawing/2014/main" id="{48BEAE27-271C-428D-B5EF-F87F7359F6F0}"/>
                  </a:ext>
                </a:extLst>
              </p:cNvPr>
              <p:cNvSpPr/>
              <p:nvPr/>
            </p:nvSpPr>
            <p:spPr>
              <a:xfrm>
                <a:off x="5852433"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3" name="Freeform: Shape 212">
                <a:extLst>
                  <a:ext uri="{FF2B5EF4-FFF2-40B4-BE49-F238E27FC236}">
                    <a16:creationId xmlns:a16="http://schemas.microsoft.com/office/drawing/2014/main" id="{A5A27244-274D-4D7E-A8D4-73F2256E8BA1}"/>
                  </a:ext>
                </a:extLst>
              </p:cNvPr>
              <p:cNvSpPr/>
              <p:nvPr/>
            </p:nvSpPr>
            <p:spPr>
              <a:xfrm>
                <a:off x="591167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4" name="Freeform: Shape 213">
                <a:extLst>
                  <a:ext uri="{FF2B5EF4-FFF2-40B4-BE49-F238E27FC236}">
                    <a16:creationId xmlns:a16="http://schemas.microsoft.com/office/drawing/2014/main" id="{15FC6F33-B59A-4CCB-A310-45A01574AAD8}"/>
                  </a:ext>
                </a:extLst>
              </p:cNvPr>
              <p:cNvSpPr/>
              <p:nvPr/>
            </p:nvSpPr>
            <p:spPr>
              <a:xfrm>
                <a:off x="597082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5" name="Freeform: Shape 214">
                <a:extLst>
                  <a:ext uri="{FF2B5EF4-FFF2-40B4-BE49-F238E27FC236}">
                    <a16:creationId xmlns:a16="http://schemas.microsoft.com/office/drawing/2014/main" id="{58C7C55E-C35B-401E-9068-C22F2EE68C87}"/>
                  </a:ext>
                </a:extLst>
              </p:cNvPr>
              <p:cNvSpPr/>
              <p:nvPr/>
            </p:nvSpPr>
            <p:spPr>
              <a:xfrm>
                <a:off x="6030073" y="324467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6" name="Freeform: Shape 215">
                <a:extLst>
                  <a:ext uri="{FF2B5EF4-FFF2-40B4-BE49-F238E27FC236}">
                    <a16:creationId xmlns:a16="http://schemas.microsoft.com/office/drawing/2014/main" id="{4B71E863-1694-4370-85E9-A4DC7C544C30}"/>
                  </a:ext>
                </a:extLst>
              </p:cNvPr>
              <p:cNvSpPr/>
              <p:nvPr/>
            </p:nvSpPr>
            <p:spPr>
              <a:xfrm>
                <a:off x="6089224"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7" name="Freeform: Shape 216">
                <a:extLst>
                  <a:ext uri="{FF2B5EF4-FFF2-40B4-BE49-F238E27FC236}">
                    <a16:creationId xmlns:a16="http://schemas.microsoft.com/office/drawing/2014/main" id="{B6F72D1A-6378-49EA-83B7-3EF500030604}"/>
                  </a:ext>
                </a:extLst>
              </p:cNvPr>
              <p:cNvSpPr/>
              <p:nvPr/>
            </p:nvSpPr>
            <p:spPr>
              <a:xfrm>
                <a:off x="5734038" y="330382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8" name="Freeform: Shape 217">
                <a:extLst>
                  <a:ext uri="{FF2B5EF4-FFF2-40B4-BE49-F238E27FC236}">
                    <a16:creationId xmlns:a16="http://schemas.microsoft.com/office/drawing/2014/main" id="{7D8F79E4-2781-44A0-A4FB-9F34DDD998C9}"/>
                  </a:ext>
                </a:extLst>
              </p:cNvPr>
              <p:cNvSpPr/>
              <p:nvPr/>
            </p:nvSpPr>
            <p:spPr>
              <a:xfrm>
                <a:off x="5793283"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9" name="Freeform: Shape 218">
                <a:extLst>
                  <a:ext uri="{FF2B5EF4-FFF2-40B4-BE49-F238E27FC236}">
                    <a16:creationId xmlns:a16="http://schemas.microsoft.com/office/drawing/2014/main" id="{112401E9-7F6C-44FD-BFDB-6AB513E34F13}"/>
                  </a:ext>
                </a:extLst>
              </p:cNvPr>
              <p:cNvSpPr/>
              <p:nvPr/>
            </p:nvSpPr>
            <p:spPr>
              <a:xfrm>
                <a:off x="5852433"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0" name="Freeform: Shape 219">
                <a:extLst>
                  <a:ext uri="{FF2B5EF4-FFF2-40B4-BE49-F238E27FC236}">
                    <a16:creationId xmlns:a16="http://schemas.microsoft.com/office/drawing/2014/main" id="{70EF4569-106C-4743-8A96-58E8F8914E44}"/>
                  </a:ext>
                </a:extLst>
              </p:cNvPr>
              <p:cNvSpPr/>
              <p:nvPr/>
            </p:nvSpPr>
            <p:spPr>
              <a:xfrm>
                <a:off x="591167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1" name="Freeform: Shape 220">
                <a:extLst>
                  <a:ext uri="{FF2B5EF4-FFF2-40B4-BE49-F238E27FC236}">
                    <a16:creationId xmlns:a16="http://schemas.microsoft.com/office/drawing/2014/main" id="{A8672656-3AB6-45FA-9178-6EEA584AC60F}"/>
                  </a:ext>
                </a:extLst>
              </p:cNvPr>
              <p:cNvSpPr/>
              <p:nvPr/>
            </p:nvSpPr>
            <p:spPr>
              <a:xfrm>
                <a:off x="597082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2" name="Freeform: Shape 221">
                <a:extLst>
                  <a:ext uri="{FF2B5EF4-FFF2-40B4-BE49-F238E27FC236}">
                    <a16:creationId xmlns:a16="http://schemas.microsoft.com/office/drawing/2014/main" id="{3BE34346-DF8F-40ED-9960-375A6B408972}"/>
                  </a:ext>
                </a:extLst>
              </p:cNvPr>
              <p:cNvSpPr/>
              <p:nvPr/>
            </p:nvSpPr>
            <p:spPr>
              <a:xfrm>
                <a:off x="6030073" y="330382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3" name="Freeform: Shape 222">
                <a:extLst>
                  <a:ext uri="{FF2B5EF4-FFF2-40B4-BE49-F238E27FC236}">
                    <a16:creationId xmlns:a16="http://schemas.microsoft.com/office/drawing/2014/main" id="{D2F41219-5DFE-4991-8A7E-D81EC1C2B5EE}"/>
                  </a:ext>
                </a:extLst>
              </p:cNvPr>
              <p:cNvSpPr/>
              <p:nvPr/>
            </p:nvSpPr>
            <p:spPr>
              <a:xfrm>
                <a:off x="608922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4" name="Freeform: Shape 223">
                <a:extLst>
                  <a:ext uri="{FF2B5EF4-FFF2-40B4-BE49-F238E27FC236}">
                    <a16:creationId xmlns:a16="http://schemas.microsoft.com/office/drawing/2014/main" id="{631B6AB5-7C4A-4437-A6BF-C6A236896589}"/>
                  </a:ext>
                </a:extLst>
              </p:cNvPr>
              <p:cNvSpPr/>
              <p:nvPr/>
            </p:nvSpPr>
            <p:spPr>
              <a:xfrm>
                <a:off x="5734038" y="3363074"/>
                <a:ext cx="14192" cy="14097"/>
              </a:xfrm>
              <a:custGeom>
                <a:avLst/>
                <a:gdLst>
                  <a:gd name="connsiteX0" fmla="*/ 14192 w 14192"/>
                  <a:gd name="connsiteY0" fmla="*/ 7048 h 14097"/>
                  <a:gd name="connsiteX1" fmla="*/ 7144 w 14192"/>
                  <a:gd name="connsiteY1" fmla="*/ 14097 h 14097"/>
                  <a:gd name="connsiteX2" fmla="*/ 0 w 14192"/>
                  <a:gd name="connsiteY2" fmla="*/ 7048 h 14097"/>
                  <a:gd name="connsiteX3" fmla="*/ 7049 w 14192"/>
                  <a:gd name="connsiteY3" fmla="*/ 0 h 14097"/>
                  <a:gd name="connsiteX4" fmla="*/ 14192 w 14192"/>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5" name="Freeform: Shape 224">
                <a:extLst>
                  <a:ext uri="{FF2B5EF4-FFF2-40B4-BE49-F238E27FC236}">
                    <a16:creationId xmlns:a16="http://schemas.microsoft.com/office/drawing/2014/main" id="{897203B5-EF0D-4F4C-A4B6-B5582F7D6A7E}"/>
                  </a:ext>
                </a:extLst>
              </p:cNvPr>
              <p:cNvSpPr/>
              <p:nvPr/>
            </p:nvSpPr>
            <p:spPr>
              <a:xfrm>
                <a:off x="5793283"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6" name="Freeform: Shape 225">
                <a:extLst>
                  <a:ext uri="{FF2B5EF4-FFF2-40B4-BE49-F238E27FC236}">
                    <a16:creationId xmlns:a16="http://schemas.microsoft.com/office/drawing/2014/main" id="{F7733105-9EB9-4EF2-8F40-6AD21A844C7D}"/>
                  </a:ext>
                </a:extLst>
              </p:cNvPr>
              <p:cNvSpPr/>
              <p:nvPr/>
            </p:nvSpPr>
            <p:spPr>
              <a:xfrm>
                <a:off x="5852433"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7" name="Freeform: Shape 226">
                <a:extLst>
                  <a:ext uri="{FF2B5EF4-FFF2-40B4-BE49-F238E27FC236}">
                    <a16:creationId xmlns:a16="http://schemas.microsoft.com/office/drawing/2014/main" id="{E63EBB4B-F5A7-4554-A0C3-AED6ACAE8C3F}"/>
                  </a:ext>
                </a:extLst>
              </p:cNvPr>
              <p:cNvSpPr/>
              <p:nvPr/>
            </p:nvSpPr>
            <p:spPr>
              <a:xfrm>
                <a:off x="591167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8" name="Freeform: Shape 227">
                <a:extLst>
                  <a:ext uri="{FF2B5EF4-FFF2-40B4-BE49-F238E27FC236}">
                    <a16:creationId xmlns:a16="http://schemas.microsoft.com/office/drawing/2014/main" id="{CCC74397-5624-4735-BE79-E16C6A12912A}"/>
                  </a:ext>
                </a:extLst>
              </p:cNvPr>
              <p:cNvSpPr/>
              <p:nvPr/>
            </p:nvSpPr>
            <p:spPr>
              <a:xfrm>
                <a:off x="597082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9" name="Freeform: Shape 228">
                <a:extLst>
                  <a:ext uri="{FF2B5EF4-FFF2-40B4-BE49-F238E27FC236}">
                    <a16:creationId xmlns:a16="http://schemas.microsoft.com/office/drawing/2014/main" id="{A9A30123-68A7-4CAF-ACA1-E089D30CE5F5}"/>
                  </a:ext>
                </a:extLst>
              </p:cNvPr>
              <p:cNvSpPr/>
              <p:nvPr/>
            </p:nvSpPr>
            <p:spPr>
              <a:xfrm>
                <a:off x="6030073" y="3363074"/>
                <a:ext cx="14097" cy="14097"/>
              </a:xfrm>
              <a:custGeom>
                <a:avLst/>
                <a:gdLst>
                  <a:gd name="connsiteX0" fmla="*/ 14097 w 14097"/>
                  <a:gd name="connsiteY0" fmla="*/ 7048 h 14097"/>
                  <a:gd name="connsiteX1" fmla="*/ 7048 w 14097"/>
                  <a:gd name="connsiteY1" fmla="*/ 14097 h 14097"/>
                  <a:gd name="connsiteX2" fmla="*/ 0 w 14097"/>
                  <a:gd name="connsiteY2" fmla="*/ 7048 h 14097"/>
                  <a:gd name="connsiteX3" fmla="*/ 7048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0" name="Freeform: Shape 229">
                <a:extLst>
                  <a:ext uri="{FF2B5EF4-FFF2-40B4-BE49-F238E27FC236}">
                    <a16:creationId xmlns:a16="http://schemas.microsoft.com/office/drawing/2014/main" id="{341E089E-6C28-47B4-8F8D-DC7B2964BFDE}"/>
                  </a:ext>
                </a:extLst>
              </p:cNvPr>
              <p:cNvSpPr/>
              <p:nvPr/>
            </p:nvSpPr>
            <p:spPr>
              <a:xfrm>
                <a:off x="608922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1" name="Freeform: Shape 230">
                <a:extLst>
                  <a:ext uri="{FF2B5EF4-FFF2-40B4-BE49-F238E27FC236}">
                    <a16:creationId xmlns:a16="http://schemas.microsoft.com/office/drawing/2014/main" id="{60C3E376-3FA2-4F28-8E26-5126E54F2D37}"/>
                  </a:ext>
                </a:extLst>
              </p:cNvPr>
              <p:cNvSpPr/>
              <p:nvPr/>
            </p:nvSpPr>
            <p:spPr>
              <a:xfrm>
                <a:off x="5734038" y="342222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2" name="Freeform: Shape 231">
                <a:extLst>
                  <a:ext uri="{FF2B5EF4-FFF2-40B4-BE49-F238E27FC236}">
                    <a16:creationId xmlns:a16="http://schemas.microsoft.com/office/drawing/2014/main" id="{4452E443-8362-453F-8594-E2C5D05D3398}"/>
                  </a:ext>
                </a:extLst>
              </p:cNvPr>
              <p:cNvSpPr/>
              <p:nvPr/>
            </p:nvSpPr>
            <p:spPr>
              <a:xfrm>
                <a:off x="5793283"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3" name="Freeform: Shape 232">
                <a:extLst>
                  <a:ext uri="{FF2B5EF4-FFF2-40B4-BE49-F238E27FC236}">
                    <a16:creationId xmlns:a16="http://schemas.microsoft.com/office/drawing/2014/main" id="{C2043C4D-27CC-45D6-9A62-966A77DD5812}"/>
                  </a:ext>
                </a:extLst>
              </p:cNvPr>
              <p:cNvSpPr/>
              <p:nvPr/>
            </p:nvSpPr>
            <p:spPr>
              <a:xfrm>
                <a:off x="5852433"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4" name="Freeform: Shape 233">
                <a:extLst>
                  <a:ext uri="{FF2B5EF4-FFF2-40B4-BE49-F238E27FC236}">
                    <a16:creationId xmlns:a16="http://schemas.microsoft.com/office/drawing/2014/main" id="{F2D98196-D099-495E-A828-A073967D67FB}"/>
                  </a:ext>
                </a:extLst>
              </p:cNvPr>
              <p:cNvSpPr/>
              <p:nvPr/>
            </p:nvSpPr>
            <p:spPr>
              <a:xfrm>
                <a:off x="591167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5" name="Freeform: Shape 234">
                <a:extLst>
                  <a:ext uri="{FF2B5EF4-FFF2-40B4-BE49-F238E27FC236}">
                    <a16:creationId xmlns:a16="http://schemas.microsoft.com/office/drawing/2014/main" id="{68586E33-BCEF-4B0E-95AC-B1E8EA25C65D}"/>
                  </a:ext>
                </a:extLst>
              </p:cNvPr>
              <p:cNvSpPr/>
              <p:nvPr/>
            </p:nvSpPr>
            <p:spPr>
              <a:xfrm>
                <a:off x="597082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6" name="Freeform: Shape 235">
                <a:extLst>
                  <a:ext uri="{FF2B5EF4-FFF2-40B4-BE49-F238E27FC236}">
                    <a16:creationId xmlns:a16="http://schemas.microsoft.com/office/drawing/2014/main" id="{D088D3EB-C95E-441B-8F56-F04DDB19F1B6}"/>
                  </a:ext>
                </a:extLst>
              </p:cNvPr>
              <p:cNvSpPr/>
              <p:nvPr/>
            </p:nvSpPr>
            <p:spPr>
              <a:xfrm>
                <a:off x="6030073" y="342222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7" name="Freeform: Shape 236">
                <a:extLst>
                  <a:ext uri="{FF2B5EF4-FFF2-40B4-BE49-F238E27FC236}">
                    <a16:creationId xmlns:a16="http://schemas.microsoft.com/office/drawing/2014/main" id="{635A3D28-BCDB-445F-800B-8DE8585F6A30}"/>
                  </a:ext>
                </a:extLst>
              </p:cNvPr>
              <p:cNvSpPr/>
              <p:nvPr/>
            </p:nvSpPr>
            <p:spPr>
              <a:xfrm>
                <a:off x="608922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8" name="Freeform: Shape 237">
                <a:extLst>
                  <a:ext uri="{FF2B5EF4-FFF2-40B4-BE49-F238E27FC236}">
                    <a16:creationId xmlns:a16="http://schemas.microsoft.com/office/drawing/2014/main" id="{49C1D7F6-B9CD-46FF-9058-CD4E3DC2EC5C}"/>
                  </a:ext>
                </a:extLst>
              </p:cNvPr>
              <p:cNvSpPr/>
              <p:nvPr/>
            </p:nvSpPr>
            <p:spPr>
              <a:xfrm>
                <a:off x="6148469"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6953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9" y="14097"/>
                    </a:cubicBezTo>
                    <a:cubicBezTo>
                      <a:pt x="3143" y="14097"/>
                      <a:pt x="0" y="10954"/>
                      <a:pt x="0" y="7049"/>
                    </a:cubicBezTo>
                    <a:cubicBezTo>
                      <a:pt x="0" y="3143"/>
                      <a:pt x="3048" y="0"/>
                      <a:pt x="6953"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9" name="Freeform: Shape 238">
                <a:extLst>
                  <a:ext uri="{FF2B5EF4-FFF2-40B4-BE49-F238E27FC236}">
                    <a16:creationId xmlns:a16="http://schemas.microsoft.com/office/drawing/2014/main" id="{9942B8B8-7819-434C-902E-8BF793967CF2}"/>
                  </a:ext>
                </a:extLst>
              </p:cNvPr>
              <p:cNvSpPr/>
              <p:nvPr/>
            </p:nvSpPr>
            <p:spPr>
              <a:xfrm>
                <a:off x="620762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0" name="Freeform: Shape 239">
                <a:extLst>
                  <a:ext uri="{FF2B5EF4-FFF2-40B4-BE49-F238E27FC236}">
                    <a16:creationId xmlns:a16="http://schemas.microsoft.com/office/drawing/2014/main" id="{CDF6FF28-FCCB-4FD3-B5EC-8F9E3F4A1F0B}"/>
                  </a:ext>
                </a:extLst>
              </p:cNvPr>
              <p:cNvSpPr/>
              <p:nvPr/>
            </p:nvSpPr>
            <p:spPr>
              <a:xfrm>
                <a:off x="6266865" y="3067039"/>
                <a:ext cx="14096" cy="14097"/>
              </a:xfrm>
              <a:custGeom>
                <a:avLst/>
                <a:gdLst>
                  <a:gd name="connsiteX0" fmla="*/ 14097 w 14096"/>
                  <a:gd name="connsiteY0" fmla="*/ 7049 h 14097"/>
                  <a:gd name="connsiteX1" fmla="*/ 7049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9" y="14097"/>
                    </a:cubicBezTo>
                    <a:cubicBezTo>
                      <a:pt x="3143" y="14097"/>
                      <a:pt x="0" y="10954"/>
                      <a:pt x="0" y="7049"/>
                    </a:cubicBezTo>
                    <a:cubicBezTo>
                      <a:pt x="0" y="3143"/>
                      <a:pt x="3048" y="0"/>
                      <a:pt x="6953" y="0"/>
                    </a:cubicBezTo>
                    <a:cubicBezTo>
                      <a:pt x="10859"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1" name="Freeform: Shape 240">
                <a:extLst>
                  <a:ext uri="{FF2B5EF4-FFF2-40B4-BE49-F238E27FC236}">
                    <a16:creationId xmlns:a16="http://schemas.microsoft.com/office/drawing/2014/main" id="{36634934-EC58-49CF-8AF5-0D1AD757663A}"/>
                  </a:ext>
                </a:extLst>
              </p:cNvPr>
              <p:cNvSpPr/>
              <p:nvPr/>
            </p:nvSpPr>
            <p:spPr>
              <a:xfrm>
                <a:off x="632601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2" name="Freeform: Shape 241">
                <a:extLst>
                  <a:ext uri="{FF2B5EF4-FFF2-40B4-BE49-F238E27FC236}">
                    <a16:creationId xmlns:a16="http://schemas.microsoft.com/office/drawing/2014/main" id="{2A938075-EEBB-426F-AAEF-8DB877F1BF9F}"/>
                  </a:ext>
                </a:extLst>
              </p:cNvPr>
              <p:cNvSpPr/>
              <p:nvPr/>
            </p:nvSpPr>
            <p:spPr>
              <a:xfrm>
                <a:off x="638526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048" y="0"/>
                      <a:pt x="6953" y="0"/>
                    </a:cubicBezTo>
                    <a:cubicBezTo>
                      <a:pt x="10858"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3" name="Freeform: Shape 242">
                <a:extLst>
                  <a:ext uri="{FF2B5EF4-FFF2-40B4-BE49-F238E27FC236}">
                    <a16:creationId xmlns:a16="http://schemas.microsoft.com/office/drawing/2014/main" id="{9CF2395A-C8FA-4CE0-BADE-AD9620DCAC97}"/>
                  </a:ext>
                </a:extLst>
              </p:cNvPr>
              <p:cNvSpPr/>
              <p:nvPr/>
            </p:nvSpPr>
            <p:spPr>
              <a:xfrm>
                <a:off x="644441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4" name="Freeform: Shape 243">
                <a:extLst>
                  <a:ext uri="{FF2B5EF4-FFF2-40B4-BE49-F238E27FC236}">
                    <a16:creationId xmlns:a16="http://schemas.microsoft.com/office/drawing/2014/main" id="{724C8CBB-AE30-4BDE-9609-6AD9DC4F1A8E}"/>
                  </a:ext>
                </a:extLst>
              </p:cNvPr>
              <p:cNvSpPr/>
              <p:nvPr/>
            </p:nvSpPr>
            <p:spPr>
              <a:xfrm>
                <a:off x="6148469" y="3126281"/>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5" name="Freeform: Shape 244">
                <a:extLst>
                  <a:ext uri="{FF2B5EF4-FFF2-40B4-BE49-F238E27FC236}">
                    <a16:creationId xmlns:a16="http://schemas.microsoft.com/office/drawing/2014/main" id="{75077D00-21A4-4EA4-A836-2E6F377DC283}"/>
                  </a:ext>
                </a:extLst>
              </p:cNvPr>
              <p:cNvSpPr/>
              <p:nvPr/>
            </p:nvSpPr>
            <p:spPr>
              <a:xfrm>
                <a:off x="620762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6" name="Freeform: Shape 245">
                <a:extLst>
                  <a:ext uri="{FF2B5EF4-FFF2-40B4-BE49-F238E27FC236}">
                    <a16:creationId xmlns:a16="http://schemas.microsoft.com/office/drawing/2014/main" id="{BFE1D84B-3E9B-4355-AB70-29BD0813469B}"/>
                  </a:ext>
                </a:extLst>
              </p:cNvPr>
              <p:cNvSpPr/>
              <p:nvPr/>
            </p:nvSpPr>
            <p:spPr>
              <a:xfrm>
                <a:off x="6266865" y="3126281"/>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7" name="Freeform: Shape 246">
                <a:extLst>
                  <a:ext uri="{FF2B5EF4-FFF2-40B4-BE49-F238E27FC236}">
                    <a16:creationId xmlns:a16="http://schemas.microsoft.com/office/drawing/2014/main" id="{7E91096F-72A7-40D5-8D94-E473A526218C}"/>
                  </a:ext>
                </a:extLst>
              </p:cNvPr>
              <p:cNvSpPr/>
              <p:nvPr/>
            </p:nvSpPr>
            <p:spPr>
              <a:xfrm>
                <a:off x="6326014"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8" name="Freeform: Shape 247">
                <a:extLst>
                  <a:ext uri="{FF2B5EF4-FFF2-40B4-BE49-F238E27FC236}">
                    <a16:creationId xmlns:a16="http://schemas.microsoft.com/office/drawing/2014/main" id="{0EB75445-3187-4401-86FD-A85FA620C85F}"/>
                  </a:ext>
                </a:extLst>
              </p:cNvPr>
              <p:cNvSpPr/>
              <p:nvPr/>
            </p:nvSpPr>
            <p:spPr>
              <a:xfrm>
                <a:off x="638526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9" name="Freeform: Shape 248">
                <a:extLst>
                  <a:ext uri="{FF2B5EF4-FFF2-40B4-BE49-F238E27FC236}">
                    <a16:creationId xmlns:a16="http://schemas.microsoft.com/office/drawing/2014/main" id="{1D95CA2E-E941-4D26-B91B-7CDAE8112AC0}"/>
                  </a:ext>
                </a:extLst>
              </p:cNvPr>
              <p:cNvSpPr/>
              <p:nvPr/>
            </p:nvSpPr>
            <p:spPr>
              <a:xfrm>
                <a:off x="6444410" y="312628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0" name="Freeform: Shape 249">
                <a:extLst>
                  <a:ext uri="{FF2B5EF4-FFF2-40B4-BE49-F238E27FC236}">
                    <a16:creationId xmlns:a16="http://schemas.microsoft.com/office/drawing/2014/main" id="{8A8CFFAC-749B-484A-8C17-634131D9C095}"/>
                  </a:ext>
                </a:extLst>
              </p:cNvPr>
              <p:cNvSpPr/>
              <p:nvPr/>
            </p:nvSpPr>
            <p:spPr>
              <a:xfrm>
                <a:off x="6148469" y="3185433"/>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1" name="Freeform: Shape 250">
                <a:extLst>
                  <a:ext uri="{FF2B5EF4-FFF2-40B4-BE49-F238E27FC236}">
                    <a16:creationId xmlns:a16="http://schemas.microsoft.com/office/drawing/2014/main" id="{3125F4A7-EAFB-49D2-848F-8D0C044BE27B}"/>
                  </a:ext>
                </a:extLst>
              </p:cNvPr>
              <p:cNvSpPr/>
              <p:nvPr/>
            </p:nvSpPr>
            <p:spPr>
              <a:xfrm>
                <a:off x="620762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2" name="Freeform: Shape 251">
                <a:extLst>
                  <a:ext uri="{FF2B5EF4-FFF2-40B4-BE49-F238E27FC236}">
                    <a16:creationId xmlns:a16="http://schemas.microsoft.com/office/drawing/2014/main" id="{B9B9B3BB-4B8E-4C75-96EA-4C2048C6F232}"/>
                  </a:ext>
                </a:extLst>
              </p:cNvPr>
              <p:cNvSpPr/>
              <p:nvPr/>
            </p:nvSpPr>
            <p:spPr>
              <a:xfrm>
                <a:off x="6266865" y="3185433"/>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3" name="Freeform: Shape 252">
                <a:extLst>
                  <a:ext uri="{FF2B5EF4-FFF2-40B4-BE49-F238E27FC236}">
                    <a16:creationId xmlns:a16="http://schemas.microsoft.com/office/drawing/2014/main" id="{9017FF82-4E07-4642-AD9E-BB96D42BD639}"/>
                  </a:ext>
                </a:extLst>
              </p:cNvPr>
              <p:cNvSpPr/>
              <p:nvPr/>
            </p:nvSpPr>
            <p:spPr>
              <a:xfrm>
                <a:off x="6326014"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4" name="Freeform: Shape 253">
                <a:extLst>
                  <a:ext uri="{FF2B5EF4-FFF2-40B4-BE49-F238E27FC236}">
                    <a16:creationId xmlns:a16="http://schemas.microsoft.com/office/drawing/2014/main" id="{6B1971AE-14DC-4045-882C-6B2E0CE3B16B}"/>
                  </a:ext>
                </a:extLst>
              </p:cNvPr>
              <p:cNvSpPr/>
              <p:nvPr/>
            </p:nvSpPr>
            <p:spPr>
              <a:xfrm>
                <a:off x="638526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5" name="Freeform: Shape 254">
                <a:extLst>
                  <a:ext uri="{FF2B5EF4-FFF2-40B4-BE49-F238E27FC236}">
                    <a16:creationId xmlns:a16="http://schemas.microsoft.com/office/drawing/2014/main" id="{AA8CD457-0651-4ECC-81C7-C21EE779EDDA}"/>
                  </a:ext>
                </a:extLst>
              </p:cNvPr>
              <p:cNvSpPr/>
              <p:nvPr/>
            </p:nvSpPr>
            <p:spPr>
              <a:xfrm>
                <a:off x="6444410" y="3185432"/>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6" name="Freeform: Shape 255">
                <a:extLst>
                  <a:ext uri="{FF2B5EF4-FFF2-40B4-BE49-F238E27FC236}">
                    <a16:creationId xmlns:a16="http://schemas.microsoft.com/office/drawing/2014/main" id="{65833210-69A5-47FF-8EA9-99D9E28B8D6D}"/>
                  </a:ext>
                </a:extLst>
              </p:cNvPr>
              <p:cNvSpPr/>
              <p:nvPr/>
            </p:nvSpPr>
            <p:spPr>
              <a:xfrm>
                <a:off x="6148469" y="3244676"/>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7" name="Freeform: Shape 256">
                <a:extLst>
                  <a:ext uri="{FF2B5EF4-FFF2-40B4-BE49-F238E27FC236}">
                    <a16:creationId xmlns:a16="http://schemas.microsoft.com/office/drawing/2014/main" id="{C04C7A32-9FAA-4F63-9C56-4924343522E5}"/>
                  </a:ext>
                </a:extLst>
              </p:cNvPr>
              <p:cNvSpPr/>
              <p:nvPr/>
            </p:nvSpPr>
            <p:spPr>
              <a:xfrm>
                <a:off x="620762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8" name="Freeform: Shape 257">
                <a:extLst>
                  <a:ext uri="{FF2B5EF4-FFF2-40B4-BE49-F238E27FC236}">
                    <a16:creationId xmlns:a16="http://schemas.microsoft.com/office/drawing/2014/main" id="{49DC777D-C77C-4470-B4AF-C884887B0C9C}"/>
                  </a:ext>
                </a:extLst>
              </p:cNvPr>
              <p:cNvSpPr/>
              <p:nvPr/>
            </p:nvSpPr>
            <p:spPr>
              <a:xfrm>
                <a:off x="6266865" y="3244676"/>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9" name="Freeform: Shape 258">
                <a:extLst>
                  <a:ext uri="{FF2B5EF4-FFF2-40B4-BE49-F238E27FC236}">
                    <a16:creationId xmlns:a16="http://schemas.microsoft.com/office/drawing/2014/main" id="{158BF1D0-C876-400E-A139-5CE34D9B7581}"/>
                  </a:ext>
                </a:extLst>
              </p:cNvPr>
              <p:cNvSpPr/>
              <p:nvPr/>
            </p:nvSpPr>
            <p:spPr>
              <a:xfrm>
                <a:off x="6326014"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0" name="Freeform: Shape 259">
                <a:extLst>
                  <a:ext uri="{FF2B5EF4-FFF2-40B4-BE49-F238E27FC236}">
                    <a16:creationId xmlns:a16="http://schemas.microsoft.com/office/drawing/2014/main" id="{12B92D7A-51EB-488C-8B4A-2DA48105CA0C}"/>
                  </a:ext>
                </a:extLst>
              </p:cNvPr>
              <p:cNvSpPr/>
              <p:nvPr/>
            </p:nvSpPr>
            <p:spPr>
              <a:xfrm>
                <a:off x="638526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1" name="Freeform: Shape 260">
                <a:extLst>
                  <a:ext uri="{FF2B5EF4-FFF2-40B4-BE49-F238E27FC236}">
                    <a16:creationId xmlns:a16="http://schemas.microsoft.com/office/drawing/2014/main" id="{36F35362-EC6C-4B99-8EA0-B2E5F7E57544}"/>
                  </a:ext>
                </a:extLst>
              </p:cNvPr>
              <p:cNvSpPr/>
              <p:nvPr/>
            </p:nvSpPr>
            <p:spPr>
              <a:xfrm>
                <a:off x="6444410" y="324467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2" name="Freeform: Shape 261">
                <a:extLst>
                  <a:ext uri="{FF2B5EF4-FFF2-40B4-BE49-F238E27FC236}">
                    <a16:creationId xmlns:a16="http://schemas.microsoft.com/office/drawing/2014/main" id="{E198CDFA-E8E4-4AB8-8152-70D0A9901701}"/>
                  </a:ext>
                </a:extLst>
              </p:cNvPr>
              <p:cNvSpPr/>
              <p:nvPr/>
            </p:nvSpPr>
            <p:spPr>
              <a:xfrm>
                <a:off x="6148469"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3" name="Freeform: Shape 262">
                <a:extLst>
                  <a:ext uri="{FF2B5EF4-FFF2-40B4-BE49-F238E27FC236}">
                    <a16:creationId xmlns:a16="http://schemas.microsoft.com/office/drawing/2014/main" id="{0A6E867E-E4D5-4962-B1E3-40C1EBAD4540}"/>
                  </a:ext>
                </a:extLst>
              </p:cNvPr>
              <p:cNvSpPr/>
              <p:nvPr/>
            </p:nvSpPr>
            <p:spPr>
              <a:xfrm>
                <a:off x="620762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4" name="Freeform: Shape 263">
                <a:extLst>
                  <a:ext uri="{FF2B5EF4-FFF2-40B4-BE49-F238E27FC236}">
                    <a16:creationId xmlns:a16="http://schemas.microsoft.com/office/drawing/2014/main" id="{80E476FD-96DE-446C-867F-9D329645237F}"/>
                  </a:ext>
                </a:extLst>
              </p:cNvPr>
              <p:cNvSpPr/>
              <p:nvPr/>
            </p:nvSpPr>
            <p:spPr>
              <a:xfrm>
                <a:off x="6266865" y="3303829"/>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5" name="Freeform: Shape 264">
                <a:extLst>
                  <a:ext uri="{FF2B5EF4-FFF2-40B4-BE49-F238E27FC236}">
                    <a16:creationId xmlns:a16="http://schemas.microsoft.com/office/drawing/2014/main" id="{2A4B1DEE-9DE5-44FA-999C-35FC48FFD87B}"/>
                  </a:ext>
                </a:extLst>
              </p:cNvPr>
              <p:cNvSpPr/>
              <p:nvPr/>
            </p:nvSpPr>
            <p:spPr>
              <a:xfrm>
                <a:off x="632601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6" name="Freeform: Shape 265">
                <a:extLst>
                  <a:ext uri="{FF2B5EF4-FFF2-40B4-BE49-F238E27FC236}">
                    <a16:creationId xmlns:a16="http://schemas.microsoft.com/office/drawing/2014/main" id="{B0466F5E-3E96-4F81-8A0D-03BE09971D09}"/>
                  </a:ext>
                </a:extLst>
              </p:cNvPr>
              <p:cNvSpPr/>
              <p:nvPr/>
            </p:nvSpPr>
            <p:spPr>
              <a:xfrm>
                <a:off x="638526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7" name="Freeform: Shape 266">
                <a:extLst>
                  <a:ext uri="{FF2B5EF4-FFF2-40B4-BE49-F238E27FC236}">
                    <a16:creationId xmlns:a16="http://schemas.microsoft.com/office/drawing/2014/main" id="{7F10273E-D499-4A93-806B-29552CFEAB94}"/>
                  </a:ext>
                </a:extLst>
              </p:cNvPr>
              <p:cNvSpPr/>
              <p:nvPr/>
            </p:nvSpPr>
            <p:spPr>
              <a:xfrm>
                <a:off x="644441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8" name="Freeform: Shape 267">
                <a:extLst>
                  <a:ext uri="{FF2B5EF4-FFF2-40B4-BE49-F238E27FC236}">
                    <a16:creationId xmlns:a16="http://schemas.microsoft.com/office/drawing/2014/main" id="{9F109E66-58F5-49F9-A8FA-C2C6B9D3314D}"/>
                  </a:ext>
                </a:extLst>
              </p:cNvPr>
              <p:cNvSpPr/>
              <p:nvPr/>
            </p:nvSpPr>
            <p:spPr>
              <a:xfrm>
                <a:off x="6148469"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9" name="Freeform: Shape 268">
                <a:extLst>
                  <a:ext uri="{FF2B5EF4-FFF2-40B4-BE49-F238E27FC236}">
                    <a16:creationId xmlns:a16="http://schemas.microsoft.com/office/drawing/2014/main" id="{BEFEAFE3-481D-4BD8-8E0E-FD2D65147594}"/>
                  </a:ext>
                </a:extLst>
              </p:cNvPr>
              <p:cNvSpPr/>
              <p:nvPr/>
            </p:nvSpPr>
            <p:spPr>
              <a:xfrm>
                <a:off x="620762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0" name="Freeform: Shape 269">
                <a:extLst>
                  <a:ext uri="{FF2B5EF4-FFF2-40B4-BE49-F238E27FC236}">
                    <a16:creationId xmlns:a16="http://schemas.microsoft.com/office/drawing/2014/main" id="{4D9F94D2-04D5-4055-ABB3-12E2D54D9168}"/>
                  </a:ext>
                </a:extLst>
              </p:cNvPr>
              <p:cNvSpPr/>
              <p:nvPr/>
            </p:nvSpPr>
            <p:spPr>
              <a:xfrm>
                <a:off x="6266865" y="3363072"/>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1" name="Freeform: Shape 270">
                <a:extLst>
                  <a:ext uri="{FF2B5EF4-FFF2-40B4-BE49-F238E27FC236}">
                    <a16:creationId xmlns:a16="http://schemas.microsoft.com/office/drawing/2014/main" id="{8DF12218-DA8B-4C9D-AC25-6E4EB9E5157A}"/>
                  </a:ext>
                </a:extLst>
              </p:cNvPr>
              <p:cNvSpPr/>
              <p:nvPr/>
            </p:nvSpPr>
            <p:spPr>
              <a:xfrm>
                <a:off x="632601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2" name="Freeform: Shape 271">
                <a:extLst>
                  <a:ext uri="{FF2B5EF4-FFF2-40B4-BE49-F238E27FC236}">
                    <a16:creationId xmlns:a16="http://schemas.microsoft.com/office/drawing/2014/main" id="{0EBFC3D4-98BB-45EA-B787-42AD1392C199}"/>
                  </a:ext>
                </a:extLst>
              </p:cNvPr>
              <p:cNvSpPr/>
              <p:nvPr/>
            </p:nvSpPr>
            <p:spPr>
              <a:xfrm>
                <a:off x="638526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3" name="Freeform: Shape 272">
                <a:extLst>
                  <a:ext uri="{FF2B5EF4-FFF2-40B4-BE49-F238E27FC236}">
                    <a16:creationId xmlns:a16="http://schemas.microsoft.com/office/drawing/2014/main" id="{B012490F-C6CB-4B2B-ACEE-164410E430AA}"/>
                  </a:ext>
                </a:extLst>
              </p:cNvPr>
              <p:cNvSpPr/>
              <p:nvPr/>
            </p:nvSpPr>
            <p:spPr>
              <a:xfrm>
                <a:off x="6444410" y="3363074"/>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4" name="Freeform: Shape 273">
                <a:extLst>
                  <a:ext uri="{FF2B5EF4-FFF2-40B4-BE49-F238E27FC236}">
                    <a16:creationId xmlns:a16="http://schemas.microsoft.com/office/drawing/2014/main" id="{C8A0CEBF-7017-4AE8-B110-4FB98A0931A1}"/>
                  </a:ext>
                </a:extLst>
              </p:cNvPr>
              <p:cNvSpPr/>
              <p:nvPr/>
            </p:nvSpPr>
            <p:spPr>
              <a:xfrm>
                <a:off x="6148469"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5" name="Freeform: Shape 274">
                <a:extLst>
                  <a:ext uri="{FF2B5EF4-FFF2-40B4-BE49-F238E27FC236}">
                    <a16:creationId xmlns:a16="http://schemas.microsoft.com/office/drawing/2014/main" id="{BFB90B3C-B2E2-41FC-852F-20935BD58D3F}"/>
                  </a:ext>
                </a:extLst>
              </p:cNvPr>
              <p:cNvSpPr/>
              <p:nvPr/>
            </p:nvSpPr>
            <p:spPr>
              <a:xfrm>
                <a:off x="620762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6" name="Freeform: Shape 275">
                <a:extLst>
                  <a:ext uri="{FF2B5EF4-FFF2-40B4-BE49-F238E27FC236}">
                    <a16:creationId xmlns:a16="http://schemas.microsoft.com/office/drawing/2014/main" id="{AD216D02-05DA-4573-8119-B89DD39D163C}"/>
                  </a:ext>
                </a:extLst>
              </p:cNvPr>
              <p:cNvSpPr/>
              <p:nvPr/>
            </p:nvSpPr>
            <p:spPr>
              <a:xfrm>
                <a:off x="6266865" y="3422225"/>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7" name="Freeform: Shape 276">
                <a:extLst>
                  <a:ext uri="{FF2B5EF4-FFF2-40B4-BE49-F238E27FC236}">
                    <a16:creationId xmlns:a16="http://schemas.microsoft.com/office/drawing/2014/main" id="{4AD95CA3-812D-4706-A483-37C60CEFCF96}"/>
                  </a:ext>
                </a:extLst>
              </p:cNvPr>
              <p:cNvSpPr/>
              <p:nvPr/>
            </p:nvSpPr>
            <p:spPr>
              <a:xfrm>
                <a:off x="632601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8" name="Freeform: Shape 277">
                <a:extLst>
                  <a:ext uri="{FF2B5EF4-FFF2-40B4-BE49-F238E27FC236}">
                    <a16:creationId xmlns:a16="http://schemas.microsoft.com/office/drawing/2014/main" id="{ED7350CE-E616-42AC-8E07-41E9A7A07CA9}"/>
                  </a:ext>
                </a:extLst>
              </p:cNvPr>
              <p:cNvSpPr/>
              <p:nvPr/>
            </p:nvSpPr>
            <p:spPr>
              <a:xfrm>
                <a:off x="638526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9" name="Freeform: Shape 278">
                <a:extLst>
                  <a:ext uri="{FF2B5EF4-FFF2-40B4-BE49-F238E27FC236}">
                    <a16:creationId xmlns:a16="http://schemas.microsoft.com/office/drawing/2014/main" id="{87A359AE-1FD7-4EC0-9759-55B2173A6EFD}"/>
                  </a:ext>
                </a:extLst>
              </p:cNvPr>
              <p:cNvSpPr/>
              <p:nvPr/>
            </p:nvSpPr>
            <p:spPr>
              <a:xfrm>
                <a:off x="6444410" y="34222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0" name="Freeform: Shape 279">
                <a:extLst>
                  <a:ext uri="{FF2B5EF4-FFF2-40B4-BE49-F238E27FC236}">
                    <a16:creationId xmlns:a16="http://schemas.microsoft.com/office/drawing/2014/main" id="{97A88E14-719D-4D47-A0A1-80D6780E8EED}"/>
                  </a:ext>
                </a:extLst>
              </p:cNvPr>
              <p:cNvSpPr/>
              <p:nvPr/>
            </p:nvSpPr>
            <p:spPr>
              <a:xfrm>
                <a:off x="5734038" y="3481374"/>
                <a:ext cx="14192" cy="14096"/>
              </a:xfrm>
              <a:custGeom>
                <a:avLst/>
                <a:gdLst>
                  <a:gd name="connsiteX0" fmla="*/ 14192 w 14192"/>
                  <a:gd name="connsiteY0" fmla="*/ 7049 h 14096"/>
                  <a:gd name="connsiteX1" fmla="*/ 7144 w 14192"/>
                  <a:gd name="connsiteY1" fmla="*/ 14097 h 14096"/>
                  <a:gd name="connsiteX2" fmla="*/ 0 w 14192"/>
                  <a:gd name="connsiteY2" fmla="*/ 7049 h 14096"/>
                  <a:gd name="connsiteX3" fmla="*/ 7049 w 14192"/>
                  <a:gd name="connsiteY3" fmla="*/ 0 h 14096"/>
                  <a:gd name="connsiteX4" fmla="*/ 14192 w 14192"/>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9"/>
                    </a:moveTo>
                    <a:cubicBezTo>
                      <a:pt x="14192" y="10954"/>
                      <a:pt x="11049" y="14097"/>
                      <a:pt x="7144" y="14097"/>
                    </a:cubicBezTo>
                    <a:cubicBezTo>
                      <a:pt x="3239" y="14097"/>
                      <a:pt x="0" y="11049"/>
                      <a:pt x="0" y="7049"/>
                    </a:cubicBezTo>
                    <a:cubicBezTo>
                      <a:pt x="0" y="3048"/>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1" name="Freeform: Shape 280">
                <a:extLst>
                  <a:ext uri="{FF2B5EF4-FFF2-40B4-BE49-F238E27FC236}">
                    <a16:creationId xmlns:a16="http://schemas.microsoft.com/office/drawing/2014/main" id="{D16E2313-CE29-4A31-AC81-790178F4746A}"/>
                  </a:ext>
                </a:extLst>
              </p:cNvPr>
              <p:cNvSpPr/>
              <p:nvPr/>
            </p:nvSpPr>
            <p:spPr>
              <a:xfrm>
                <a:off x="5793283"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2" name="Freeform: Shape 281">
                <a:extLst>
                  <a:ext uri="{FF2B5EF4-FFF2-40B4-BE49-F238E27FC236}">
                    <a16:creationId xmlns:a16="http://schemas.microsoft.com/office/drawing/2014/main" id="{1D1C4F29-D833-4964-B939-3B727AE1EA41}"/>
                  </a:ext>
                </a:extLst>
              </p:cNvPr>
              <p:cNvSpPr/>
              <p:nvPr/>
            </p:nvSpPr>
            <p:spPr>
              <a:xfrm>
                <a:off x="5852433"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3" name="Freeform: Shape 282">
                <a:extLst>
                  <a:ext uri="{FF2B5EF4-FFF2-40B4-BE49-F238E27FC236}">
                    <a16:creationId xmlns:a16="http://schemas.microsoft.com/office/drawing/2014/main" id="{4AAC2964-5640-4A4F-AF95-C44533263206}"/>
                  </a:ext>
                </a:extLst>
              </p:cNvPr>
              <p:cNvSpPr/>
              <p:nvPr/>
            </p:nvSpPr>
            <p:spPr>
              <a:xfrm>
                <a:off x="591167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4" name="Freeform: Shape 283">
                <a:extLst>
                  <a:ext uri="{FF2B5EF4-FFF2-40B4-BE49-F238E27FC236}">
                    <a16:creationId xmlns:a16="http://schemas.microsoft.com/office/drawing/2014/main" id="{234E3EAE-3024-4122-B3C9-D19EF89411B2}"/>
                  </a:ext>
                </a:extLst>
              </p:cNvPr>
              <p:cNvSpPr/>
              <p:nvPr/>
            </p:nvSpPr>
            <p:spPr>
              <a:xfrm>
                <a:off x="597082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5" name="Freeform: Shape 284">
                <a:extLst>
                  <a:ext uri="{FF2B5EF4-FFF2-40B4-BE49-F238E27FC236}">
                    <a16:creationId xmlns:a16="http://schemas.microsoft.com/office/drawing/2014/main" id="{28FD952A-B49E-4AFD-BE46-A826C893BA2B}"/>
                  </a:ext>
                </a:extLst>
              </p:cNvPr>
              <p:cNvSpPr/>
              <p:nvPr/>
            </p:nvSpPr>
            <p:spPr>
              <a:xfrm>
                <a:off x="6030074"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6" name="Freeform: Shape 285">
                <a:extLst>
                  <a:ext uri="{FF2B5EF4-FFF2-40B4-BE49-F238E27FC236}">
                    <a16:creationId xmlns:a16="http://schemas.microsoft.com/office/drawing/2014/main" id="{A8F11D09-106F-4800-8537-1511F52735A8}"/>
                  </a:ext>
                </a:extLst>
              </p:cNvPr>
              <p:cNvSpPr/>
              <p:nvPr/>
            </p:nvSpPr>
            <p:spPr>
              <a:xfrm>
                <a:off x="6089224"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7" name="Freeform: Shape 286">
                <a:extLst>
                  <a:ext uri="{FF2B5EF4-FFF2-40B4-BE49-F238E27FC236}">
                    <a16:creationId xmlns:a16="http://schemas.microsoft.com/office/drawing/2014/main" id="{628B2A9C-BF81-4C2A-A82F-094822D91962}"/>
                  </a:ext>
                </a:extLst>
              </p:cNvPr>
              <p:cNvSpPr/>
              <p:nvPr/>
            </p:nvSpPr>
            <p:spPr>
              <a:xfrm>
                <a:off x="5734038" y="354062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8" name="Freeform: Shape 287">
                <a:extLst>
                  <a:ext uri="{FF2B5EF4-FFF2-40B4-BE49-F238E27FC236}">
                    <a16:creationId xmlns:a16="http://schemas.microsoft.com/office/drawing/2014/main" id="{67DB4930-228B-47AF-AAF7-1BF8F1B48A13}"/>
                  </a:ext>
                </a:extLst>
              </p:cNvPr>
              <p:cNvSpPr/>
              <p:nvPr/>
            </p:nvSpPr>
            <p:spPr>
              <a:xfrm>
                <a:off x="5793283"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9" name="Freeform: Shape 288">
                <a:extLst>
                  <a:ext uri="{FF2B5EF4-FFF2-40B4-BE49-F238E27FC236}">
                    <a16:creationId xmlns:a16="http://schemas.microsoft.com/office/drawing/2014/main" id="{5C000D14-C33C-4ABC-8859-916548DDFFB4}"/>
                  </a:ext>
                </a:extLst>
              </p:cNvPr>
              <p:cNvSpPr/>
              <p:nvPr/>
            </p:nvSpPr>
            <p:spPr>
              <a:xfrm>
                <a:off x="5852433"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0" name="Freeform: Shape 289">
                <a:extLst>
                  <a:ext uri="{FF2B5EF4-FFF2-40B4-BE49-F238E27FC236}">
                    <a16:creationId xmlns:a16="http://schemas.microsoft.com/office/drawing/2014/main" id="{EFD3C8C8-BB59-449C-B55E-01F014FF2BD1}"/>
                  </a:ext>
                </a:extLst>
              </p:cNvPr>
              <p:cNvSpPr/>
              <p:nvPr/>
            </p:nvSpPr>
            <p:spPr>
              <a:xfrm>
                <a:off x="591167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1" name="Freeform: Shape 290">
                <a:extLst>
                  <a:ext uri="{FF2B5EF4-FFF2-40B4-BE49-F238E27FC236}">
                    <a16:creationId xmlns:a16="http://schemas.microsoft.com/office/drawing/2014/main" id="{F67091D2-B1F6-4D9C-BE4A-EE3988A464AF}"/>
                  </a:ext>
                </a:extLst>
              </p:cNvPr>
              <p:cNvSpPr/>
              <p:nvPr/>
            </p:nvSpPr>
            <p:spPr>
              <a:xfrm>
                <a:off x="597082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2" name="Freeform: Shape 291">
                <a:extLst>
                  <a:ext uri="{FF2B5EF4-FFF2-40B4-BE49-F238E27FC236}">
                    <a16:creationId xmlns:a16="http://schemas.microsoft.com/office/drawing/2014/main" id="{E696DB2D-BF32-49CF-A3D0-B5BCFFFC3A7C}"/>
                  </a:ext>
                </a:extLst>
              </p:cNvPr>
              <p:cNvSpPr/>
              <p:nvPr/>
            </p:nvSpPr>
            <p:spPr>
              <a:xfrm>
                <a:off x="6030074"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3" name="Freeform: Shape 292">
                <a:extLst>
                  <a:ext uri="{FF2B5EF4-FFF2-40B4-BE49-F238E27FC236}">
                    <a16:creationId xmlns:a16="http://schemas.microsoft.com/office/drawing/2014/main" id="{DA9DFC77-4503-4E27-81F8-4EC423EE7F26}"/>
                  </a:ext>
                </a:extLst>
              </p:cNvPr>
              <p:cNvSpPr/>
              <p:nvPr/>
            </p:nvSpPr>
            <p:spPr>
              <a:xfrm>
                <a:off x="6089224"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4" name="Freeform: Shape 293">
                <a:extLst>
                  <a:ext uri="{FF2B5EF4-FFF2-40B4-BE49-F238E27FC236}">
                    <a16:creationId xmlns:a16="http://schemas.microsoft.com/office/drawing/2014/main" id="{C9750606-8257-49A8-BAC6-8AF5245F225F}"/>
                  </a:ext>
                </a:extLst>
              </p:cNvPr>
              <p:cNvSpPr/>
              <p:nvPr/>
            </p:nvSpPr>
            <p:spPr>
              <a:xfrm>
                <a:off x="5734038" y="359977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5" name="Freeform: Shape 294">
                <a:extLst>
                  <a:ext uri="{FF2B5EF4-FFF2-40B4-BE49-F238E27FC236}">
                    <a16:creationId xmlns:a16="http://schemas.microsoft.com/office/drawing/2014/main" id="{1FAF9961-6FEB-4F37-AA12-4123C2F348CF}"/>
                  </a:ext>
                </a:extLst>
              </p:cNvPr>
              <p:cNvSpPr/>
              <p:nvPr/>
            </p:nvSpPr>
            <p:spPr>
              <a:xfrm>
                <a:off x="5793283" y="359977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6" name="Freeform: Shape 295">
                <a:extLst>
                  <a:ext uri="{FF2B5EF4-FFF2-40B4-BE49-F238E27FC236}">
                    <a16:creationId xmlns:a16="http://schemas.microsoft.com/office/drawing/2014/main" id="{ECEB85EF-07A3-4915-972B-41652BD77A0A}"/>
                  </a:ext>
                </a:extLst>
              </p:cNvPr>
              <p:cNvSpPr/>
              <p:nvPr/>
            </p:nvSpPr>
            <p:spPr>
              <a:xfrm>
                <a:off x="5852433"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7" name="Freeform: Shape 296">
                <a:extLst>
                  <a:ext uri="{FF2B5EF4-FFF2-40B4-BE49-F238E27FC236}">
                    <a16:creationId xmlns:a16="http://schemas.microsoft.com/office/drawing/2014/main" id="{70E3C169-E198-408B-8C0B-6D107638EEA4}"/>
                  </a:ext>
                </a:extLst>
              </p:cNvPr>
              <p:cNvSpPr/>
              <p:nvPr/>
            </p:nvSpPr>
            <p:spPr>
              <a:xfrm>
                <a:off x="591167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8" name="Freeform: Shape 297">
                <a:extLst>
                  <a:ext uri="{FF2B5EF4-FFF2-40B4-BE49-F238E27FC236}">
                    <a16:creationId xmlns:a16="http://schemas.microsoft.com/office/drawing/2014/main" id="{F55D2648-69AF-4F06-B4E2-ED7EB64562C0}"/>
                  </a:ext>
                </a:extLst>
              </p:cNvPr>
              <p:cNvSpPr/>
              <p:nvPr/>
            </p:nvSpPr>
            <p:spPr>
              <a:xfrm>
                <a:off x="597082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9" name="Freeform: Shape 298">
                <a:extLst>
                  <a:ext uri="{FF2B5EF4-FFF2-40B4-BE49-F238E27FC236}">
                    <a16:creationId xmlns:a16="http://schemas.microsoft.com/office/drawing/2014/main" id="{808EE613-DBD4-40A5-B2FC-FFE52B379596}"/>
                  </a:ext>
                </a:extLst>
              </p:cNvPr>
              <p:cNvSpPr/>
              <p:nvPr/>
            </p:nvSpPr>
            <p:spPr>
              <a:xfrm>
                <a:off x="6030073" y="3599770"/>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0" name="Freeform: Shape 299">
                <a:extLst>
                  <a:ext uri="{FF2B5EF4-FFF2-40B4-BE49-F238E27FC236}">
                    <a16:creationId xmlns:a16="http://schemas.microsoft.com/office/drawing/2014/main" id="{5CF13D94-C51E-4F0C-93ED-89C74D5967D4}"/>
                  </a:ext>
                </a:extLst>
              </p:cNvPr>
              <p:cNvSpPr/>
              <p:nvPr/>
            </p:nvSpPr>
            <p:spPr>
              <a:xfrm>
                <a:off x="6089224"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1" name="Freeform: Shape 300">
                <a:extLst>
                  <a:ext uri="{FF2B5EF4-FFF2-40B4-BE49-F238E27FC236}">
                    <a16:creationId xmlns:a16="http://schemas.microsoft.com/office/drawing/2014/main" id="{D02372BC-9E3F-430B-9E13-B750B7548287}"/>
                  </a:ext>
                </a:extLst>
              </p:cNvPr>
              <p:cNvSpPr/>
              <p:nvPr/>
            </p:nvSpPr>
            <p:spPr>
              <a:xfrm>
                <a:off x="5734037" y="365901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2" name="Freeform: Shape 301">
                <a:extLst>
                  <a:ext uri="{FF2B5EF4-FFF2-40B4-BE49-F238E27FC236}">
                    <a16:creationId xmlns:a16="http://schemas.microsoft.com/office/drawing/2014/main" id="{5CC5A4DF-827D-4F25-A560-89C50AFC96F9}"/>
                  </a:ext>
                </a:extLst>
              </p:cNvPr>
              <p:cNvSpPr/>
              <p:nvPr/>
            </p:nvSpPr>
            <p:spPr>
              <a:xfrm>
                <a:off x="5793282" y="3659014"/>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3" name="Freeform: Shape 302">
                <a:extLst>
                  <a:ext uri="{FF2B5EF4-FFF2-40B4-BE49-F238E27FC236}">
                    <a16:creationId xmlns:a16="http://schemas.microsoft.com/office/drawing/2014/main" id="{C664ED74-3F99-4CD6-9B08-8C66D3C2384C}"/>
                  </a:ext>
                </a:extLst>
              </p:cNvPr>
              <p:cNvSpPr/>
              <p:nvPr/>
            </p:nvSpPr>
            <p:spPr>
              <a:xfrm>
                <a:off x="5852432"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4" name="Freeform: Shape 303">
                <a:extLst>
                  <a:ext uri="{FF2B5EF4-FFF2-40B4-BE49-F238E27FC236}">
                    <a16:creationId xmlns:a16="http://schemas.microsoft.com/office/drawing/2014/main" id="{A366A050-ABC8-404E-9D19-88C1BFD746AD}"/>
                  </a:ext>
                </a:extLst>
              </p:cNvPr>
              <p:cNvSpPr/>
              <p:nvPr/>
            </p:nvSpPr>
            <p:spPr>
              <a:xfrm>
                <a:off x="591167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5" name="Freeform: Shape 304">
                <a:extLst>
                  <a:ext uri="{FF2B5EF4-FFF2-40B4-BE49-F238E27FC236}">
                    <a16:creationId xmlns:a16="http://schemas.microsoft.com/office/drawing/2014/main" id="{E54F9189-EFA8-450C-9A79-2642C2815DC1}"/>
                  </a:ext>
                </a:extLst>
              </p:cNvPr>
              <p:cNvSpPr/>
              <p:nvPr/>
            </p:nvSpPr>
            <p:spPr>
              <a:xfrm>
                <a:off x="597082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6" name="Freeform: Shape 305">
                <a:extLst>
                  <a:ext uri="{FF2B5EF4-FFF2-40B4-BE49-F238E27FC236}">
                    <a16:creationId xmlns:a16="http://schemas.microsoft.com/office/drawing/2014/main" id="{83474EF4-3910-4D27-8CE9-6B0571690FB0}"/>
                  </a:ext>
                </a:extLst>
              </p:cNvPr>
              <p:cNvSpPr/>
              <p:nvPr/>
            </p:nvSpPr>
            <p:spPr>
              <a:xfrm>
                <a:off x="6030073" y="3659014"/>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7" name="Freeform: Shape 306">
                <a:extLst>
                  <a:ext uri="{FF2B5EF4-FFF2-40B4-BE49-F238E27FC236}">
                    <a16:creationId xmlns:a16="http://schemas.microsoft.com/office/drawing/2014/main" id="{07AF992F-ECBF-4DC7-AAD7-C89A905F51C3}"/>
                  </a:ext>
                </a:extLst>
              </p:cNvPr>
              <p:cNvSpPr/>
              <p:nvPr/>
            </p:nvSpPr>
            <p:spPr>
              <a:xfrm>
                <a:off x="6089224"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8" name="Freeform: Shape 307">
                <a:extLst>
                  <a:ext uri="{FF2B5EF4-FFF2-40B4-BE49-F238E27FC236}">
                    <a16:creationId xmlns:a16="http://schemas.microsoft.com/office/drawing/2014/main" id="{8DF44771-0BBE-4ABF-A1A0-4F21168E9496}"/>
                  </a:ext>
                </a:extLst>
              </p:cNvPr>
              <p:cNvSpPr/>
              <p:nvPr/>
            </p:nvSpPr>
            <p:spPr>
              <a:xfrm>
                <a:off x="5734039" y="371816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9" name="Freeform: Shape 308">
                <a:extLst>
                  <a:ext uri="{FF2B5EF4-FFF2-40B4-BE49-F238E27FC236}">
                    <a16:creationId xmlns:a16="http://schemas.microsoft.com/office/drawing/2014/main" id="{A83A06AC-4FF7-4E63-8018-3EC97686E21C}"/>
                  </a:ext>
                </a:extLst>
              </p:cNvPr>
              <p:cNvSpPr/>
              <p:nvPr/>
            </p:nvSpPr>
            <p:spPr>
              <a:xfrm>
                <a:off x="5793284" y="371816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0" name="Freeform: Shape 309">
                <a:extLst>
                  <a:ext uri="{FF2B5EF4-FFF2-40B4-BE49-F238E27FC236}">
                    <a16:creationId xmlns:a16="http://schemas.microsoft.com/office/drawing/2014/main" id="{CF2D1DA8-92C8-41E9-B8CA-AA39868CBF09}"/>
                  </a:ext>
                </a:extLst>
              </p:cNvPr>
              <p:cNvSpPr/>
              <p:nvPr/>
            </p:nvSpPr>
            <p:spPr>
              <a:xfrm>
                <a:off x="5852434"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1" name="Freeform: Shape 310">
                <a:extLst>
                  <a:ext uri="{FF2B5EF4-FFF2-40B4-BE49-F238E27FC236}">
                    <a16:creationId xmlns:a16="http://schemas.microsoft.com/office/drawing/2014/main" id="{CE7EB8CC-07A4-47A7-928A-8984C4706850}"/>
                  </a:ext>
                </a:extLst>
              </p:cNvPr>
              <p:cNvSpPr/>
              <p:nvPr/>
            </p:nvSpPr>
            <p:spPr>
              <a:xfrm>
                <a:off x="591167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2" name="Freeform: Shape 311">
                <a:extLst>
                  <a:ext uri="{FF2B5EF4-FFF2-40B4-BE49-F238E27FC236}">
                    <a16:creationId xmlns:a16="http://schemas.microsoft.com/office/drawing/2014/main" id="{DD8F57F4-0054-4907-A5A4-FEA9B509AD36}"/>
                  </a:ext>
                </a:extLst>
              </p:cNvPr>
              <p:cNvSpPr/>
              <p:nvPr/>
            </p:nvSpPr>
            <p:spPr>
              <a:xfrm>
                <a:off x="597082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3" name="Freeform: Shape 312">
                <a:extLst>
                  <a:ext uri="{FF2B5EF4-FFF2-40B4-BE49-F238E27FC236}">
                    <a16:creationId xmlns:a16="http://schemas.microsoft.com/office/drawing/2014/main" id="{60ED5BA9-E036-40AE-A6CC-0DECB39D5A46}"/>
                  </a:ext>
                </a:extLst>
              </p:cNvPr>
              <p:cNvSpPr/>
              <p:nvPr/>
            </p:nvSpPr>
            <p:spPr>
              <a:xfrm>
                <a:off x="6030074" y="371816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4" name="Freeform: Shape 313">
                <a:extLst>
                  <a:ext uri="{FF2B5EF4-FFF2-40B4-BE49-F238E27FC236}">
                    <a16:creationId xmlns:a16="http://schemas.microsoft.com/office/drawing/2014/main" id="{0FD10507-E725-4668-A9B2-F1C23A57A161}"/>
                  </a:ext>
                </a:extLst>
              </p:cNvPr>
              <p:cNvSpPr/>
              <p:nvPr/>
            </p:nvSpPr>
            <p:spPr>
              <a:xfrm>
                <a:off x="6089225"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5" name="Freeform: Shape 314">
                <a:extLst>
                  <a:ext uri="{FF2B5EF4-FFF2-40B4-BE49-F238E27FC236}">
                    <a16:creationId xmlns:a16="http://schemas.microsoft.com/office/drawing/2014/main" id="{D1C0A19B-7E91-4068-9AA4-14FA512E22BD}"/>
                  </a:ext>
                </a:extLst>
              </p:cNvPr>
              <p:cNvSpPr/>
              <p:nvPr/>
            </p:nvSpPr>
            <p:spPr>
              <a:xfrm>
                <a:off x="5734040" y="377741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6" name="Freeform: Shape 315">
                <a:extLst>
                  <a:ext uri="{FF2B5EF4-FFF2-40B4-BE49-F238E27FC236}">
                    <a16:creationId xmlns:a16="http://schemas.microsoft.com/office/drawing/2014/main" id="{280850D2-6E89-4131-9FB7-A009F965BDEB}"/>
                  </a:ext>
                </a:extLst>
              </p:cNvPr>
              <p:cNvSpPr/>
              <p:nvPr/>
            </p:nvSpPr>
            <p:spPr>
              <a:xfrm>
                <a:off x="5793285"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7" name="Freeform: Shape 316">
                <a:extLst>
                  <a:ext uri="{FF2B5EF4-FFF2-40B4-BE49-F238E27FC236}">
                    <a16:creationId xmlns:a16="http://schemas.microsoft.com/office/drawing/2014/main" id="{9FE1F233-525B-490D-92CE-E84B86136916}"/>
                  </a:ext>
                </a:extLst>
              </p:cNvPr>
              <p:cNvSpPr/>
              <p:nvPr/>
            </p:nvSpPr>
            <p:spPr>
              <a:xfrm>
                <a:off x="5852436"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8" name="Freeform: Shape 317">
                <a:extLst>
                  <a:ext uri="{FF2B5EF4-FFF2-40B4-BE49-F238E27FC236}">
                    <a16:creationId xmlns:a16="http://schemas.microsoft.com/office/drawing/2014/main" id="{7181D01C-96B5-44C1-A386-30CE0F738E0D}"/>
                  </a:ext>
                </a:extLst>
              </p:cNvPr>
              <p:cNvSpPr/>
              <p:nvPr/>
            </p:nvSpPr>
            <p:spPr>
              <a:xfrm>
                <a:off x="5911683"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9" name="Freeform: Shape 318">
                <a:extLst>
                  <a:ext uri="{FF2B5EF4-FFF2-40B4-BE49-F238E27FC236}">
                    <a16:creationId xmlns:a16="http://schemas.microsoft.com/office/drawing/2014/main" id="{E2B633A1-C30D-4403-AC8F-43AC6B9B7EA1}"/>
                  </a:ext>
                </a:extLst>
              </p:cNvPr>
              <p:cNvSpPr/>
              <p:nvPr/>
            </p:nvSpPr>
            <p:spPr>
              <a:xfrm>
                <a:off x="5970835"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0" name="Freeform: Shape 319">
                <a:extLst>
                  <a:ext uri="{FF2B5EF4-FFF2-40B4-BE49-F238E27FC236}">
                    <a16:creationId xmlns:a16="http://schemas.microsoft.com/office/drawing/2014/main" id="{6A8ADFAF-7B99-4AF5-8AD0-6F6396B1E2AC}"/>
                  </a:ext>
                </a:extLst>
              </p:cNvPr>
              <p:cNvSpPr/>
              <p:nvPr/>
            </p:nvSpPr>
            <p:spPr>
              <a:xfrm>
                <a:off x="6030082"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1" name="Freeform: Shape 320">
                <a:extLst>
                  <a:ext uri="{FF2B5EF4-FFF2-40B4-BE49-F238E27FC236}">
                    <a16:creationId xmlns:a16="http://schemas.microsoft.com/office/drawing/2014/main" id="{BF24EED6-9FF6-4D3B-B888-7C128BA748FD}"/>
                  </a:ext>
                </a:extLst>
              </p:cNvPr>
              <p:cNvSpPr/>
              <p:nvPr/>
            </p:nvSpPr>
            <p:spPr>
              <a:xfrm>
                <a:off x="6089231"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2" name="Freeform: Shape 321">
                <a:extLst>
                  <a:ext uri="{FF2B5EF4-FFF2-40B4-BE49-F238E27FC236}">
                    <a16:creationId xmlns:a16="http://schemas.microsoft.com/office/drawing/2014/main" id="{6120BD91-6B39-4427-90EE-7F3AA46700A4}"/>
                  </a:ext>
                </a:extLst>
              </p:cNvPr>
              <p:cNvSpPr/>
              <p:nvPr/>
            </p:nvSpPr>
            <p:spPr>
              <a:xfrm>
                <a:off x="6148476" y="3481374"/>
                <a:ext cx="14097" cy="14096"/>
              </a:xfrm>
              <a:custGeom>
                <a:avLst/>
                <a:gdLst>
                  <a:gd name="connsiteX0" fmla="*/ 14097 w 14097"/>
                  <a:gd name="connsiteY0" fmla="*/ 7049 h 14096"/>
                  <a:gd name="connsiteX1" fmla="*/ 7049 w 14097"/>
                  <a:gd name="connsiteY1" fmla="*/ 14097 h 14096"/>
                  <a:gd name="connsiteX2" fmla="*/ 0 w 14097"/>
                  <a:gd name="connsiteY2" fmla="*/ 7049 h 14096"/>
                  <a:gd name="connsiteX3" fmla="*/ 7049 w 14097"/>
                  <a:gd name="connsiteY3" fmla="*/ 0 h 14096"/>
                  <a:gd name="connsiteX4" fmla="*/ 14097 w 14097"/>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9"/>
                    </a:moveTo>
                    <a:cubicBezTo>
                      <a:pt x="14097" y="10954"/>
                      <a:pt x="10954" y="14097"/>
                      <a:pt x="7049" y="14097"/>
                    </a:cubicBezTo>
                    <a:cubicBezTo>
                      <a:pt x="3143" y="14097"/>
                      <a:pt x="0" y="10954"/>
                      <a:pt x="0" y="7049"/>
                    </a:cubicBezTo>
                    <a:cubicBezTo>
                      <a:pt x="0" y="3143"/>
                      <a:pt x="3143" y="0"/>
                      <a:pt x="7049"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3" name="Freeform: Shape 322">
                <a:extLst>
                  <a:ext uri="{FF2B5EF4-FFF2-40B4-BE49-F238E27FC236}">
                    <a16:creationId xmlns:a16="http://schemas.microsoft.com/office/drawing/2014/main" id="{99BA16F9-242B-4140-BC3F-17E348414733}"/>
                  </a:ext>
                </a:extLst>
              </p:cNvPr>
              <p:cNvSpPr/>
              <p:nvPr/>
            </p:nvSpPr>
            <p:spPr>
              <a:xfrm>
                <a:off x="6207627"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4" name="Freeform: Shape 323">
                <a:extLst>
                  <a:ext uri="{FF2B5EF4-FFF2-40B4-BE49-F238E27FC236}">
                    <a16:creationId xmlns:a16="http://schemas.microsoft.com/office/drawing/2014/main" id="{814ACF54-DEC1-429C-85FA-022FE7302222}"/>
                  </a:ext>
                </a:extLst>
              </p:cNvPr>
              <p:cNvSpPr/>
              <p:nvPr/>
            </p:nvSpPr>
            <p:spPr>
              <a:xfrm>
                <a:off x="6266872" y="3481374"/>
                <a:ext cx="14096" cy="14096"/>
              </a:xfrm>
              <a:custGeom>
                <a:avLst/>
                <a:gdLst>
                  <a:gd name="connsiteX0" fmla="*/ 14097 w 14096"/>
                  <a:gd name="connsiteY0" fmla="*/ 7049 h 14096"/>
                  <a:gd name="connsiteX1" fmla="*/ 7049 w 14096"/>
                  <a:gd name="connsiteY1" fmla="*/ 14097 h 14096"/>
                  <a:gd name="connsiteX2" fmla="*/ 0 w 14096"/>
                  <a:gd name="connsiteY2" fmla="*/ 7049 h 14096"/>
                  <a:gd name="connsiteX3" fmla="*/ 7049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9" y="14097"/>
                    </a:cubicBezTo>
                    <a:cubicBezTo>
                      <a:pt x="3143" y="14097"/>
                      <a:pt x="0" y="10954"/>
                      <a:pt x="0" y="7049"/>
                    </a:cubicBezTo>
                    <a:cubicBezTo>
                      <a:pt x="0" y="3143"/>
                      <a:pt x="3143" y="0"/>
                      <a:pt x="7049" y="0"/>
                    </a:cubicBezTo>
                    <a:cubicBezTo>
                      <a:pt x="10859"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5" name="Freeform: Shape 324">
                <a:extLst>
                  <a:ext uri="{FF2B5EF4-FFF2-40B4-BE49-F238E27FC236}">
                    <a16:creationId xmlns:a16="http://schemas.microsoft.com/office/drawing/2014/main" id="{8E30803D-601A-44AA-8D2C-F89DB4ADF487}"/>
                  </a:ext>
                </a:extLst>
              </p:cNvPr>
              <p:cNvSpPr/>
              <p:nvPr/>
            </p:nvSpPr>
            <p:spPr>
              <a:xfrm>
                <a:off x="6326022"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6" name="Freeform: Shape 325">
                <a:extLst>
                  <a:ext uri="{FF2B5EF4-FFF2-40B4-BE49-F238E27FC236}">
                    <a16:creationId xmlns:a16="http://schemas.microsoft.com/office/drawing/2014/main" id="{4E6EEE87-0C42-4413-8EA5-706C464D32B5}"/>
                  </a:ext>
                </a:extLst>
              </p:cNvPr>
              <p:cNvSpPr/>
              <p:nvPr/>
            </p:nvSpPr>
            <p:spPr>
              <a:xfrm>
                <a:off x="638526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858"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7" name="Freeform: Shape 326">
                <a:extLst>
                  <a:ext uri="{FF2B5EF4-FFF2-40B4-BE49-F238E27FC236}">
                    <a16:creationId xmlns:a16="http://schemas.microsoft.com/office/drawing/2014/main" id="{0832DF18-6AAF-4499-8D30-5A79B18EC003}"/>
                  </a:ext>
                </a:extLst>
              </p:cNvPr>
              <p:cNvSpPr/>
              <p:nvPr/>
            </p:nvSpPr>
            <p:spPr>
              <a:xfrm>
                <a:off x="6444417" y="348137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8" name="Freeform: Shape 327">
                <a:extLst>
                  <a:ext uri="{FF2B5EF4-FFF2-40B4-BE49-F238E27FC236}">
                    <a16:creationId xmlns:a16="http://schemas.microsoft.com/office/drawing/2014/main" id="{4AD66F08-011B-4A20-B1E5-D3A9A35AA4EB}"/>
                  </a:ext>
                </a:extLst>
              </p:cNvPr>
              <p:cNvSpPr/>
              <p:nvPr/>
            </p:nvSpPr>
            <p:spPr>
              <a:xfrm>
                <a:off x="6148476" y="3540622"/>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9" name="Freeform: Shape 328">
                <a:extLst>
                  <a:ext uri="{FF2B5EF4-FFF2-40B4-BE49-F238E27FC236}">
                    <a16:creationId xmlns:a16="http://schemas.microsoft.com/office/drawing/2014/main" id="{BBD23BB3-08F2-47BC-B141-4E6ED9492AA2}"/>
                  </a:ext>
                </a:extLst>
              </p:cNvPr>
              <p:cNvSpPr/>
              <p:nvPr/>
            </p:nvSpPr>
            <p:spPr>
              <a:xfrm>
                <a:off x="6207627" y="354062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0" name="Freeform: Shape 329">
                <a:extLst>
                  <a:ext uri="{FF2B5EF4-FFF2-40B4-BE49-F238E27FC236}">
                    <a16:creationId xmlns:a16="http://schemas.microsoft.com/office/drawing/2014/main" id="{B3CE711A-2069-42C1-98C4-4508B5943F6A}"/>
                  </a:ext>
                </a:extLst>
              </p:cNvPr>
              <p:cNvSpPr/>
              <p:nvPr/>
            </p:nvSpPr>
            <p:spPr>
              <a:xfrm>
                <a:off x="6266872" y="35406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1" name="Freeform: Shape 330">
                <a:extLst>
                  <a:ext uri="{FF2B5EF4-FFF2-40B4-BE49-F238E27FC236}">
                    <a16:creationId xmlns:a16="http://schemas.microsoft.com/office/drawing/2014/main" id="{26B8F21B-C222-4784-8D4C-7D5D24EA1F38}"/>
                  </a:ext>
                </a:extLst>
              </p:cNvPr>
              <p:cNvSpPr/>
              <p:nvPr/>
            </p:nvSpPr>
            <p:spPr>
              <a:xfrm>
                <a:off x="6326022" y="354062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2" name="Freeform: Shape 331">
                <a:extLst>
                  <a:ext uri="{FF2B5EF4-FFF2-40B4-BE49-F238E27FC236}">
                    <a16:creationId xmlns:a16="http://schemas.microsoft.com/office/drawing/2014/main" id="{58C4C653-04CF-45EA-92F4-3B76B0AA9719}"/>
                  </a:ext>
                </a:extLst>
              </p:cNvPr>
              <p:cNvSpPr/>
              <p:nvPr/>
            </p:nvSpPr>
            <p:spPr>
              <a:xfrm>
                <a:off x="6385268" y="354063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3" name="Freeform: Shape 332">
                <a:extLst>
                  <a:ext uri="{FF2B5EF4-FFF2-40B4-BE49-F238E27FC236}">
                    <a16:creationId xmlns:a16="http://schemas.microsoft.com/office/drawing/2014/main" id="{755FD61D-1008-46FD-86B1-4F633814A453}"/>
                  </a:ext>
                </a:extLst>
              </p:cNvPr>
              <p:cNvSpPr/>
              <p:nvPr/>
            </p:nvSpPr>
            <p:spPr>
              <a:xfrm>
                <a:off x="6444417" y="3540631"/>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4" name="Freeform: Shape 333">
                <a:extLst>
                  <a:ext uri="{FF2B5EF4-FFF2-40B4-BE49-F238E27FC236}">
                    <a16:creationId xmlns:a16="http://schemas.microsoft.com/office/drawing/2014/main" id="{A3DBC891-2610-4AC1-B1D3-806E504EF435}"/>
                  </a:ext>
                </a:extLst>
              </p:cNvPr>
              <p:cNvSpPr/>
              <p:nvPr/>
            </p:nvSpPr>
            <p:spPr>
              <a:xfrm>
                <a:off x="6148476" y="3599781"/>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5" name="Freeform: Shape 334">
                <a:extLst>
                  <a:ext uri="{FF2B5EF4-FFF2-40B4-BE49-F238E27FC236}">
                    <a16:creationId xmlns:a16="http://schemas.microsoft.com/office/drawing/2014/main" id="{4D9F77CB-AC06-45E2-B791-BA0A7FC6A6C5}"/>
                  </a:ext>
                </a:extLst>
              </p:cNvPr>
              <p:cNvSpPr/>
              <p:nvPr/>
            </p:nvSpPr>
            <p:spPr>
              <a:xfrm>
                <a:off x="6207627"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6" name="Freeform: Shape 335">
                <a:extLst>
                  <a:ext uri="{FF2B5EF4-FFF2-40B4-BE49-F238E27FC236}">
                    <a16:creationId xmlns:a16="http://schemas.microsoft.com/office/drawing/2014/main" id="{9006458F-4478-468F-ADDA-3A1A260F2798}"/>
                  </a:ext>
                </a:extLst>
              </p:cNvPr>
              <p:cNvSpPr/>
              <p:nvPr/>
            </p:nvSpPr>
            <p:spPr>
              <a:xfrm>
                <a:off x="6266872" y="3599781"/>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7" name="Freeform: Shape 336">
                <a:extLst>
                  <a:ext uri="{FF2B5EF4-FFF2-40B4-BE49-F238E27FC236}">
                    <a16:creationId xmlns:a16="http://schemas.microsoft.com/office/drawing/2014/main" id="{366818E9-6C2E-4220-8542-BD64F8B7EE81}"/>
                  </a:ext>
                </a:extLst>
              </p:cNvPr>
              <p:cNvSpPr/>
              <p:nvPr/>
            </p:nvSpPr>
            <p:spPr>
              <a:xfrm>
                <a:off x="6326022"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8" name="Freeform: Shape 337">
                <a:extLst>
                  <a:ext uri="{FF2B5EF4-FFF2-40B4-BE49-F238E27FC236}">
                    <a16:creationId xmlns:a16="http://schemas.microsoft.com/office/drawing/2014/main" id="{BD7BF3C8-FAD3-44BA-A91A-7FCE6DCE83E9}"/>
                  </a:ext>
                </a:extLst>
              </p:cNvPr>
              <p:cNvSpPr/>
              <p:nvPr/>
            </p:nvSpPr>
            <p:spPr>
              <a:xfrm>
                <a:off x="6385268" y="359978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9" name="Freeform: Shape 338">
                <a:extLst>
                  <a:ext uri="{FF2B5EF4-FFF2-40B4-BE49-F238E27FC236}">
                    <a16:creationId xmlns:a16="http://schemas.microsoft.com/office/drawing/2014/main" id="{A675950D-FE3F-4100-8304-02525FC59CA4}"/>
                  </a:ext>
                </a:extLst>
              </p:cNvPr>
              <p:cNvSpPr/>
              <p:nvPr/>
            </p:nvSpPr>
            <p:spPr>
              <a:xfrm>
                <a:off x="6444417" y="359978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0" name="Freeform: Shape 339">
                <a:extLst>
                  <a:ext uri="{FF2B5EF4-FFF2-40B4-BE49-F238E27FC236}">
                    <a16:creationId xmlns:a16="http://schemas.microsoft.com/office/drawing/2014/main" id="{67959628-A9E4-4868-B5C4-02A208D9EABC}"/>
                  </a:ext>
                </a:extLst>
              </p:cNvPr>
              <p:cNvSpPr/>
              <p:nvPr/>
            </p:nvSpPr>
            <p:spPr>
              <a:xfrm>
                <a:off x="6148476" y="3659026"/>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1" name="Freeform: Shape 340">
                <a:extLst>
                  <a:ext uri="{FF2B5EF4-FFF2-40B4-BE49-F238E27FC236}">
                    <a16:creationId xmlns:a16="http://schemas.microsoft.com/office/drawing/2014/main" id="{ADECC7F1-0F45-486A-A990-EB276BB3384F}"/>
                  </a:ext>
                </a:extLst>
              </p:cNvPr>
              <p:cNvSpPr/>
              <p:nvPr/>
            </p:nvSpPr>
            <p:spPr>
              <a:xfrm>
                <a:off x="620762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2" name="Freeform: Shape 341">
                <a:extLst>
                  <a:ext uri="{FF2B5EF4-FFF2-40B4-BE49-F238E27FC236}">
                    <a16:creationId xmlns:a16="http://schemas.microsoft.com/office/drawing/2014/main" id="{1245F143-DC77-4399-A4A7-A1F3B3918032}"/>
                  </a:ext>
                </a:extLst>
              </p:cNvPr>
              <p:cNvSpPr/>
              <p:nvPr/>
            </p:nvSpPr>
            <p:spPr>
              <a:xfrm>
                <a:off x="6266872" y="36590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3" name="Freeform: Shape 342">
                <a:extLst>
                  <a:ext uri="{FF2B5EF4-FFF2-40B4-BE49-F238E27FC236}">
                    <a16:creationId xmlns:a16="http://schemas.microsoft.com/office/drawing/2014/main" id="{475F08F8-55E9-4206-9AAE-E916FC31406E}"/>
                  </a:ext>
                </a:extLst>
              </p:cNvPr>
              <p:cNvSpPr/>
              <p:nvPr/>
            </p:nvSpPr>
            <p:spPr>
              <a:xfrm>
                <a:off x="6326022"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4" name="Freeform: Shape 343">
                <a:extLst>
                  <a:ext uri="{FF2B5EF4-FFF2-40B4-BE49-F238E27FC236}">
                    <a16:creationId xmlns:a16="http://schemas.microsoft.com/office/drawing/2014/main" id="{B161936D-1B88-4DE0-9773-06D8E71E803C}"/>
                  </a:ext>
                </a:extLst>
              </p:cNvPr>
              <p:cNvSpPr/>
              <p:nvPr/>
            </p:nvSpPr>
            <p:spPr>
              <a:xfrm>
                <a:off x="6385268"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5" name="Freeform: Shape 344">
                <a:extLst>
                  <a:ext uri="{FF2B5EF4-FFF2-40B4-BE49-F238E27FC236}">
                    <a16:creationId xmlns:a16="http://schemas.microsoft.com/office/drawing/2014/main" id="{D9EA60CC-AC1F-49D4-94B1-48FD127B43A7}"/>
                  </a:ext>
                </a:extLst>
              </p:cNvPr>
              <p:cNvSpPr/>
              <p:nvPr/>
            </p:nvSpPr>
            <p:spPr>
              <a:xfrm>
                <a:off x="644441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6" name="Freeform: Shape 345">
                <a:extLst>
                  <a:ext uri="{FF2B5EF4-FFF2-40B4-BE49-F238E27FC236}">
                    <a16:creationId xmlns:a16="http://schemas.microsoft.com/office/drawing/2014/main" id="{56AE36DF-ED72-4751-A123-9AD7BA0CEEE0}"/>
                  </a:ext>
                </a:extLst>
              </p:cNvPr>
              <p:cNvSpPr/>
              <p:nvPr/>
            </p:nvSpPr>
            <p:spPr>
              <a:xfrm>
                <a:off x="6148476" y="3718177"/>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7" name="Freeform: Shape 346">
                <a:extLst>
                  <a:ext uri="{FF2B5EF4-FFF2-40B4-BE49-F238E27FC236}">
                    <a16:creationId xmlns:a16="http://schemas.microsoft.com/office/drawing/2014/main" id="{856DA2E5-CBAE-4B4F-A30B-DFC1EE9B592C}"/>
                  </a:ext>
                </a:extLst>
              </p:cNvPr>
              <p:cNvSpPr/>
              <p:nvPr/>
            </p:nvSpPr>
            <p:spPr>
              <a:xfrm>
                <a:off x="6207627"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8" name="Freeform: Shape 347">
                <a:extLst>
                  <a:ext uri="{FF2B5EF4-FFF2-40B4-BE49-F238E27FC236}">
                    <a16:creationId xmlns:a16="http://schemas.microsoft.com/office/drawing/2014/main" id="{5E60101A-81EF-48E2-B67D-EB8847278D98}"/>
                  </a:ext>
                </a:extLst>
              </p:cNvPr>
              <p:cNvSpPr/>
              <p:nvPr/>
            </p:nvSpPr>
            <p:spPr>
              <a:xfrm>
                <a:off x="6266872" y="3718177"/>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9" name="Freeform: Shape 348">
                <a:extLst>
                  <a:ext uri="{FF2B5EF4-FFF2-40B4-BE49-F238E27FC236}">
                    <a16:creationId xmlns:a16="http://schemas.microsoft.com/office/drawing/2014/main" id="{623BF631-A52C-4AAD-B012-1FD678A1F657}"/>
                  </a:ext>
                </a:extLst>
              </p:cNvPr>
              <p:cNvSpPr/>
              <p:nvPr/>
            </p:nvSpPr>
            <p:spPr>
              <a:xfrm>
                <a:off x="6326022"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0" name="Freeform: Shape 349">
                <a:extLst>
                  <a:ext uri="{FF2B5EF4-FFF2-40B4-BE49-F238E27FC236}">
                    <a16:creationId xmlns:a16="http://schemas.microsoft.com/office/drawing/2014/main" id="{3BA8C092-E3E4-4EA7-A73A-3BB13B493E2D}"/>
                  </a:ext>
                </a:extLst>
              </p:cNvPr>
              <p:cNvSpPr/>
              <p:nvPr/>
            </p:nvSpPr>
            <p:spPr>
              <a:xfrm>
                <a:off x="6385268" y="371817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1" name="Freeform: Shape 350">
                <a:extLst>
                  <a:ext uri="{FF2B5EF4-FFF2-40B4-BE49-F238E27FC236}">
                    <a16:creationId xmlns:a16="http://schemas.microsoft.com/office/drawing/2014/main" id="{E4D5F4C5-FFAD-41D1-9E66-8DEA9AE3C68A}"/>
                  </a:ext>
                </a:extLst>
              </p:cNvPr>
              <p:cNvSpPr/>
              <p:nvPr/>
            </p:nvSpPr>
            <p:spPr>
              <a:xfrm>
                <a:off x="6444417" y="371817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2" name="Freeform: Shape 351">
                <a:extLst>
                  <a:ext uri="{FF2B5EF4-FFF2-40B4-BE49-F238E27FC236}">
                    <a16:creationId xmlns:a16="http://schemas.microsoft.com/office/drawing/2014/main" id="{1B80E2AD-D598-4076-9A70-3FF60D761AAE}"/>
                  </a:ext>
                </a:extLst>
              </p:cNvPr>
              <p:cNvSpPr/>
              <p:nvPr/>
            </p:nvSpPr>
            <p:spPr>
              <a:xfrm>
                <a:off x="6148472" y="3777419"/>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3" name="Freeform: Shape 352">
                <a:extLst>
                  <a:ext uri="{FF2B5EF4-FFF2-40B4-BE49-F238E27FC236}">
                    <a16:creationId xmlns:a16="http://schemas.microsoft.com/office/drawing/2014/main" id="{1E139F40-06E7-4E2F-A479-392BC2D27152}"/>
                  </a:ext>
                </a:extLst>
              </p:cNvPr>
              <p:cNvSpPr/>
              <p:nvPr/>
            </p:nvSpPr>
            <p:spPr>
              <a:xfrm>
                <a:off x="6207622" y="377741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4" name="Freeform: Shape 353">
                <a:extLst>
                  <a:ext uri="{FF2B5EF4-FFF2-40B4-BE49-F238E27FC236}">
                    <a16:creationId xmlns:a16="http://schemas.microsoft.com/office/drawing/2014/main" id="{57B33B74-723F-44E4-8CF7-F68B6BBEE243}"/>
                  </a:ext>
                </a:extLst>
              </p:cNvPr>
              <p:cNvSpPr/>
              <p:nvPr/>
            </p:nvSpPr>
            <p:spPr>
              <a:xfrm>
                <a:off x="6266868" y="3777419"/>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5" name="Freeform: Shape 354">
                <a:extLst>
                  <a:ext uri="{FF2B5EF4-FFF2-40B4-BE49-F238E27FC236}">
                    <a16:creationId xmlns:a16="http://schemas.microsoft.com/office/drawing/2014/main" id="{3300C380-880A-440E-AD73-941A859A69BF}"/>
                  </a:ext>
                </a:extLst>
              </p:cNvPr>
              <p:cNvSpPr/>
              <p:nvPr/>
            </p:nvSpPr>
            <p:spPr>
              <a:xfrm>
                <a:off x="6326024" y="3777383"/>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6" name="Freeform: Shape 355">
                <a:extLst>
                  <a:ext uri="{FF2B5EF4-FFF2-40B4-BE49-F238E27FC236}">
                    <a16:creationId xmlns:a16="http://schemas.microsoft.com/office/drawing/2014/main" id="{8649CE7C-4F6C-4C19-9A37-881B022144B8}"/>
                  </a:ext>
                </a:extLst>
              </p:cNvPr>
              <p:cNvSpPr/>
              <p:nvPr/>
            </p:nvSpPr>
            <p:spPr>
              <a:xfrm>
                <a:off x="6385287" y="377742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7" name="Freeform: Shape 356">
                <a:extLst>
                  <a:ext uri="{FF2B5EF4-FFF2-40B4-BE49-F238E27FC236}">
                    <a16:creationId xmlns:a16="http://schemas.microsoft.com/office/drawing/2014/main" id="{88A320C2-A1D9-4FC0-89CA-B951E12B32C0}"/>
                  </a:ext>
                </a:extLst>
              </p:cNvPr>
              <p:cNvSpPr/>
              <p:nvPr/>
            </p:nvSpPr>
            <p:spPr>
              <a:xfrm>
                <a:off x="6444424" y="37774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grpSp>
        <p:grpSp>
          <p:nvGrpSpPr>
            <p:cNvPr id="19" name="Graphic 4">
              <a:extLst>
                <a:ext uri="{FF2B5EF4-FFF2-40B4-BE49-F238E27FC236}">
                  <a16:creationId xmlns:a16="http://schemas.microsoft.com/office/drawing/2014/main" id="{723EE676-95B0-40B5-BB3B-183555D2F1A1}"/>
                </a:ext>
              </a:extLst>
            </p:cNvPr>
            <p:cNvGrpSpPr/>
            <p:nvPr/>
          </p:nvGrpSpPr>
          <p:grpSpPr>
            <a:xfrm>
              <a:off x="10154386" y="4452483"/>
              <a:ext cx="1443404" cy="1443418"/>
              <a:chOff x="5734037" y="3067039"/>
              <a:chExt cx="724483" cy="724489"/>
            </a:xfrm>
            <a:grpFill/>
          </p:grpSpPr>
          <p:sp>
            <p:nvSpPr>
              <p:cNvPr id="20" name="Freeform: Shape 19">
                <a:extLst>
                  <a:ext uri="{FF2B5EF4-FFF2-40B4-BE49-F238E27FC236}">
                    <a16:creationId xmlns:a16="http://schemas.microsoft.com/office/drawing/2014/main" id="{13EE9E24-328D-4967-A7D6-9AD696D5C918}"/>
                  </a:ext>
                </a:extLst>
              </p:cNvPr>
              <p:cNvSpPr/>
              <p:nvPr/>
            </p:nvSpPr>
            <p:spPr>
              <a:xfrm>
                <a:off x="5734038" y="3067039"/>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 name="Freeform: Shape 20">
                <a:extLst>
                  <a:ext uri="{FF2B5EF4-FFF2-40B4-BE49-F238E27FC236}">
                    <a16:creationId xmlns:a16="http://schemas.microsoft.com/office/drawing/2014/main" id="{7F066982-3E06-46AC-8C85-3AA30F5EFDB9}"/>
                  </a:ext>
                </a:extLst>
              </p:cNvPr>
              <p:cNvSpPr/>
              <p:nvPr/>
            </p:nvSpPr>
            <p:spPr>
              <a:xfrm>
                <a:off x="5793283"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 name="Freeform: Shape 21">
                <a:extLst>
                  <a:ext uri="{FF2B5EF4-FFF2-40B4-BE49-F238E27FC236}">
                    <a16:creationId xmlns:a16="http://schemas.microsoft.com/office/drawing/2014/main" id="{E699AAE6-74C2-4138-8B31-465764562509}"/>
                  </a:ext>
                </a:extLst>
              </p:cNvPr>
              <p:cNvSpPr/>
              <p:nvPr/>
            </p:nvSpPr>
            <p:spPr>
              <a:xfrm>
                <a:off x="5852433"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 name="Freeform: Shape 22">
                <a:extLst>
                  <a:ext uri="{FF2B5EF4-FFF2-40B4-BE49-F238E27FC236}">
                    <a16:creationId xmlns:a16="http://schemas.microsoft.com/office/drawing/2014/main" id="{2FB875D4-122F-435D-8C34-5FA4B0BBE089}"/>
                  </a:ext>
                </a:extLst>
              </p:cNvPr>
              <p:cNvSpPr/>
              <p:nvPr/>
            </p:nvSpPr>
            <p:spPr>
              <a:xfrm>
                <a:off x="591167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 name="Freeform: Shape 23">
                <a:extLst>
                  <a:ext uri="{FF2B5EF4-FFF2-40B4-BE49-F238E27FC236}">
                    <a16:creationId xmlns:a16="http://schemas.microsoft.com/office/drawing/2014/main" id="{A1E1023F-42A9-42FC-86FB-4730DD3158D0}"/>
                  </a:ext>
                </a:extLst>
              </p:cNvPr>
              <p:cNvSpPr/>
              <p:nvPr/>
            </p:nvSpPr>
            <p:spPr>
              <a:xfrm>
                <a:off x="597082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 name="Freeform: Shape 24">
                <a:extLst>
                  <a:ext uri="{FF2B5EF4-FFF2-40B4-BE49-F238E27FC236}">
                    <a16:creationId xmlns:a16="http://schemas.microsoft.com/office/drawing/2014/main" id="{219FA068-A7DA-424C-81C0-CCA59AFF2910}"/>
                  </a:ext>
                </a:extLst>
              </p:cNvPr>
              <p:cNvSpPr/>
              <p:nvPr/>
            </p:nvSpPr>
            <p:spPr>
              <a:xfrm>
                <a:off x="6030074"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 name="Freeform: Shape 25">
                <a:extLst>
                  <a:ext uri="{FF2B5EF4-FFF2-40B4-BE49-F238E27FC236}">
                    <a16:creationId xmlns:a16="http://schemas.microsoft.com/office/drawing/2014/main" id="{76050C48-FA99-47E4-9729-B386AD54EA47}"/>
                  </a:ext>
                </a:extLst>
              </p:cNvPr>
              <p:cNvSpPr/>
              <p:nvPr/>
            </p:nvSpPr>
            <p:spPr>
              <a:xfrm>
                <a:off x="608922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 name="Freeform: Shape 26">
                <a:extLst>
                  <a:ext uri="{FF2B5EF4-FFF2-40B4-BE49-F238E27FC236}">
                    <a16:creationId xmlns:a16="http://schemas.microsoft.com/office/drawing/2014/main" id="{A327ECE9-CE51-4C29-9AFB-D740BC96774A}"/>
                  </a:ext>
                </a:extLst>
              </p:cNvPr>
              <p:cNvSpPr/>
              <p:nvPr/>
            </p:nvSpPr>
            <p:spPr>
              <a:xfrm>
                <a:off x="5734038" y="3126284"/>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 name="Freeform: Shape 27">
                <a:extLst>
                  <a:ext uri="{FF2B5EF4-FFF2-40B4-BE49-F238E27FC236}">
                    <a16:creationId xmlns:a16="http://schemas.microsoft.com/office/drawing/2014/main" id="{3314F941-FE16-4684-AD11-40031407E28F}"/>
                  </a:ext>
                </a:extLst>
              </p:cNvPr>
              <p:cNvSpPr/>
              <p:nvPr/>
            </p:nvSpPr>
            <p:spPr>
              <a:xfrm>
                <a:off x="5793283" y="312628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 name="Freeform: Shape 28">
                <a:extLst>
                  <a:ext uri="{FF2B5EF4-FFF2-40B4-BE49-F238E27FC236}">
                    <a16:creationId xmlns:a16="http://schemas.microsoft.com/office/drawing/2014/main" id="{A12ED5B2-85E7-4C0F-911D-84166633F6CF}"/>
                  </a:ext>
                </a:extLst>
              </p:cNvPr>
              <p:cNvSpPr/>
              <p:nvPr/>
            </p:nvSpPr>
            <p:spPr>
              <a:xfrm>
                <a:off x="5852433"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 name="Freeform: Shape 29">
                <a:extLst>
                  <a:ext uri="{FF2B5EF4-FFF2-40B4-BE49-F238E27FC236}">
                    <a16:creationId xmlns:a16="http://schemas.microsoft.com/office/drawing/2014/main" id="{E16B5A61-8CFF-4FDF-9B21-09C8297A4DAB}"/>
                  </a:ext>
                </a:extLst>
              </p:cNvPr>
              <p:cNvSpPr/>
              <p:nvPr/>
            </p:nvSpPr>
            <p:spPr>
              <a:xfrm>
                <a:off x="591167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 name="Freeform: Shape 30">
                <a:extLst>
                  <a:ext uri="{FF2B5EF4-FFF2-40B4-BE49-F238E27FC236}">
                    <a16:creationId xmlns:a16="http://schemas.microsoft.com/office/drawing/2014/main" id="{CE0A8595-93E1-4499-86A8-9B43B07C11D1}"/>
                  </a:ext>
                </a:extLst>
              </p:cNvPr>
              <p:cNvSpPr/>
              <p:nvPr/>
            </p:nvSpPr>
            <p:spPr>
              <a:xfrm>
                <a:off x="597082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 name="Freeform: Shape 31">
                <a:extLst>
                  <a:ext uri="{FF2B5EF4-FFF2-40B4-BE49-F238E27FC236}">
                    <a16:creationId xmlns:a16="http://schemas.microsoft.com/office/drawing/2014/main" id="{2C380735-19C3-47FA-978D-3E9904679374}"/>
                  </a:ext>
                </a:extLst>
              </p:cNvPr>
              <p:cNvSpPr/>
              <p:nvPr/>
            </p:nvSpPr>
            <p:spPr>
              <a:xfrm>
                <a:off x="6030073" y="3126284"/>
                <a:ext cx="14097" cy="14097"/>
              </a:xfrm>
              <a:custGeom>
                <a:avLst/>
                <a:gdLst>
                  <a:gd name="connsiteX0" fmla="*/ 14097 w 14097"/>
                  <a:gd name="connsiteY0" fmla="*/ 7049 h 14097"/>
                  <a:gd name="connsiteX1" fmla="*/ 7048 w 14097"/>
                  <a:gd name="connsiteY1" fmla="*/ 14097 h 14097"/>
                  <a:gd name="connsiteX2" fmla="*/ 0 w 14097"/>
                  <a:gd name="connsiteY2" fmla="*/ 7049 h 14097"/>
                  <a:gd name="connsiteX3" fmla="*/ 7048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 name="Freeform: Shape 32">
                <a:extLst>
                  <a:ext uri="{FF2B5EF4-FFF2-40B4-BE49-F238E27FC236}">
                    <a16:creationId xmlns:a16="http://schemas.microsoft.com/office/drawing/2014/main" id="{CA6B2F2B-1750-4093-AD58-D2AA9CF8266F}"/>
                  </a:ext>
                </a:extLst>
              </p:cNvPr>
              <p:cNvSpPr/>
              <p:nvPr/>
            </p:nvSpPr>
            <p:spPr>
              <a:xfrm>
                <a:off x="6089224"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 name="Freeform: Shape 33">
                <a:extLst>
                  <a:ext uri="{FF2B5EF4-FFF2-40B4-BE49-F238E27FC236}">
                    <a16:creationId xmlns:a16="http://schemas.microsoft.com/office/drawing/2014/main" id="{AB32A52B-3F30-43A0-88FD-9AB3DD78B034}"/>
                  </a:ext>
                </a:extLst>
              </p:cNvPr>
              <p:cNvSpPr/>
              <p:nvPr/>
            </p:nvSpPr>
            <p:spPr>
              <a:xfrm>
                <a:off x="5734038" y="318543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 name="Freeform: Shape 34">
                <a:extLst>
                  <a:ext uri="{FF2B5EF4-FFF2-40B4-BE49-F238E27FC236}">
                    <a16:creationId xmlns:a16="http://schemas.microsoft.com/office/drawing/2014/main" id="{C94B2563-F4BE-4780-ABE8-8359DBB2371F}"/>
                  </a:ext>
                </a:extLst>
              </p:cNvPr>
              <p:cNvSpPr/>
              <p:nvPr/>
            </p:nvSpPr>
            <p:spPr>
              <a:xfrm>
                <a:off x="5793283"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6" name="Freeform: Shape 35">
                <a:extLst>
                  <a:ext uri="{FF2B5EF4-FFF2-40B4-BE49-F238E27FC236}">
                    <a16:creationId xmlns:a16="http://schemas.microsoft.com/office/drawing/2014/main" id="{372DFDDB-1231-49CA-84CA-E4BE438A3182}"/>
                  </a:ext>
                </a:extLst>
              </p:cNvPr>
              <p:cNvSpPr/>
              <p:nvPr/>
            </p:nvSpPr>
            <p:spPr>
              <a:xfrm>
                <a:off x="5852433"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7" name="Freeform: Shape 36">
                <a:extLst>
                  <a:ext uri="{FF2B5EF4-FFF2-40B4-BE49-F238E27FC236}">
                    <a16:creationId xmlns:a16="http://schemas.microsoft.com/office/drawing/2014/main" id="{930DEA24-357A-4CE2-A894-9CC59149E6BB}"/>
                  </a:ext>
                </a:extLst>
              </p:cNvPr>
              <p:cNvSpPr/>
              <p:nvPr/>
            </p:nvSpPr>
            <p:spPr>
              <a:xfrm>
                <a:off x="591167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8" name="Freeform: Shape 37">
                <a:extLst>
                  <a:ext uri="{FF2B5EF4-FFF2-40B4-BE49-F238E27FC236}">
                    <a16:creationId xmlns:a16="http://schemas.microsoft.com/office/drawing/2014/main" id="{5334C62D-A806-464B-86FF-63BA4B4B7DB0}"/>
                  </a:ext>
                </a:extLst>
              </p:cNvPr>
              <p:cNvSpPr/>
              <p:nvPr/>
            </p:nvSpPr>
            <p:spPr>
              <a:xfrm>
                <a:off x="597082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9" name="Freeform: Shape 38">
                <a:extLst>
                  <a:ext uri="{FF2B5EF4-FFF2-40B4-BE49-F238E27FC236}">
                    <a16:creationId xmlns:a16="http://schemas.microsoft.com/office/drawing/2014/main" id="{DC0AE61D-5513-4496-AF95-4F1FA2D368B3}"/>
                  </a:ext>
                </a:extLst>
              </p:cNvPr>
              <p:cNvSpPr/>
              <p:nvPr/>
            </p:nvSpPr>
            <p:spPr>
              <a:xfrm>
                <a:off x="6030074"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0" name="Freeform: Shape 39">
                <a:extLst>
                  <a:ext uri="{FF2B5EF4-FFF2-40B4-BE49-F238E27FC236}">
                    <a16:creationId xmlns:a16="http://schemas.microsoft.com/office/drawing/2014/main" id="{7D604D00-5107-4CA5-8461-DBF2520C1636}"/>
                  </a:ext>
                </a:extLst>
              </p:cNvPr>
              <p:cNvSpPr/>
              <p:nvPr/>
            </p:nvSpPr>
            <p:spPr>
              <a:xfrm>
                <a:off x="6089224"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1" name="Freeform: Shape 40">
                <a:extLst>
                  <a:ext uri="{FF2B5EF4-FFF2-40B4-BE49-F238E27FC236}">
                    <a16:creationId xmlns:a16="http://schemas.microsoft.com/office/drawing/2014/main" id="{ABF1B949-6E40-46C3-BCE9-DA2A24C5D2AF}"/>
                  </a:ext>
                </a:extLst>
              </p:cNvPr>
              <p:cNvSpPr/>
              <p:nvPr/>
            </p:nvSpPr>
            <p:spPr>
              <a:xfrm>
                <a:off x="5734038" y="324467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2" name="Freeform: Shape 41">
                <a:extLst>
                  <a:ext uri="{FF2B5EF4-FFF2-40B4-BE49-F238E27FC236}">
                    <a16:creationId xmlns:a16="http://schemas.microsoft.com/office/drawing/2014/main" id="{9C0D9DE4-3D59-4B4F-8054-99080988D424}"/>
                  </a:ext>
                </a:extLst>
              </p:cNvPr>
              <p:cNvSpPr/>
              <p:nvPr/>
            </p:nvSpPr>
            <p:spPr>
              <a:xfrm>
                <a:off x="5793283" y="3244677"/>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3" name="Freeform: Shape 42">
                <a:extLst>
                  <a:ext uri="{FF2B5EF4-FFF2-40B4-BE49-F238E27FC236}">
                    <a16:creationId xmlns:a16="http://schemas.microsoft.com/office/drawing/2014/main" id="{DF2EC95B-927F-4B94-B878-CD68D0DC4E24}"/>
                  </a:ext>
                </a:extLst>
              </p:cNvPr>
              <p:cNvSpPr/>
              <p:nvPr/>
            </p:nvSpPr>
            <p:spPr>
              <a:xfrm>
                <a:off x="5852433"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4" name="Freeform: Shape 43">
                <a:extLst>
                  <a:ext uri="{FF2B5EF4-FFF2-40B4-BE49-F238E27FC236}">
                    <a16:creationId xmlns:a16="http://schemas.microsoft.com/office/drawing/2014/main" id="{7001FEFB-AE24-4CF7-8EEF-084BCD466D81}"/>
                  </a:ext>
                </a:extLst>
              </p:cNvPr>
              <p:cNvSpPr/>
              <p:nvPr/>
            </p:nvSpPr>
            <p:spPr>
              <a:xfrm>
                <a:off x="591167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5" name="Freeform: Shape 44">
                <a:extLst>
                  <a:ext uri="{FF2B5EF4-FFF2-40B4-BE49-F238E27FC236}">
                    <a16:creationId xmlns:a16="http://schemas.microsoft.com/office/drawing/2014/main" id="{459BD4F3-A5E1-4F7D-A7AB-EF6BED5BE889}"/>
                  </a:ext>
                </a:extLst>
              </p:cNvPr>
              <p:cNvSpPr/>
              <p:nvPr/>
            </p:nvSpPr>
            <p:spPr>
              <a:xfrm>
                <a:off x="597082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6" name="Freeform: Shape 45">
                <a:extLst>
                  <a:ext uri="{FF2B5EF4-FFF2-40B4-BE49-F238E27FC236}">
                    <a16:creationId xmlns:a16="http://schemas.microsoft.com/office/drawing/2014/main" id="{F1687F6E-4940-4782-A3A7-5C9C1552BF4B}"/>
                  </a:ext>
                </a:extLst>
              </p:cNvPr>
              <p:cNvSpPr/>
              <p:nvPr/>
            </p:nvSpPr>
            <p:spPr>
              <a:xfrm>
                <a:off x="6030073" y="324467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7" name="Freeform: Shape 46">
                <a:extLst>
                  <a:ext uri="{FF2B5EF4-FFF2-40B4-BE49-F238E27FC236}">
                    <a16:creationId xmlns:a16="http://schemas.microsoft.com/office/drawing/2014/main" id="{BEC7FFDC-A904-44D2-8F0B-91A5C76CC514}"/>
                  </a:ext>
                </a:extLst>
              </p:cNvPr>
              <p:cNvSpPr/>
              <p:nvPr/>
            </p:nvSpPr>
            <p:spPr>
              <a:xfrm>
                <a:off x="6089224"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8" name="Freeform: Shape 47">
                <a:extLst>
                  <a:ext uri="{FF2B5EF4-FFF2-40B4-BE49-F238E27FC236}">
                    <a16:creationId xmlns:a16="http://schemas.microsoft.com/office/drawing/2014/main" id="{EA15C8BC-5975-40E1-A988-EB34FBCF078A}"/>
                  </a:ext>
                </a:extLst>
              </p:cNvPr>
              <p:cNvSpPr/>
              <p:nvPr/>
            </p:nvSpPr>
            <p:spPr>
              <a:xfrm>
                <a:off x="5734038" y="330382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9" name="Freeform: Shape 48">
                <a:extLst>
                  <a:ext uri="{FF2B5EF4-FFF2-40B4-BE49-F238E27FC236}">
                    <a16:creationId xmlns:a16="http://schemas.microsoft.com/office/drawing/2014/main" id="{371BAC0D-2BF9-4781-A7BB-06AA16D0E6C2}"/>
                  </a:ext>
                </a:extLst>
              </p:cNvPr>
              <p:cNvSpPr/>
              <p:nvPr/>
            </p:nvSpPr>
            <p:spPr>
              <a:xfrm>
                <a:off x="5793283"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0" name="Freeform: Shape 49">
                <a:extLst>
                  <a:ext uri="{FF2B5EF4-FFF2-40B4-BE49-F238E27FC236}">
                    <a16:creationId xmlns:a16="http://schemas.microsoft.com/office/drawing/2014/main" id="{8FD04182-650D-498F-A066-FE4C0FA6DA1E}"/>
                  </a:ext>
                </a:extLst>
              </p:cNvPr>
              <p:cNvSpPr/>
              <p:nvPr/>
            </p:nvSpPr>
            <p:spPr>
              <a:xfrm>
                <a:off x="5852433"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1" name="Freeform: Shape 50">
                <a:extLst>
                  <a:ext uri="{FF2B5EF4-FFF2-40B4-BE49-F238E27FC236}">
                    <a16:creationId xmlns:a16="http://schemas.microsoft.com/office/drawing/2014/main" id="{6E839DFF-01B4-4B5E-9910-024EC8FE1DA7}"/>
                  </a:ext>
                </a:extLst>
              </p:cNvPr>
              <p:cNvSpPr/>
              <p:nvPr/>
            </p:nvSpPr>
            <p:spPr>
              <a:xfrm>
                <a:off x="591167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2" name="Freeform: Shape 51">
                <a:extLst>
                  <a:ext uri="{FF2B5EF4-FFF2-40B4-BE49-F238E27FC236}">
                    <a16:creationId xmlns:a16="http://schemas.microsoft.com/office/drawing/2014/main" id="{0C100C3D-5A4C-4D50-AAEC-07A4457548DE}"/>
                  </a:ext>
                </a:extLst>
              </p:cNvPr>
              <p:cNvSpPr/>
              <p:nvPr/>
            </p:nvSpPr>
            <p:spPr>
              <a:xfrm>
                <a:off x="597082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3" name="Freeform: Shape 52">
                <a:extLst>
                  <a:ext uri="{FF2B5EF4-FFF2-40B4-BE49-F238E27FC236}">
                    <a16:creationId xmlns:a16="http://schemas.microsoft.com/office/drawing/2014/main" id="{C8647050-08AF-4BD8-87C4-CA230312901B}"/>
                  </a:ext>
                </a:extLst>
              </p:cNvPr>
              <p:cNvSpPr/>
              <p:nvPr/>
            </p:nvSpPr>
            <p:spPr>
              <a:xfrm>
                <a:off x="6030073" y="330382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4" name="Freeform: Shape 53">
                <a:extLst>
                  <a:ext uri="{FF2B5EF4-FFF2-40B4-BE49-F238E27FC236}">
                    <a16:creationId xmlns:a16="http://schemas.microsoft.com/office/drawing/2014/main" id="{9A0F33E0-AADA-44E2-A5AC-31DF5EE3D381}"/>
                  </a:ext>
                </a:extLst>
              </p:cNvPr>
              <p:cNvSpPr/>
              <p:nvPr/>
            </p:nvSpPr>
            <p:spPr>
              <a:xfrm>
                <a:off x="608922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5" name="Freeform: Shape 54">
                <a:extLst>
                  <a:ext uri="{FF2B5EF4-FFF2-40B4-BE49-F238E27FC236}">
                    <a16:creationId xmlns:a16="http://schemas.microsoft.com/office/drawing/2014/main" id="{32C8FA1D-A02A-4388-9886-69EBC58C077E}"/>
                  </a:ext>
                </a:extLst>
              </p:cNvPr>
              <p:cNvSpPr/>
              <p:nvPr/>
            </p:nvSpPr>
            <p:spPr>
              <a:xfrm>
                <a:off x="5734038" y="3363074"/>
                <a:ext cx="14192" cy="14097"/>
              </a:xfrm>
              <a:custGeom>
                <a:avLst/>
                <a:gdLst>
                  <a:gd name="connsiteX0" fmla="*/ 14192 w 14192"/>
                  <a:gd name="connsiteY0" fmla="*/ 7048 h 14097"/>
                  <a:gd name="connsiteX1" fmla="*/ 7144 w 14192"/>
                  <a:gd name="connsiteY1" fmla="*/ 14097 h 14097"/>
                  <a:gd name="connsiteX2" fmla="*/ 0 w 14192"/>
                  <a:gd name="connsiteY2" fmla="*/ 7048 h 14097"/>
                  <a:gd name="connsiteX3" fmla="*/ 7049 w 14192"/>
                  <a:gd name="connsiteY3" fmla="*/ 0 h 14097"/>
                  <a:gd name="connsiteX4" fmla="*/ 14192 w 14192"/>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6" name="Freeform: Shape 55">
                <a:extLst>
                  <a:ext uri="{FF2B5EF4-FFF2-40B4-BE49-F238E27FC236}">
                    <a16:creationId xmlns:a16="http://schemas.microsoft.com/office/drawing/2014/main" id="{99421FD3-355A-4629-BFAD-527ECD82EE07}"/>
                  </a:ext>
                </a:extLst>
              </p:cNvPr>
              <p:cNvSpPr/>
              <p:nvPr/>
            </p:nvSpPr>
            <p:spPr>
              <a:xfrm>
                <a:off x="5793283"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7" name="Freeform: Shape 56">
                <a:extLst>
                  <a:ext uri="{FF2B5EF4-FFF2-40B4-BE49-F238E27FC236}">
                    <a16:creationId xmlns:a16="http://schemas.microsoft.com/office/drawing/2014/main" id="{2AB71DCF-EB57-4B33-9FF7-11CA0CB96573}"/>
                  </a:ext>
                </a:extLst>
              </p:cNvPr>
              <p:cNvSpPr/>
              <p:nvPr/>
            </p:nvSpPr>
            <p:spPr>
              <a:xfrm>
                <a:off x="5852433"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8" name="Freeform: Shape 57">
                <a:extLst>
                  <a:ext uri="{FF2B5EF4-FFF2-40B4-BE49-F238E27FC236}">
                    <a16:creationId xmlns:a16="http://schemas.microsoft.com/office/drawing/2014/main" id="{CE86AA54-A444-4823-A6DC-491E77E34B4A}"/>
                  </a:ext>
                </a:extLst>
              </p:cNvPr>
              <p:cNvSpPr/>
              <p:nvPr/>
            </p:nvSpPr>
            <p:spPr>
              <a:xfrm>
                <a:off x="591167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9" name="Freeform: Shape 58">
                <a:extLst>
                  <a:ext uri="{FF2B5EF4-FFF2-40B4-BE49-F238E27FC236}">
                    <a16:creationId xmlns:a16="http://schemas.microsoft.com/office/drawing/2014/main" id="{750E2DF6-23A6-4192-BD64-7997AABE595B}"/>
                  </a:ext>
                </a:extLst>
              </p:cNvPr>
              <p:cNvSpPr/>
              <p:nvPr/>
            </p:nvSpPr>
            <p:spPr>
              <a:xfrm>
                <a:off x="597082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0" name="Freeform: Shape 59">
                <a:extLst>
                  <a:ext uri="{FF2B5EF4-FFF2-40B4-BE49-F238E27FC236}">
                    <a16:creationId xmlns:a16="http://schemas.microsoft.com/office/drawing/2014/main" id="{DC3D9758-1EA4-43A6-8375-DDED592A9AB6}"/>
                  </a:ext>
                </a:extLst>
              </p:cNvPr>
              <p:cNvSpPr/>
              <p:nvPr/>
            </p:nvSpPr>
            <p:spPr>
              <a:xfrm>
                <a:off x="6030073" y="3363074"/>
                <a:ext cx="14097" cy="14097"/>
              </a:xfrm>
              <a:custGeom>
                <a:avLst/>
                <a:gdLst>
                  <a:gd name="connsiteX0" fmla="*/ 14097 w 14097"/>
                  <a:gd name="connsiteY0" fmla="*/ 7048 h 14097"/>
                  <a:gd name="connsiteX1" fmla="*/ 7048 w 14097"/>
                  <a:gd name="connsiteY1" fmla="*/ 14097 h 14097"/>
                  <a:gd name="connsiteX2" fmla="*/ 0 w 14097"/>
                  <a:gd name="connsiteY2" fmla="*/ 7048 h 14097"/>
                  <a:gd name="connsiteX3" fmla="*/ 7048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1" name="Freeform: Shape 60">
                <a:extLst>
                  <a:ext uri="{FF2B5EF4-FFF2-40B4-BE49-F238E27FC236}">
                    <a16:creationId xmlns:a16="http://schemas.microsoft.com/office/drawing/2014/main" id="{1DFC1416-C64A-4C0B-8898-ABAABA0FCBC2}"/>
                  </a:ext>
                </a:extLst>
              </p:cNvPr>
              <p:cNvSpPr/>
              <p:nvPr/>
            </p:nvSpPr>
            <p:spPr>
              <a:xfrm>
                <a:off x="608922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2" name="Freeform: Shape 61">
                <a:extLst>
                  <a:ext uri="{FF2B5EF4-FFF2-40B4-BE49-F238E27FC236}">
                    <a16:creationId xmlns:a16="http://schemas.microsoft.com/office/drawing/2014/main" id="{D2A221D1-7EAA-4907-A58E-8E81E7BA4748}"/>
                  </a:ext>
                </a:extLst>
              </p:cNvPr>
              <p:cNvSpPr/>
              <p:nvPr/>
            </p:nvSpPr>
            <p:spPr>
              <a:xfrm>
                <a:off x="5734038" y="342222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3" name="Freeform: Shape 62">
                <a:extLst>
                  <a:ext uri="{FF2B5EF4-FFF2-40B4-BE49-F238E27FC236}">
                    <a16:creationId xmlns:a16="http://schemas.microsoft.com/office/drawing/2014/main" id="{AAC899B4-B060-44A9-9E5E-60A775CE2D41}"/>
                  </a:ext>
                </a:extLst>
              </p:cNvPr>
              <p:cNvSpPr/>
              <p:nvPr/>
            </p:nvSpPr>
            <p:spPr>
              <a:xfrm>
                <a:off x="5793283"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4" name="Freeform: Shape 63">
                <a:extLst>
                  <a:ext uri="{FF2B5EF4-FFF2-40B4-BE49-F238E27FC236}">
                    <a16:creationId xmlns:a16="http://schemas.microsoft.com/office/drawing/2014/main" id="{F68A0E9C-6E97-4889-8C4E-1771D6465B4D}"/>
                  </a:ext>
                </a:extLst>
              </p:cNvPr>
              <p:cNvSpPr/>
              <p:nvPr/>
            </p:nvSpPr>
            <p:spPr>
              <a:xfrm>
                <a:off x="5852433"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5" name="Freeform: Shape 64">
                <a:extLst>
                  <a:ext uri="{FF2B5EF4-FFF2-40B4-BE49-F238E27FC236}">
                    <a16:creationId xmlns:a16="http://schemas.microsoft.com/office/drawing/2014/main" id="{D705A29F-351D-4D7D-AB5F-B6A24011D559}"/>
                  </a:ext>
                </a:extLst>
              </p:cNvPr>
              <p:cNvSpPr/>
              <p:nvPr/>
            </p:nvSpPr>
            <p:spPr>
              <a:xfrm>
                <a:off x="591167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6" name="Freeform: Shape 65">
                <a:extLst>
                  <a:ext uri="{FF2B5EF4-FFF2-40B4-BE49-F238E27FC236}">
                    <a16:creationId xmlns:a16="http://schemas.microsoft.com/office/drawing/2014/main" id="{EC0BB292-2828-40AB-A869-CF6D114F0630}"/>
                  </a:ext>
                </a:extLst>
              </p:cNvPr>
              <p:cNvSpPr/>
              <p:nvPr/>
            </p:nvSpPr>
            <p:spPr>
              <a:xfrm>
                <a:off x="597082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7" name="Freeform: Shape 66">
                <a:extLst>
                  <a:ext uri="{FF2B5EF4-FFF2-40B4-BE49-F238E27FC236}">
                    <a16:creationId xmlns:a16="http://schemas.microsoft.com/office/drawing/2014/main" id="{78EEFC2A-B463-4C2F-8D33-BA746EEC561E}"/>
                  </a:ext>
                </a:extLst>
              </p:cNvPr>
              <p:cNvSpPr/>
              <p:nvPr/>
            </p:nvSpPr>
            <p:spPr>
              <a:xfrm>
                <a:off x="6030073" y="342222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8" name="Freeform: Shape 67">
                <a:extLst>
                  <a:ext uri="{FF2B5EF4-FFF2-40B4-BE49-F238E27FC236}">
                    <a16:creationId xmlns:a16="http://schemas.microsoft.com/office/drawing/2014/main" id="{669784EC-901F-43E1-9785-CA274A2E37AE}"/>
                  </a:ext>
                </a:extLst>
              </p:cNvPr>
              <p:cNvSpPr/>
              <p:nvPr/>
            </p:nvSpPr>
            <p:spPr>
              <a:xfrm>
                <a:off x="608922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9" name="Freeform: Shape 68">
                <a:extLst>
                  <a:ext uri="{FF2B5EF4-FFF2-40B4-BE49-F238E27FC236}">
                    <a16:creationId xmlns:a16="http://schemas.microsoft.com/office/drawing/2014/main" id="{EA79E5A7-5CA0-40FF-86F1-17C44CDA5EE3}"/>
                  </a:ext>
                </a:extLst>
              </p:cNvPr>
              <p:cNvSpPr/>
              <p:nvPr/>
            </p:nvSpPr>
            <p:spPr>
              <a:xfrm>
                <a:off x="6148469"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6953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9" y="14097"/>
                    </a:cubicBezTo>
                    <a:cubicBezTo>
                      <a:pt x="3143" y="14097"/>
                      <a:pt x="0" y="10954"/>
                      <a:pt x="0" y="7049"/>
                    </a:cubicBezTo>
                    <a:cubicBezTo>
                      <a:pt x="0" y="3143"/>
                      <a:pt x="3048" y="0"/>
                      <a:pt x="6953"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0" name="Freeform: Shape 69">
                <a:extLst>
                  <a:ext uri="{FF2B5EF4-FFF2-40B4-BE49-F238E27FC236}">
                    <a16:creationId xmlns:a16="http://schemas.microsoft.com/office/drawing/2014/main" id="{CA733E24-831B-4F88-B794-2CBF062D1F34}"/>
                  </a:ext>
                </a:extLst>
              </p:cNvPr>
              <p:cNvSpPr/>
              <p:nvPr/>
            </p:nvSpPr>
            <p:spPr>
              <a:xfrm>
                <a:off x="620762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1" name="Freeform: Shape 70">
                <a:extLst>
                  <a:ext uri="{FF2B5EF4-FFF2-40B4-BE49-F238E27FC236}">
                    <a16:creationId xmlns:a16="http://schemas.microsoft.com/office/drawing/2014/main" id="{6C529298-268D-4F6A-8278-B794C72F612D}"/>
                  </a:ext>
                </a:extLst>
              </p:cNvPr>
              <p:cNvSpPr/>
              <p:nvPr/>
            </p:nvSpPr>
            <p:spPr>
              <a:xfrm>
                <a:off x="6266865" y="3067039"/>
                <a:ext cx="14096" cy="14097"/>
              </a:xfrm>
              <a:custGeom>
                <a:avLst/>
                <a:gdLst>
                  <a:gd name="connsiteX0" fmla="*/ 14097 w 14096"/>
                  <a:gd name="connsiteY0" fmla="*/ 7049 h 14097"/>
                  <a:gd name="connsiteX1" fmla="*/ 7049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9" y="14097"/>
                    </a:cubicBezTo>
                    <a:cubicBezTo>
                      <a:pt x="3143" y="14097"/>
                      <a:pt x="0" y="10954"/>
                      <a:pt x="0" y="7049"/>
                    </a:cubicBezTo>
                    <a:cubicBezTo>
                      <a:pt x="0" y="3143"/>
                      <a:pt x="3048" y="0"/>
                      <a:pt x="6953" y="0"/>
                    </a:cubicBezTo>
                    <a:cubicBezTo>
                      <a:pt x="10859"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2" name="Freeform: Shape 71">
                <a:extLst>
                  <a:ext uri="{FF2B5EF4-FFF2-40B4-BE49-F238E27FC236}">
                    <a16:creationId xmlns:a16="http://schemas.microsoft.com/office/drawing/2014/main" id="{9025A9CB-F748-49F6-BD88-DACA23F6D574}"/>
                  </a:ext>
                </a:extLst>
              </p:cNvPr>
              <p:cNvSpPr/>
              <p:nvPr/>
            </p:nvSpPr>
            <p:spPr>
              <a:xfrm>
                <a:off x="632601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3" name="Freeform: Shape 72">
                <a:extLst>
                  <a:ext uri="{FF2B5EF4-FFF2-40B4-BE49-F238E27FC236}">
                    <a16:creationId xmlns:a16="http://schemas.microsoft.com/office/drawing/2014/main" id="{54D26918-0834-40FF-888A-16AB573AB42D}"/>
                  </a:ext>
                </a:extLst>
              </p:cNvPr>
              <p:cNvSpPr/>
              <p:nvPr/>
            </p:nvSpPr>
            <p:spPr>
              <a:xfrm>
                <a:off x="638526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048" y="0"/>
                      <a:pt x="6953" y="0"/>
                    </a:cubicBezTo>
                    <a:cubicBezTo>
                      <a:pt x="10858"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4" name="Freeform: Shape 73">
                <a:extLst>
                  <a:ext uri="{FF2B5EF4-FFF2-40B4-BE49-F238E27FC236}">
                    <a16:creationId xmlns:a16="http://schemas.microsoft.com/office/drawing/2014/main" id="{3BA0D0AD-9F3E-4A88-AD9A-027E61780550}"/>
                  </a:ext>
                </a:extLst>
              </p:cNvPr>
              <p:cNvSpPr/>
              <p:nvPr/>
            </p:nvSpPr>
            <p:spPr>
              <a:xfrm>
                <a:off x="644441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5" name="Freeform: Shape 74">
                <a:extLst>
                  <a:ext uri="{FF2B5EF4-FFF2-40B4-BE49-F238E27FC236}">
                    <a16:creationId xmlns:a16="http://schemas.microsoft.com/office/drawing/2014/main" id="{C89DCC43-513D-49FC-AF25-83BBD29B7661}"/>
                  </a:ext>
                </a:extLst>
              </p:cNvPr>
              <p:cNvSpPr/>
              <p:nvPr/>
            </p:nvSpPr>
            <p:spPr>
              <a:xfrm>
                <a:off x="6148469" y="3126281"/>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6" name="Freeform: Shape 75">
                <a:extLst>
                  <a:ext uri="{FF2B5EF4-FFF2-40B4-BE49-F238E27FC236}">
                    <a16:creationId xmlns:a16="http://schemas.microsoft.com/office/drawing/2014/main" id="{AFEAF63A-AFBF-4F67-88D7-ADA3D9E00FC4}"/>
                  </a:ext>
                </a:extLst>
              </p:cNvPr>
              <p:cNvSpPr/>
              <p:nvPr/>
            </p:nvSpPr>
            <p:spPr>
              <a:xfrm>
                <a:off x="620762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7" name="Freeform: Shape 76">
                <a:extLst>
                  <a:ext uri="{FF2B5EF4-FFF2-40B4-BE49-F238E27FC236}">
                    <a16:creationId xmlns:a16="http://schemas.microsoft.com/office/drawing/2014/main" id="{448DE51B-423E-482E-903E-5139E42BDD4C}"/>
                  </a:ext>
                </a:extLst>
              </p:cNvPr>
              <p:cNvSpPr/>
              <p:nvPr/>
            </p:nvSpPr>
            <p:spPr>
              <a:xfrm>
                <a:off x="6266865" y="3126281"/>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8" name="Freeform: Shape 77">
                <a:extLst>
                  <a:ext uri="{FF2B5EF4-FFF2-40B4-BE49-F238E27FC236}">
                    <a16:creationId xmlns:a16="http://schemas.microsoft.com/office/drawing/2014/main" id="{5449ADB8-318D-4965-814B-D6A13F780F1D}"/>
                  </a:ext>
                </a:extLst>
              </p:cNvPr>
              <p:cNvSpPr/>
              <p:nvPr/>
            </p:nvSpPr>
            <p:spPr>
              <a:xfrm>
                <a:off x="6326014"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9" name="Freeform: Shape 78">
                <a:extLst>
                  <a:ext uri="{FF2B5EF4-FFF2-40B4-BE49-F238E27FC236}">
                    <a16:creationId xmlns:a16="http://schemas.microsoft.com/office/drawing/2014/main" id="{FD514D12-AA49-408C-BEE1-BBCF4C036159}"/>
                  </a:ext>
                </a:extLst>
              </p:cNvPr>
              <p:cNvSpPr/>
              <p:nvPr/>
            </p:nvSpPr>
            <p:spPr>
              <a:xfrm>
                <a:off x="638526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0" name="Freeform: Shape 79">
                <a:extLst>
                  <a:ext uri="{FF2B5EF4-FFF2-40B4-BE49-F238E27FC236}">
                    <a16:creationId xmlns:a16="http://schemas.microsoft.com/office/drawing/2014/main" id="{05A785BE-E570-4DB4-8F7F-0AC9077116D8}"/>
                  </a:ext>
                </a:extLst>
              </p:cNvPr>
              <p:cNvSpPr/>
              <p:nvPr/>
            </p:nvSpPr>
            <p:spPr>
              <a:xfrm>
                <a:off x="6444410" y="312628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1" name="Freeform: Shape 80">
                <a:extLst>
                  <a:ext uri="{FF2B5EF4-FFF2-40B4-BE49-F238E27FC236}">
                    <a16:creationId xmlns:a16="http://schemas.microsoft.com/office/drawing/2014/main" id="{97E79511-3F2F-4B2E-8830-7B7F555DA83E}"/>
                  </a:ext>
                </a:extLst>
              </p:cNvPr>
              <p:cNvSpPr/>
              <p:nvPr/>
            </p:nvSpPr>
            <p:spPr>
              <a:xfrm>
                <a:off x="6148469" y="3185433"/>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2" name="Freeform: Shape 81">
                <a:extLst>
                  <a:ext uri="{FF2B5EF4-FFF2-40B4-BE49-F238E27FC236}">
                    <a16:creationId xmlns:a16="http://schemas.microsoft.com/office/drawing/2014/main" id="{DB7310B7-0080-4264-91E4-C548107F6D72}"/>
                  </a:ext>
                </a:extLst>
              </p:cNvPr>
              <p:cNvSpPr/>
              <p:nvPr/>
            </p:nvSpPr>
            <p:spPr>
              <a:xfrm>
                <a:off x="620762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3" name="Freeform: Shape 82">
                <a:extLst>
                  <a:ext uri="{FF2B5EF4-FFF2-40B4-BE49-F238E27FC236}">
                    <a16:creationId xmlns:a16="http://schemas.microsoft.com/office/drawing/2014/main" id="{45FF82DB-4737-404E-9ACA-B19B6A089EA8}"/>
                  </a:ext>
                </a:extLst>
              </p:cNvPr>
              <p:cNvSpPr/>
              <p:nvPr/>
            </p:nvSpPr>
            <p:spPr>
              <a:xfrm>
                <a:off x="6266865" y="3185433"/>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4" name="Freeform: Shape 83">
                <a:extLst>
                  <a:ext uri="{FF2B5EF4-FFF2-40B4-BE49-F238E27FC236}">
                    <a16:creationId xmlns:a16="http://schemas.microsoft.com/office/drawing/2014/main" id="{43A6BFE2-F1B0-4924-9302-9DA895CA44C3}"/>
                  </a:ext>
                </a:extLst>
              </p:cNvPr>
              <p:cNvSpPr/>
              <p:nvPr/>
            </p:nvSpPr>
            <p:spPr>
              <a:xfrm>
                <a:off x="6326014"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5" name="Freeform: Shape 84">
                <a:extLst>
                  <a:ext uri="{FF2B5EF4-FFF2-40B4-BE49-F238E27FC236}">
                    <a16:creationId xmlns:a16="http://schemas.microsoft.com/office/drawing/2014/main" id="{9CDDEDDC-F6C4-4D85-8B8D-DA09731DAC62}"/>
                  </a:ext>
                </a:extLst>
              </p:cNvPr>
              <p:cNvSpPr/>
              <p:nvPr/>
            </p:nvSpPr>
            <p:spPr>
              <a:xfrm>
                <a:off x="638526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6" name="Freeform: Shape 85">
                <a:extLst>
                  <a:ext uri="{FF2B5EF4-FFF2-40B4-BE49-F238E27FC236}">
                    <a16:creationId xmlns:a16="http://schemas.microsoft.com/office/drawing/2014/main" id="{DA23F74A-EE1B-414F-A58F-CB49D8A32924}"/>
                  </a:ext>
                </a:extLst>
              </p:cNvPr>
              <p:cNvSpPr/>
              <p:nvPr/>
            </p:nvSpPr>
            <p:spPr>
              <a:xfrm>
                <a:off x="6444410" y="3185432"/>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7" name="Freeform: Shape 86">
                <a:extLst>
                  <a:ext uri="{FF2B5EF4-FFF2-40B4-BE49-F238E27FC236}">
                    <a16:creationId xmlns:a16="http://schemas.microsoft.com/office/drawing/2014/main" id="{56AFD036-E68B-45F9-9B76-E4B3A4B50800}"/>
                  </a:ext>
                </a:extLst>
              </p:cNvPr>
              <p:cNvSpPr/>
              <p:nvPr/>
            </p:nvSpPr>
            <p:spPr>
              <a:xfrm>
                <a:off x="6148469" y="3244676"/>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8" name="Freeform: Shape 87">
                <a:extLst>
                  <a:ext uri="{FF2B5EF4-FFF2-40B4-BE49-F238E27FC236}">
                    <a16:creationId xmlns:a16="http://schemas.microsoft.com/office/drawing/2014/main" id="{2ACC9D1B-CB8B-4193-B702-DA68B92DE9F9}"/>
                  </a:ext>
                </a:extLst>
              </p:cNvPr>
              <p:cNvSpPr/>
              <p:nvPr/>
            </p:nvSpPr>
            <p:spPr>
              <a:xfrm>
                <a:off x="620762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9" name="Freeform: Shape 88">
                <a:extLst>
                  <a:ext uri="{FF2B5EF4-FFF2-40B4-BE49-F238E27FC236}">
                    <a16:creationId xmlns:a16="http://schemas.microsoft.com/office/drawing/2014/main" id="{0FBC88AB-930A-4D32-8DB1-82563BFF0EAE}"/>
                  </a:ext>
                </a:extLst>
              </p:cNvPr>
              <p:cNvSpPr/>
              <p:nvPr/>
            </p:nvSpPr>
            <p:spPr>
              <a:xfrm>
                <a:off x="6266865" y="3244676"/>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0" name="Freeform: Shape 89">
                <a:extLst>
                  <a:ext uri="{FF2B5EF4-FFF2-40B4-BE49-F238E27FC236}">
                    <a16:creationId xmlns:a16="http://schemas.microsoft.com/office/drawing/2014/main" id="{74274EB1-FC6D-4C4D-965D-DEBA45892216}"/>
                  </a:ext>
                </a:extLst>
              </p:cNvPr>
              <p:cNvSpPr/>
              <p:nvPr/>
            </p:nvSpPr>
            <p:spPr>
              <a:xfrm>
                <a:off x="6326014"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1" name="Freeform: Shape 90">
                <a:extLst>
                  <a:ext uri="{FF2B5EF4-FFF2-40B4-BE49-F238E27FC236}">
                    <a16:creationId xmlns:a16="http://schemas.microsoft.com/office/drawing/2014/main" id="{FE4E35D8-7704-40DC-A190-5B4E8BE44974}"/>
                  </a:ext>
                </a:extLst>
              </p:cNvPr>
              <p:cNvSpPr/>
              <p:nvPr/>
            </p:nvSpPr>
            <p:spPr>
              <a:xfrm>
                <a:off x="638526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2" name="Freeform: Shape 91">
                <a:extLst>
                  <a:ext uri="{FF2B5EF4-FFF2-40B4-BE49-F238E27FC236}">
                    <a16:creationId xmlns:a16="http://schemas.microsoft.com/office/drawing/2014/main" id="{EDB1E803-1D4D-4912-BA76-9EF947E19AF0}"/>
                  </a:ext>
                </a:extLst>
              </p:cNvPr>
              <p:cNvSpPr/>
              <p:nvPr/>
            </p:nvSpPr>
            <p:spPr>
              <a:xfrm>
                <a:off x="6444410" y="324467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3" name="Freeform: Shape 92">
                <a:extLst>
                  <a:ext uri="{FF2B5EF4-FFF2-40B4-BE49-F238E27FC236}">
                    <a16:creationId xmlns:a16="http://schemas.microsoft.com/office/drawing/2014/main" id="{7E241842-A248-438B-B3B4-37A05240BCBE}"/>
                  </a:ext>
                </a:extLst>
              </p:cNvPr>
              <p:cNvSpPr/>
              <p:nvPr/>
            </p:nvSpPr>
            <p:spPr>
              <a:xfrm>
                <a:off x="6148469"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4" name="Freeform: Shape 93">
                <a:extLst>
                  <a:ext uri="{FF2B5EF4-FFF2-40B4-BE49-F238E27FC236}">
                    <a16:creationId xmlns:a16="http://schemas.microsoft.com/office/drawing/2014/main" id="{C6E092F6-1BFE-4656-9029-9A2EEE8F79FD}"/>
                  </a:ext>
                </a:extLst>
              </p:cNvPr>
              <p:cNvSpPr/>
              <p:nvPr/>
            </p:nvSpPr>
            <p:spPr>
              <a:xfrm>
                <a:off x="620762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5" name="Freeform: Shape 94">
                <a:extLst>
                  <a:ext uri="{FF2B5EF4-FFF2-40B4-BE49-F238E27FC236}">
                    <a16:creationId xmlns:a16="http://schemas.microsoft.com/office/drawing/2014/main" id="{F4A890A0-353B-4CBB-8FD1-059BE94011AD}"/>
                  </a:ext>
                </a:extLst>
              </p:cNvPr>
              <p:cNvSpPr/>
              <p:nvPr/>
            </p:nvSpPr>
            <p:spPr>
              <a:xfrm>
                <a:off x="6266865" y="3303829"/>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6" name="Freeform: Shape 95">
                <a:extLst>
                  <a:ext uri="{FF2B5EF4-FFF2-40B4-BE49-F238E27FC236}">
                    <a16:creationId xmlns:a16="http://schemas.microsoft.com/office/drawing/2014/main" id="{6EFA174A-A4E5-4264-BD07-007305986AAF}"/>
                  </a:ext>
                </a:extLst>
              </p:cNvPr>
              <p:cNvSpPr/>
              <p:nvPr/>
            </p:nvSpPr>
            <p:spPr>
              <a:xfrm>
                <a:off x="632601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7" name="Freeform: Shape 96">
                <a:extLst>
                  <a:ext uri="{FF2B5EF4-FFF2-40B4-BE49-F238E27FC236}">
                    <a16:creationId xmlns:a16="http://schemas.microsoft.com/office/drawing/2014/main" id="{3FBAD25F-2FFC-4CEC-9B8A-5ED34707E666}"/>
                  </a:ext>
                </a:extLst>
              </p:cNvPr>
              <p:cNvSpPr/>
              <p:nvPr/>
            </p:nvSpPr>
            <p:spPr>
              <a:xfrm>
                <a:off x="638526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8" name="Freeform: Shape 97">
                <a:extLst>
                  <a:ext uri="{FF2B5EF4-FFF2-40B4-BE49-F238E27FC236}">
                    <a16:creationId xmlns:a16="http://schemas.microsoft.com/office/drawing/2014/main" id="{342EF4A1-21C1-45D4-B700-6EA4BF21BE00}"/>
                  </a:ext>
                </a:extLst>
              </p:cNvPr>
              <p:cNvSpPr/>
              <p:nvPr/>
            </p:nvSpPr>
            <p:spPr>
              <a:xfrm>
                <a:off x="644441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9" name="Freeform: Shape 98">
                <a:extLst>
                  <a:ext uri="{FF2B5EF4-FFF2-40B4-BE49-F238E27FC236}">
                    <a16:creationId xmlns:a16="http://schemas.microsoft.com/office/drawing/2014/main" id="{B2CCF840-70EA-4C9C-848E-B27B79A75DB1}"/>
                  </a:ext>
                </a:extLst>
              </p:cNvPr>
              <p:cNvSpPr/>
              <p:nvPr/>
            </p:nvSpPr>
            <p:spPr>
              <a:xfrm>
                <a:off x="6148469"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0" name="Freeform: Shape 99">
                <a:extLst>
                  <a:ext uri="{FF2B5EF4-FFF2-40B4-BE49-F238E27FC236}">
                    <a16:creationId xmlns:a16="http://schemas.microsoft.com/office/drawing/2014/main" id="{8E311D1C-5934-4C97-809E-E996B3845BA4}"/>
                  </a:ext>
                </a:extLst>
              </p:cNvPr>
              <p:cNvSpPr/>
              <p:nvPr/>
            </p:nvSpPr>
            <p:spPr>
              <a:xfrm>
                <a:off x="620762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1" name="Freeform: Shape 100">
                <a:extLst>
                  <a:ext uri="{FF2B5EF4-FFF2-40B4-BE49-F238E27FC236}">
                    <a16:creationId xmlns:a16="http://schemas.microsoft.com/office/drawing/2014/main" id="{B13F883A-929B-46F7-A9A8-547ACE9C0471}"/>
                  </a:ext>
                </a:extLst>
              </p:cNvPr>
              <p:cNvSpPr/>
              <p:nvPr/>
            </p:nvSpPr>
            <p:spPr>
              <a:xfrm>
                <a:off x="6266865" y="3363072"/>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2" name="Freeform: Shape 101">
                <a:extLst>
                  <a:ext uri="{FF2B5EF4-FFF2-40B4-BE49-F238E27FC236}">
                    <a16:creationId xmlns:a16="http://schemas.microsoft.com/office/drawing/2014/main" id="{16D72D9D-260C-42C4-B864-6AFFB236A12B}"/>
                  </a:ext>
                </a:extLst>
              </p:cNvPr>
              <p:cNvSpPr/>
              <p:nvPr/>
            </p:nvSpPr>
            <p:spPr>
              <a:xfrm>
                <a:off x="632601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3" name="Freeform: Shape 102">
                <a:extLst>
                  <a:ext uri="{FF2B5EF4-FFF2-40B4-BE49-F238E27FC236}">
                    <a16:creationId xmlns:a16="http://schemas.microsoft.com/office/drawing/2014/main" id="{57F62680-33C3-4510-A3B0-40F179FCEF84}"/>
                  </a:ext>
                </a:extLst>
              </p:cNvPr>
              <p:cNvSpPr/>
              <p:nvPr/>
            </p:nvSpPr>
            <p:spPr>
              <a:xfrm>
                <a:off x="638526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4" name="Freeform: Shape 103">
                <a:extLst>
                  <a:ext uri="{FF2B5EF4-FFF2-40B4-BE49-F238E27FC236}">
                    <a16:creationId xmlns:a16="http://schemas.microsoft.com/office/drawing/2014/main" id="{8C3F6DBC-3B3A-429F-A49A-485EF9960069}"/>
                  </a:ext>
                </a:extLst>
              </p:cNvPr>
              <p:cNvSpPr/>
              <p:nvPr/>
            </p:nvSpPr>
            <p:spPr>
              <a:xfrm>
                <a:off x="6444410" y="3363074"/>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5" name="Freeform: Shape 104">
                <a:extLst>
                  <a:ext uri="{FF2B5EF4-FFF2-40B4-BE49-F238E27FC236}">
                    <a16:creationId xmlns:a16="http://schemas.microsoft.com/office/drawing/2014/main" id="{09CFDDBA-E518-4324-B18A-EF6E4B50B845}"/>
                  </a:ext>
                </a:extLst>
              </p:cNvPr>
              <p:cNvSpPr/>
              <p:nvPr/>
            </p:nvSpPr>
            <p:spPr>
              <a:xfrm>
                <a:off x="6148469"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6" name="Freeform: Shape 105">
                <a:extLst>
                  <a:ext uri="{FF2B5EF4-FFF2-40B4-BE49-F238E27FC236}">
                    <a16:creationId xmlns:a16="http://schemas.microsoft.com/office/drawing/2014/main" id="{C8579CBC-E6AF-4829-AA1D-7B277821341A}"/>
                  </a:ext>
                </a:extLst>
              </p:cNvPr>
              <p:cNvSpPr/>
              <p:nvPr/>
            </p:nvSpPr>
            <p:spPr>
              <a:xfrm>
                <a:off x="620762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7" name="Freeform: Shape 106">
                <a:extLst>
                  <a:ext uri="{FF2B5EF4-FFF2-40B4-BE49-F238E27FC236}">
                    <a16:creationId xmlns:a16="http://schemas.microsoft.com/office/drawing/2014/main" id="{F4F87C77-9949-468A-9B86-3D4A3CB1D080}"/>
                  </a:ext>
                </a:extLst>
              </p:cNvPr>
              <p:cNvSpPr/>
              <p:nvPr/>
            </p:nvSpPr>
            <p:spPr>
              <a:xfrm>
                <a:off x="6266865" y="3422225"/>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8" name="Freeform: Shape 107">
                <a:extLst>
                  <a:ext uri="{FF2B5EF4-FFF2-40B4-BE49-F238E27FC236}">
                    <a16:creationId xmlns:a16="http://schemas.microsoft.com/office/drawing/2014/main" id="{C0DAD71F-08D6-41FB-93B2-448EB15BCB30}"/>
                  </a:ext>
                </a:extLst>
              </p:cNvPr>
              <p:cNvSpPr/>
              <p:nvPr/>
            </p:nvSpPr>
            <p:spPr>
              <a:xfrm>
                <a:off x="632601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9" name="Freeform: Shape 108">
                <a:extLst>
                  <a:ext uri="{FF2B5EF4-FFF2-40B4-BE49-F238E27FC236}">
                    <a16:creationId xmlns:a16="http://schemas.microsoft.com/office/drawing/2014/main" id="{BFE5B582-FC98-4E72-9AFF-067166B79359}"/>
                  </a:ext>
                </a:extLst>
              </p:cNvPr>
              <p:cNvSpPr/>
              <p:nvPr/>
            </p:nvSpPr>
            <p:spPr>
              <a:xfrm>
                <a:off x="638526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0" name="Freeform: Shape 109">
                <a:extLst>
                  <a:ext uri="{FF2B5EF4-FFF2-40B4-BE49-F238E27FC236}">
                    <a16:creationId xmlns:a16="http://schemas.microsoft.com/office/drawing/2014/main" id="{AA87FE08-67A7-40C4-BA28-5C87D875EB1A}"/>
                  </a:ext>
                </a:extLst>
              </p:cNvPr>
              <p:cNvSpPr/>
              <p:nvPr/>
            </p:nvSpPr>
            <p:spPr>
              <a:xfrm>
                <a:off x="6444410" y="34222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1" name="Freeform: Shape 110">
                <a:extLst>
                  <a:ext uri="{FF2B5EF4-FFF2-40B4-BE49-F238E27FC236}">
                    <a16:creationId xmlns:a16="http://schemas.microsoft.com/office/drawing/2014/main" id="{601F8489-E1AB-4730-8A77-EFF164E47BCC}"/>
                  </a:ext>
                </a:extLst>
              </p:cNvPr>
              <p:cNvSpPr/>
              <p:nvPr/>
            </p:nvSpPr>
            <p:spPr>
              <a:xfrm>
                <a:off x="5734038" y="3481374"/>
                <a:ext cx="14192" cy="14096"/>
              </a:xfrm>
              <a:custGeom>
                <a:avLst/>
                <a:gdLst>
                  <a:gd name="connsiteX0" fmla="*/ 14192 w 14192"/>
                  <a:gd name="connsiteY0" fmla="*/ 7049 h 14096"/>
                  <a:gd name="connsiteX1" fmla="*/ 7144 w 14192"/>
                  <a:gd name="connsiteY1" fmla="*/ 14097 h 14096"/>
                  <a:gd name="connsiteX2" fmla="*/ 0 w 14192"/>
                  <a:gd name="connsiteY2" fmla="*/ 7049 h 14096"/>
                  <a:gd name="connsiteX3" fmla="*/ 7049 w 14192"/>
                  <a:gd name="connsiteY3" fmla="*/ 0 h 14096"/>
                  <a:gd name="connsiteX4" fmla="*/ 14192 w 14192"/>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9"/>
                    </a:moveTo>
                    <a:cubicBezTo>
                      <a:pt x="14192" y="10954"/>
                      <a:pt x="11049" y="14097"/>
                      <a:pt x="7144" y="14097"/>
                    </a:cubicBezTo>
                    <a:cubicBezTo>
                      <a:pt x="3239" y="14097"/>
                      <a:pt x="0" y="11049"/>
                      <a:pt x="0" y="7049"/>
                    </a:cubicBezTo>
                    <a:cubicBezTo>
                      <a:pt x="0" y="3048"/>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2" name="Freeform: Shape 111">
                <a:extLst>
                  <a:ext uri="{FF2B5EF4-FFF2-40B4-BE49-F238E27FC236}">
                    <a16:creationId xmlns:a16="http://schemas.microsoft.com/office/drawing/2014/main" id="{D3E2442A-D936-4EBA-A666-6E82DB2DA28A}"/>
                  </a:ext>
                </a:extLst>
              </p:cNvPr>
              <p:cNvSpPr/>
              <p:nvPr/>
            </p:nvSpPr>
            <p:spPr>
              <a:xfrm>
                <a:off x="5793283"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3" name="Freeform: Shape 112">
                <a:extLst>
                  <a:ext uri="{FF2B5EF4-FFF2-40B4-BE49-F238E27FC236}">
                    <a16:creationId xmlns:a16="http://schemas.microsoft.com/office/drawing/2014/main" id="{2E891E37-78A2-43D1-99C0-5F53AC4AD9D4}"/>
                  </a:ext>
                </a:extLst>
              </p:cNvPr>
              <p:cNvSpPr/>
              <p:nvPr/>
            </p:nvSpPr>
            <p:spPr>
              <a:xfrm>
                <a:off x="5852433"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4" name="Freeform: Shape 113">
                <a:extLst>
                  <a:ext uri="{FF2B5EF4-FFF2-40B4-BE49-F238E27FC236}">
                    <a16:creationId xmlns:a16="http://schemas.microsoft.com/office/drawing/2014/main" id="{FF5FE9C1-0A9F-4E0A-8F9E-3EF3223F9E09}"/>
                  </a:ext>
                </a:extLst>
              </p:cNvPr>
              <p:cNvSpPr/>
              <p:nvPr/>
            </p:nvSpPr>
            <p:spPr>
              <a:xfrm>
                <a:off x="591167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5" name="Freeform: Shape 114">
                <a:extLst>
                  <a:ext uri="{FF2B5EF4-FFF2-40B4-BE49-F238E27FC236}">
                    <a16:creationId xmlns:a16="http://schemas.microsoft.com/office/drawing/2014/main" id="{57C2FED7-F344-47E5-BB1E-E7CB26B335F8}"/>
                  </a:ext>
                </a:extLst>
              </p:cNvPr>
              <p:cNvSpPr/>
              <p:nvPr/>
            </p:nvSpPr>
            <p:spPr>
              <a:xfrm>
                <a:off x="597082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6" name="Freeform: Shape 115">
                <a:extLst>
                  <a:ext uri="{FF2B5EF4-FFF2-40B4-BE49-F238E27FC236}">
                    <a16:creationId xmlns:a16="http://schemas.microsoft.com/office/drawing/2014/main" id="{C95DD38F-B4B9-40A1-B7BD-EDF00AFD64F9}"/>
                  </a:ext>
                </a:extLst>
              </p:cNvPr>
              <p:cNvSpPr/>
              <p:nvPr/>
            </p:nvSpPr>
            <p:spPr>
              <a:xfrm>
                <a:off x="6030074"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7" name="Freeform: Shape 116">
                <a:extLst>
                  <a:ext uri="{FF2B5EF4-FFF2-40B4-BE49-F238E27FC236}">
                    <a16:creationId xmlns:a16="http://schemas.microsoft.com/office/drawing/2014/main" id="{B1334E03-6B96-4D5A-8314-2AAB15396089}"/>
                  </a:ext>
                </a:extLst>
              </p:cNvPr>
              <p:cNvSpPr/>
              <p:nvPr/>
            </p:nvSpPr>
            <p:spPr>
              <a:xfrm>
                <a:off x="6089224"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8" name="Freeform: Shape 117">
                <a:extLst>
                  <a:ext uri="{FF2B5EF4-FFF2-40B4-BE49-F238E27FC236}">
                    <a16:creationId xmlns:a16="http://schemas.microsoft.com/office/drawing/2014/main" id="{59EFDAF0-6330-4D40-B4E4-57C5891A998C}"/>
                  </a:ext>
                </a:extLst>
              </p:cNvPr>
              <p:cNvSpPr/>
              <p:nvPr/>
            </p:nvSpPr>
            <p:spPr>
              <a:xfrm>
                <a:off x="5734038" y="354062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9" name="Freeform: Shape 118">
                <a:extLst>
                  <a:ext uri="{FF2B5EF4-FFF2-40B4-BE49-F238E27FC236}">
                    <a16:creationId xmlns:a16="http://schemas.microsoft.com/office/drawing/2014/main" id="{6EDDC210-93CC-4464-BDA2-3CC18C0C693B}"/>
                  </a:ext>
                </a:extLst>
              </p:cNvPr>
              <p:cNvSpPr/>
              <p:nvPr/>
            </p:nvSpPr>
            <p:spPr>
              <a:xfrm>
                <a:off x="5793283"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0" name="Freeform: Shape 119">
                <a:extLst>
                  <a:ext uri="{FF2B5EF4-FFF2-40B4-BE49-F238E27FC236}">
                    <a16:creationId xmlns:a16="http://schemas.microsoft.com/office/drawing/2014/main" id="{9E521203-1A0B-470B-B729-1B8B0AFF5A39}"/>
                  </a:ext>
                </a:extLst>
              </p:cNvPr>
              <p:cNvSpPr/>
              <p:nvPr/>
            </p:nvSpPr>
            <p:spPr>
              <a:xfrm>
                <a:off x="5852433"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1" name="Freeform: Shape 120">
                <a:extLst>
                  <a:ext uri="{FF2B5EF4-FFF2-40B4-BE49-F238E27FC236}">
                    <a16:creationId xmlns:a16="http://schemas.microsoft.com/office/drawing/2014/main" id="{091C18AB-4BE0-4C09-ABC6-05334DF7826F}"/>
                  </a:ext>
                </a:extLst>
              </p:cNvPr>
              <p:cNvSpPr/>
              <p:nvPr/>
            </p:nvSpPr>
            <p:spPr>
              <a:xfrm>
                <a:off x="591167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2" name="Freeform: Shape 121">
                <a:extLst>
                  <a:ext uri="{FF2B5EF4-FFF2-40B4-BE49-F238E27FC236}">
                    <a16:creationId xmlns:a16="http://schemas.microsoft.com/office/drawing/2014/main" id="{4EA1AE17-D725-411E-AFAC-60B5A959DF4E}"/>
                  </a:ext>
                </a:extLst>
              </p:cNvPr>
              <p:cNvSpPr/>
              <p:nvPr/>
            </p:nvSpPr>
            <p:spPr>
              <a:xfrm>
                <a:off x="597082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3" name="Freeform: Shape 122">
                <a:extLst>
                  <a:ext uri="{FF2B5EF4-FFF2-40B4-BE49-F238E27FC236}">
                    <a16:creationId xmlns:a16="http://schemas.microsoft.com/office/drawing/2014/main" id="{6D6D2AB0-DEA8-4510-96C2-B8547E8A7DD6}"/>
                  </a:ext>
                </a:extLst>
              </p:cNvPr>
              <p:cNvSpPr/>
              <p:nvPr/>
            </p:nvSpPr>
            <p:spPr>
              <a:xfrm>
                <a:off x="6030074"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4" name="Freeform: Shape 123">
                <a:extLst>
                  <a:ext uri="{FF2B5EF4-FFF2-40B4-BE49-F238E27FC236}">
                    <a16:creationId xmlns:a16="http://schemas.microsoft.com/office/drawing/2014/main" id="{5D2C70B9-3A29-4A3F-B9E2-02A556FB509F}"/>
                  </a:ext>
                </a:extLst>
              </p:cNvPr>
              <p:cNvSpPr/>
              <p:nvPr/>
            </p:nvSpPr>
            <p:spPr>
              <a:xfrm>
                <a:off x="6089224"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5" name="Freeform: Shape 124">
                <a:extLst>
                  <a:ext uri="{FF2B5EF4-FFF2-40B4-BE49-F238E27FC236}">
                    <a16:creationId xmlns:a16="http://schemas.microsoft.com/office/drawing/2014/main" id="{B7B5EA85-B9B6-47B1-9156-980D6B0EE597}"/>
                  </a:ext>
                </a:extLst>
              </p:cNvPr>
              <p:cNvSpPr/>
              <p:nvPr/>
            </p:nvSpPr>
            <p:spPr>
              <a:xfrm>
                <a:off x="5734038" y="359977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6" name="Freeform: Shape 125">
                <a:extLst>
                  <a:ext uri="{FF2B5EF4-FFF2-40B4-BE49-F238E27FC236}">
                    <a16:creationId xmlns:a16="http://schemas.microsoft.com/office/drawing/2014/main" id="{2C8DB9BF-A31E-45AC-8271-73868A63504C}"/>
                  </a:ext>
                </a:extLst>
              </p:cNvPr>
              <p:cNvSpPr/>
              <p:nvPr/>
            </p:nvSpPr>
            <p:spPr>
              <a:xfrm>
                <a:off x="5793283" y="359977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7" name="Freeform: Shape 126">
                <a:extLst>
                  <a:ext uri="{FF2B5EF4-FFF2-40B4-BE49-F238E27FC236}">
                    <a16:creationId xmlns:a16="http://schemas.microsoft.com/office/drawing/2014/main" id="{3F5BC346-9C8F-4FC2-884E-BC40B09E9461}"/>
                  </a:ext>
                </a:extLst>
              </p:cNvPr>
              <p:cNvSpPr/>
              <p:nvPr/>
            </p:nvSpPr>
            <p:spPr>
              <a:xfrm>
                <a:off x="5852433"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8" name="Freeform: Shape 127">
                <a:extLst>
                  <a:ext uri="{FF2B5EF4-FFF2-40B4-BE49-F238E27FC236}">
                    <a16:creationId xmlns:a16="http://schemas.microsoft.com/office/drawing/2014/main" id="{4E18F1FE-B933-45C8-9F4F-53DCCC1FA2CA}"/>
                  </a:ext>
                </a:extLst>
              </p:cNvPr>
              <p:cNvSpPr/>
              <p:nvPr/>
            </p:nvSpPr>
            <p:spPr>
              <a:xfrm>
                <a:off x="591167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9" name="Freeform: Shape 128">
                <a:extLst>
                  <a:ext uri="{FF2B5EF4-FFF2-40B4-BE49-F238E27FC236}">
                    <a16:creationId xmlns:a16="http://schemas.microsoft.com/office/drawing/2014/main" id="{8CF9F0AF-3E92-4593-88F2-0A9691F8FEA5}"/>
                  </a:ext>
                </a:extLst>
              </p:cNvPr>
              <p:cNvSpPr/>
              <p:nvPr/>
            </p:nvSpPr>
            <p:spPr>
              <a:xfrm>
                <a:off x="597082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0" name="Freeform: Shape 129">
                <a:extLst>
                  <a:ext uri="{FF2B5EF4-FFF2-40B4-BE49-F238E27FC236}">
                    <a16:creationId xmlns:a16="http://schemas.microsoft.com/office/drawing/2014/main" id="{5F8E407F-7C3D-4C6D-A845-CE6C18A4E19E}"/>
                  </a:ext>
                </a:extLst>
              </p:cNvPr>
              <p:cNvSpPr/>
              <p:nvPr/>
            </p:nvSpPr>
            <p:spPr>
              <a:xfrm>
                <a:off x="6030073" y="3599770"/>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1" name="Freeform: Shape 130">
                <a:extLst>
                  <a:ext uri="{FF2B5EF4-FFF2-40B4-BE49-F238E27FC236}">
                    <a16:creationId xmlns:a16="http://schemas.microsoft.com/office/drawing/2014/main" id="{65B86F18-3F82-406B-A6B8-73508323F5B1}"/>
                  </a:ext>
                </a:extLst>
              </p:cNvPr>
              <p:cNvSpPr/>
              <p:nvPr/>
            </p:nvSpPr>
            <p:spPr>
              <a:xfrm>
                <a:off x="6089224"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2" name="Freeform: Shape 131">
                <a:extLst>
                  <a:ext uri="{FF2B5EF4-FFF2-40B4-BE49-F238E27FC236}">
                    <a16:creationId xmlns:a16="http://schemas.microsoft.com/office/drawing/2014/main" id="{282DBE01-A20A-44FA-B824-6B6AE5B47541}"/>
                  </a:ext>
                </a:extLst>
              </p:cNvPr>
              <p:cNvSpPr/>
              <p:nvPr/>
            </p:nvSpPr>
            <p:spPr>
              <a:xfrm>
                <a:off x="5734037" y="365901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3" name="Freeform: Shape 132">
                <a:extLst>
                  <a:ext uri="{FF2B5EF4-FFF2-40B4-BE49-F238E27FC236}">
                    <a16:creationId xmlns:a16="http://schemas.microsoft.com/office/drawing/2014/main" id="{525BA03A-821A-451C-974A-5BC54F600152}"/>
                  </a:ext>
                </a:extLst>
              </p:cNvPr>
              <p:cNvSpPr/>
              <p:nvPr/>
            </p:nvSpPr>
            <p:spPr>
              <a:xfrm>
                <a:off x="5793282" y="3659014"/>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4" name="Freeform: Shape 133">
                <a:extLst>
                  <a:ext uri="{FF2B5EF4-FFF2-40B4-BE49-F238E27FC236}">
                    <a16:creationId xmlns:a16="http://schemas.microsoft.com/office/drawing/2014/main" id="{C4A1A8AE-42A8-458F-9647-2B1E0080C328}"/>
                  </a:ext>
                </a:extLst>
              </p:cNvPr>
              <p:cNvSpPr/>
              <p:nvPr/>
            </p:nvSpPr>
            <p:spPr>
              <a:xfrm>
                <a:off x="5852432"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5" name="Freeform: Shape 134">
                <a:extLst>
                  <a:ext uri="{FF2B5EF4-FFF2-40B4-BE49-F238E27FC236}">
                    <a16:creationId xmlns:a16="http://schemas.microsoft.com/office/drawing/2014/main" id="{1061C57A-74C4-42DF-837D-4BD2480F5637}"/>
                  </a:ext>
                </a:extLst>
              </p:cNvPr>
              <p:cNvSpPr/>
              <p:nvPr/>
            </p:nvSpPr>
            <p:spPr>
              <a:xfrm>
                <a:off x="591167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6" name="Freeform: Shape 135">
                <a:extLst>
                  <a:ext uri="{FF2B5EF4-FFF2-40B4-BE49-F238E27FC236}">
                    <a16:creationId xmlns:a16="http://schemas.microsoft.com/office/drawing/2014/main" id="{2E72CD8D-308B-4DA6-A9E9-29C5289A64AF}"/>
                  </a:ext>
                </a:extLst>
              </p:cNvPr>
              <p:cNvSpPr/>
              <p:nvPr/>
            </p:nvSpPr>
            <p:spPr>
              <a:xfrm>
                <a:off x="597082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7" name="Freeform: Shape 136">
                <a:extLst>
                  <a:ext uri="{FF2B5EF4-FFF2-40B4-BE49-F238E27FC236}">
                    <a16:creationId xmlns:a16="http://schemas.microsoft.com/office/drawing/2014/main" id="{67DA1353-3400-4417-AE74-101830D91305}"/>
                  </a:ext>
                </a:extLst>
              </p:cNvPr>
              <p:cNvSpPr/>
              <p:nvPr/>
            </p:nvSpPr>
            <p:spPr>
              <a:xfrm>
                <a:off x="6030073" y="3659014"/>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8" name="Freeform: Shape 137">
                <a:extLst>
                  <a:ext uri="{FF2B5EF4-FFF2-40B4-BE49-F238E27FC236}">
                    <a16:creationId xmlns:a16="http://schemas.microsoft.com/office/drawing/2014/main" id="{780402F0-99E7-4BC1-8B33-8C28B061254B}"/>
                  </a:ext>
                </a:extLst>
              </p:cNvPr>
              <p:cNvSpPr/>
              <p:nvPr/>
            </p:nvSpPr>
            <p:spPr>
              <a:xfrm>
                <a:off x="6089224"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9" name="Freeform: Shape 138">
                <a:extLst>
                  <a:ext uri="{FF2B5EF4-FFF2-40B4-BE49-F238E27FC236}">
                    <a16:creationId xmlns:a16="http://schemas.microsoft.com/office/drawing/2014/main" id="{D8F0B222-EDEC-4F73-BFBF-EEF77FCEFE6D}"/>
                  </a:ext>
                </a:extLst>
              </p:cNvPr>
              <p:cNvSpPr/>
              <p:nvPr/>
            </p:nvSpPr>
            <p:spPr>
              <a:xfrm>
                <a:off x="5734039" y="371816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0" name="Freeform: Shape 139">
                <a:extLst>
                  <a:ext uri="{FF2B5EF4-FFF2-40B4-BE49-F238E27FC236}">
                    <a16:creationId xmlns:a16="http://schemas.microsoft.com/office/drawing/2014/main" id="{99DFF4C5-2EF0-4C23-99F5-6FBA3C2FDECA}"/>
                  </a:ext>
                </a:extLst>
              </p:cNvPr>
              <p:cNvSpPr/>
              <p:nvPr/>
            </p:nvSpPr>
            <p:spPr>
              <a:xfrm>
                <a:off x="5793284" y="371816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1" name="Freeform: Shape 140">
                <a:extLst>
                  <a:ext uri="{FF2B5EF4-FFF2-40B4-BE49-F238E27FC236}">
                    <a16:creationId xmlns:a16="http://schemas.microsoft.com/office/drawing/2014/main" id="{42099B1E-BE83-48FA-A883-6B86E3781583}"/>
                  </a:ext>
                </a:extLst>
              </p:cNvPr>
              <p:cNvSpPr/>
              <p:nvPr/>
            </p:nvSpPr>
            <p:spPr>
              <a:xfrm>
                <a:off x="5852434"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2" name="Freeform: Shape 141">
                <a:extLst>
                  <a:ext uri="{FF2B5EF4-FFF2-40B4-BE49-F238E27FC236}">
                    <a16:creationId xmlns:a16="http://schemas.microsoft.com/office/drawing/2014/main" id="{0642570B-F261-403D-8AE5-755725C5C683}"/>
                  </a:ext>
                </a:extLst>
              </p:cNvPr>
              <p:cNvSpPr/>
              <p:nvPr/>
            </p:nvSpPr>
            <p:spPr>
              <a:xfrm>
                <a:off x="591167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3" name="Freeform: Shape 142">
                <a:extLst>
                  <a:ext uri="{FF2B5EF4-FFF2-40B4-BE49-F238E27FC236}">
                    <a16:creationId xmlns:a16="http://schemas.microsoft.com/office/drawing/2014/main" id="{0289D3E0-1FCD-421F-B82C-57D48531197C}"/>
                  </a:ext>
                </a:extLst>
              </p:cNvPr>
              <p:cNvSpPr/>
              <p:nvPr/>
            </p:nvSpPr>
            <p:spPr>
              <a:xfrm>
                <a:off x="597082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4" name="Freeform: Shape 143">
                <a:extLst>
                  <a:ext uri="{FF2B5EF4-FFF2-40B4-BE49-F238E27FC236}">
                    <a16:creationId xmlns:a16="http://schemas.microsoft.com/office/drawing/2014/main" id="{B0CDB835-A9B8-4DD1-8E4A-94CB352EBA4C}"/>
                  </a:ext>
                </a:extLst>
              </p:cNvPr>
              <p:cNvSpPr/>
              <p:nvPr/>
            </p:nvSpPr>
            <p:spPr>
              <a:xfrm>
                <a:off x="6030074" y="371816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5" name="Freeform: Shape 144">
                <a:extLst>
                  <a:ext uri="{FF2B5EF4-FFF2-40B4-BE49-F238E27FC236}">
                    <a16:creationId xmlns:a16="http://schemas.microsoft.com/office/drawing/2014/main" id="{A959ACD8-7B03-425E-A568-DD933FE53D29}"/>
                  </a:ext>
                </a:extLst>
              </p:cNvPr>
              <p:cNvSpPr/>
              <p:nvPr/>
            </p:nvSpPr>
            <p:spPr>
              <a:xfrm>
                <a:off x="6089225"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6" name="Freeform: Shape 145">
                <a:extLst>
                  <a:ext uri="{FF2B5EF4-FFF2-40B4-BE49-F238E27FC236}">
                    <a16:creationId xmlns:a16="http://schemas.microsoft.com/office/drawing/2014/main" id="{C1417EAD-6931-45DD-A71C-649A3A1E1742}"/>
                  </a:ext>
                </a:extLst>
              </p:cNvPr>
              <p:cNvSpPr/>
              <p:nvPr/>
            </p:nvSpPr>
            <p:spPr>
              <a:xfrm>
                <a:off x="5734040" y="377741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7" name="Freeform: Shape 146">
                <a:extLst>
                  <a:ext uri="{FF2B5EF4-FFF2-40B4-BE49-F238E27FC236}">
                    <a16:creationId xmlns:a16="http://schemas.microsoft.com/office/drawing/2014/main" id="{3F8F5897-91C8-4949-B3E2-08E8C4D10561}"/>
                  </a:ext>
                </a:extLst>
              </p:cNvPr>
              <p:cNvSpPr/>
              <p:nvPr/>
            </p:nvSpPr>
            <p:spPr>
              <a:xfrm>
                <a:off x="5793285"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8" name="Freeform: Shape 147">
                <a:extLst>
                  <a:ext uri="{FF2B5EF4-FFF2-40B4-BE49-F238E27FC236}">
                    <a16:creationId xmlns:a16="http://schemas.microsoft.com/office/drawing/2014/main" id="{818AF2B2-848E-432A-853D-4171DB436AB9}"/>
                  </a:ext>
                </a:extLst>
              </p:cNvPr>
              <p:cNvSpPr/>
              <p:nvPr/>
            </p:nvSpPr>
            <p:spPr>
              <a:xfrm>
                <a:off x="5852436"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9" name="Freeform: Shape 148">
                <a:extLst>
                  <a:ext uri="{FF2B5EF4-FFF2-40B4-BE49-F238E27FC236}">
                    <a16:creationId xmlns:a16="http://schemas.microsoft.com/office/drawing/2014/main" id="{A95D8E15-C401-4021-A442-B2B29505E22D}"/>
                  </a:ext>
                </a:extLst>
              </p:cNvPr>
              <p:cNvSpPr/>
              <p:nvPr/>
            </p:nvSpPr>
            <p:spPr>
              <a:xfrm>
                <a:off x="5911683"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0" name="Freeform: Shape 149">
                <a:extLst>
                  <a:ext uri="{FF2B5EF4-FFF2-40B4-BE49-F238E27FC236}">
                    <a16:creationId xmlns:a16="http://schemas.microsoft.com/office/drawing/2014/main" id="{91B6E7C4-CA47-4FE7-84A9-629E655725F3}"/>
                  </a:ext>
                </a:extLst>
              </p:cNvPr>
              <p:cNvSpPr/>
              <p:nvPr/>
            </p:nvSpPr>
            <p:spPr>
              <a:xfrm>
                <a:off x="5970835"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1" name="Freeform: Shape 150">
                <a:extLst>
                  <a:ext uri="{FF2B5EF4-FFF2-40B4-BE49-F238E27FC236}">
                    <a16:creationId xmlns:a16="http://schemas.microsoft.com/office/drawing/2014/main" id="{AD49B82B-2837-42BA-9DE4-DF33E912C8C5}"/>
                  </a:ext>
                </a:extLst>
              </p:cNvPr>
              <p:cNvSpPr/>
              <p:nvPr/>
            </p:nvSpPr>
            <p:spPr>
              <a:xfrm>
                <a:off x="6030082"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2" name="Freeform: Shape 151">
                <a:extLst>
                  <a:ext uri="{FF2B5EF4-FFF2-40B4-BE49-F238E27FC236}">
                    <a16:creationId xmlns:a16="http://schemas.microsoft.com/office/drawing/2014/main" id="{173AEBBC-7300-434A-90D2-797E21B1434C}"/>
                  </a:ext>
                </a:extLst>
              </p:cNvPr>
              <p:cNvSpPr/>
              <p:nvPr/>
            </p:nvSpPr>
            <p:spPr>
              <a:xfrm>
                <a:off x="6089231"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3" name="Freeform: Shape 152">
                <a:extLst>
                  <a:ext uri="{FF2B5EF4-FFF2-40B4-BE49-F238E27FC236}">
                    <a16:creationId xmlns:a16="http://schemas.microsoft.com/office/drawing/2014/main" id="{079F400B-1FBB-4723-AE19-B242DD4F5F4D}"/>
                  </a:ext>
                </a:extLst>
              </p:cNvPr>
              <p:cNvSpPr/>
              <p:nvPr/>
            </p:nvSpPr>
            <p:spPr>
              <a:xfrm>
                <a:off x="6148476" y="3481374"/>
                <a:ext cx="14097" cy="14096"/>
              </a:xfrm>
              <a:custGeom>
                <a:avLst/>
                <a:gdLst>
                  <a:gd name="connsiteX0" fmla="*/ 14097 w 14097"/>
                  <a:gd name="connsiteY0" fmla="*/ 7049 h 14096"/>
                  <a:gd name="connsiteX1" fmla="*/ 7049 w 14097"/>
                  <a:gd name="connsiteY1" fmla="*/ 14097 h 14096"/>
                  <a:gd name="connsiteX2" fmla="*/ 0 w 14097"/>
                  <a:gd name="connsiteY2" fmla="*/ 7049 h 14096"/>
                  <a:gd name="connsiteX3" fmla="*/ 7049 w 14097"/>
                  <a:gd name="connsiteY3" fmla="*/ 0 h 14096"/>
                  <a:gd name="connsiteX4" fmla="*/ 14097 w 14097"/>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9"/>
                    </a:moveTo>
                    <a:cubicBezTo>
                      <a:pt x="14097" y="10954"/>
                      <a:pt x="10954" y="14097"/>
                      <a:pt x="7049" y="14097"/>
                    </a:cubicBezTo>
                    <a:cubicBezTo>
                      <a:pt x="3143" y="14097"/>
                      <a:pt x="0" y="10954"/>
                      <a:pt x="0" y="7049"/>
                    </a:cubicBezTo>
                    <a:cubicBezTo>
                      <a:pt x="0" y="3143"/>
                      <a:pt x="3143" y="0"/>
                      <a:pt x="7049"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4" name="Freeform: Shape 153">
                <a:extLst>
                  <a:ext uri="{FF2B5EF4-FFF2-40B4-BE49-F238E27FC236}">
                    <a16:creationId xmlns:a16="http://schemas.microsoft.com/office/drawing/2014/main" id="{F3220893-28AF-4796-89C4-497A3E0F7375}"/>
                  </a:ext>
                </a:extLst>
              </p:cNvPr>
              <p:cNvSpPr/>
              <p:nvPr/>
            </p:nvSpPr>
            <p:spPr>
              <a:xfrm>
                <a:off x="6207627"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5" name="Freeform: Shape 154">
                <a:extLst>
                  <a:ext uri="{FF2B5EF4-FFF2-40B4-BE49-F238E27FC236}">
                    <a16:creationId xmlns:a16="http://schemas.microsoft.com/office/drawing/2014/main" id="{E37B6154-8BF3-4B1F-8CE6-4E1F92E2A756}"/>
                  </a:ext>
                </a:extLst>
              </p:cNvPr>
              <p:cNvSpPr/>
              <p:nvPr/>
            </p:nvSpPr>
            <p:spPr>
              <a:xfrm>
                <a:off x="6266872" y="3481374"/>
                <a:ext cx="14096" cy="14096"/>
              </a:xfrm>
              <a:custGeom>
                <a:avLst/>
                <a:gdLst>
                  <a:gd name="connsiteX0" fmla="*/ 14097 w 14096"/>
                  <a:gd name="connsiteY0" fmla="*/ 7049 h 14096"/>
                  <a:gd name="connsiteX1" fmla="*/ 7049 w 14096"/>
                  <a:gd name="connsiteY1" fmla="*/ 14097 h 14096"/>
                  <a:gd name="connsiteX2" fmla="*/ 0 w 14096"/>
                  <a:gd name="connsiteY2" fmla="*/ 7049 h 14096"/>
                  <a:gd name="connsiteX3" fmla="*/ 7049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9" y="14097"/>
                    </a:cubicBezTo>
                    <a:cubicBezTo>
                      <a:pt x="3143" y="14097"/>
                      <a:pt x="0" y="10954"/>
                      <a:pt x="0" y="7049"/>
                    </a:cubicBezTo>
                    <a:cubicBezTo>
                      <a:pt x="0" y="3143"/>
                      <a:pt x="3143" y="0"/>
                      <a:pt x="7049" y="0"/>
                    </a:cubicBezTo>
                    <a:cubicBezTo>
                      <a:pt x="10859"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6" name="Freeform: Shape 155">
                <a:extLst>
                  <a:ext uri="{FF2B5EF4-FFF2-40B4-BE49-F238E27FC236}">
                    <a16:creationId xmlns:a16="http://schemas.microsoft.com/office/drawing/2014/main" id="{AF054118-31C5-405F-98FD-C52552668115}"/>
                  </a:ext>
                </a:extLst>
              </p:cNvPr>
              <p:cNvSpPr/>
              <p:nvPr/>
            </p:nvSpPr>
            <p:spPr>
              <a:xfrm>
                <a:off x="6326022"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7" name="Freeform: Shape 156">
                <a:extLst>
                  <a:ext uri="{FF2B5EF4-FFF2-40B4-BE49-F238E27FC236}">
                    <a16:creationId xmlns:a16="http://schemas.microsoft.com/office/drawing/2014/main" id="{BC580ECA-94B5-4EEE-8B3E-D13068010A85}"/>
                  </a:ext>
                </a:extLst>
              </p:cNvPr>
              <p:cNvSpPr/>
              <p:nvPr/>
            </p:nvSpPr>
            <p:spPr>
              <a:xfrm>
                <a:off x="638526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858" y="0"/>
                      <a:pt x="14097" y="3143"/>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8" name="Freeform: Shape 157">
                <a:extLst>
                  <a:ext uri="{FF2B5EF4-FFF2-40B4-BE49-F238E27FC236}">
                    <a16:creationId xmlns:a16="http://schemas.microsoft.com/office/drawing/2014/main" id="{B5EC5FD6-0D19-498D-BDFC-1C65B1405374}"/>
                  </a:ext>
                </a:extLst>
              </p:cNvPr>
              <p:cNvSpPr/>
              <p:nvPr/>
            </p:nvSpPr>
            <p:spPr>
              <a:xfrm>
                <a:off x="6444417" y="348137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9" name="Freeform: Shape 158">
                <a:extLst>
                  <a:ext uri="{FF2B5EF4-FFF2-40B4-BE49-F238E27FC236}">
                    <a16:creationId xmlns:a16="http://schemas.microsoft.com/office/drawing/2014/main" id="{1F47A1FC-F8D5-4DF4-B1D1-0B0F9CD2BD6C}"/>
                  </a:ext>
                </a:extLst>
              </p:cNvPr>
              <p:cNvSpPr/>
              <p:nvPr/>
            </p:nvSpPr>
            <p:spPr>
              <a:xfrm>
                <a:off x="6148476" y="3540622"/>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0" name="Freeform: Shape 159">
                <a:extLst>
                  <a:ext uri="{FF2B5EF4-FFF2-40B4-BE49-F238E27FC236}">
                    <a16:creationId xmlns:a16="http://schemas.microsoft.com/office/drawing/2014/main" id="{503D5622-B726-487F-B57C-23162F37592D}"/>
                  </a:ext>
                </a:extLst>
              </p:cNvPr>
              <p:cNvSpPr/>
              <p:nvPr/>
            </p:nvSpPr>
            <p:spPr>
              <a:xfrm>
                <a:off x="6207627" y="354062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1" name="Freeform: Shape 160">
                <a:extLst>
                  <a:ext uri="{FF2B5EF4-FFF2-40B4-BE49-F238E27FC236}">
                    <a16:creationId xmlns:a16="http://schemas.microsoft.com/office/drawing/2014/main" id="{25E5A90C-2EF7-4B6F-A358-5BB4E600DD66}"/>
                  </a:ext>
                </a:extLst>
              </p:cNvPr>
              <p:cNvSpPr/>
              <p:nvPr/>
            </p:nvSpPr>
            <p:spPr>
              <a:xfrm>
                <a:off x="6266872" y="35406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2" name="Freeform: Shape 161">
                <a:extLst>
                  <a:ext uri="{FF2B5EF4-FFF2-40B4-BE49-F238E27FC236}">
                    <a16:creationId xmlns:a16="http://schemas.microsoft.com/office/drawing/2014/main" id="{302D610A-8A29-4084-9D8E-4D2CC0453FA3}"/>
                  </a:ext>
                </a:extLst>
              </p:cNvPr>
              <p:cNvSpPr/>
              <p:nvPr/>
            </p:nvSpPr>
            <p:spPr>
              <a:xfrm>
                <a:off x="6326022" y="354062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3" name="Freeform: Shape 162">
                <a:extLst>
                  <a:ext uri="{FF2B5EF4-FFF2-40B4-BE49-F238E27FC236}">
                    <a16:creationId xmlns:a16="http://schemas.microsoft.com/office/drawing/2014/main" id="{4512BE54-08BA-409A-9F16-0B3A63534F25}"/>
                  </a:ext>
                </a:extLst>
              </p:cNvPr>
              <p:cNvSpPr/>
              <p:nvPr/>
            </p:nvSpPr>
            <p:spPr>
              <a:xfrm>
                <a:off x="6385268" y="354063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4" name="Freeform: Shape 163">
                <a:extLst>
                  <a:ext uri="{FF2B5EF4-FFF2-40B4-BE49-F238E27FC236}">
                    <a16:creationId xmlns:a16="http://schemas.microsoft.com/office/drawing/2014/main" id="{21517A1B-623C-4FB6-A8DE-C70DE126139A}"/>
                  </a:ext>
                </a:extLst>
              </p:cNvPr>
              <p:cNvSpPr/>
              <p:nvPr/>
            </p:nvSpPr>
            <p:spPr>
              <a:xfrm>
                <a:off x="6444417" y="3540631"/>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5" name="Freeform: Shape 164">
                <a:extLst>
                  <a:ext uri="{FF2B5EF4-FFF2-40B4-BE49-F238E27FC236}">
                    <a16:creationId xmlns:a16="http://schemas.microsoft.com/office/drawing/2014/main" id="{8F788AA1-211E-4C56-B36D-9863A62BC9E9}"/>
                  </a:ext>
                </a:extLst>
              </p:cNvPr>
              <p:cNvSpPr/>
              <p:nvPr/>
            </p:nvSpPr>
            <p:spPr>
              <a:xfrm>
                <a:off x="6148476" y="3599781"/>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6" name="Freeform: Shape 165">
                <a:extLst>
                  <a:ext uri="{FF2B5EF4-FFF2-40B4-BE49-F238E27FC236}">
                    <a16:creationId xmlns:a16="http://schemas.microsoft.com/office/drawing/2014/main" id="{8B12D240-C258-4FE9-A423-E46A6773F17B}"/>
                  </a:ext>
                </a:extLst>
              </p:cNvPr>
              <p:cNvSpPr/>
              <p:nvPr/>
            </p:nvSpPr>
            <p:spPr>
              <a:xfrm>
                <a:off x="6207627"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7" name="Freeform: Shape 166">
                <a:extLst>
                  <a:ext uri="{FF2B5EF4-FFF2-40B4-BE49-F238E27FC236}">
                    <a16:creationId xmlns:a16="http://schemas.microsoft.com/office/drawing/2014/main" id="{1A0AAA9A-6C12-4257-AC9C-FBFA0F0EEE0F}"/>
                  </a:ext>
                </a:extLst>
              </p:cNvPr>
              <p:cNvSpPr/>
              <p:nvPr/>
            </p:nvSpPr>
            <p:spPr>
              <a:xfrm>
                <a:off x="6266872" y="3599781"/>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8" name="Freeform: Shape 167">
                <a:extLst>
                  <a:ext uri="{FF2B5EF4-FFF2-40B4-BE49-F238E27FC236}">
                    <a16:creationId xmlns:a16="http://schemas.microsoft.com/office/drawing/2014/main" id="{61819836-2D65-4DA6-B1B2-20437FAD689A}"/>
                  </a:ext>
                </a:extLst>
              </p:cNvPr>
              <p:cNvSpPr/>
              <p:nvPr/>
            </p:nvSpPr>
            <p:spPr>
              <a:xfrm>
                <a:off x="6326022"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9" name="Freeform: Shape 168">
                <a:extLst>
                  <a:ext uri="{FF2B5EF4-FFF2-40B4-BE49-F238E27FC236}">
                    <a16:creationId xmlns:a16="http://schemas.microsoft.com/office/drawing/2014/main" id="{F89C4CF7-D75F-44C1-BC4D-DE7AA1E0D642}"/>
                  </a:ext>
                </a:extLst>
              </p:cNvPr>
              <p:cNvSpPr/>
              <p:nvPr/>
            </p:nvSpPr>
            <p:spPr>
              <a:xfrm>
                <a:off x="6385268" y="359978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0" name="Freeform: Shape 169">
                <a:extLst>
                  <a:ext uri="{FF2B5EF4-FFF2-40B4-BE49-F238E27FC236}">
                    <a16:creationId xmlns:a16="http://schemas.microsoft.com/office/drawing/2014/main" id="{A00CB392-768D-49BF-BA72-092945C55ACD}"/>
                  </a:ext>
                </a:extLst>
              </p:cNvPr>
              <p:cNvSpPr/>
              <p:nvPr/>
            </p:nvSpPr>
            <p:spPr>
              <a:xfrm>
                <a:off x="6444417" y="359978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1" name="Freeform: Shape 170">
                <a:extLst>
                  <a:ext uri="{FF2B5EF4-FFF2-40B4-BE49-F238E27FC236}">
                    <a16:creationId xmlns:a16="http://schemas.microsoft.com/office/drawing/2014/main" id="{CF276FAA-41F5-4B48-9482-8481D80FD916}"/>
                  </a:ext>
                </a:extLst>
              </p:cNvPr>
              <p:cNvSpPr/>
              <p:nvPr/>
            </p:nvSpPr>
            <p:spPr>
              <a:xfrm>
                <a:off x="6148476" y="3659026"/>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2" name="Freeform: Shape 171">
                <a:extLst>
                  <a:ext uri="{FF2B5EF4-FFF2-40B4-BE49-F238E27FC236}">
                    <a16:creationId xmlns:a16="http://schemas.microsoft.com/office/drawing/2014/main" id="{B023AAE1-1E09-438C-94E4-1AA2E1261749}"/>
                  </a:ext>
                </a:extLst>
              </p:cNvPr>
              <p:cNvSpPr/>
              <p:nvPr/>
            </p:nvSpPr>
            <p:spPr>
              <a:xfrm>
                <a:off x="620762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3" name="Freeform: Shape 172">
                <a:extLst>
                  <a:ext uri="{FF2B5EF4-FFF2-40B4-BE49-F238E27FC236}">
                    <a16:creationId xmlns:a16="http://schemas.microsoft.com/office/drawing/2014/main" id="{6AF45571-CE43-461D-A8D7-2B47BADAC7A2}"/>
                  </a:ext>
                </a:extLst>
              </p:cNvPr>
              <p:cNvSpPr/>
              <p:nvPr/>
            </p:nvSpPr>
            <p:spPr>
              <a:xfrm>
                <a:off x="6266872" y="36590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4" name="Freeform: Shape 173">
                <a:extLst>
                  <a:ext uri="{FF2B5EF4-FFF2-40B4-BE49-F238E27FC236}">
                    <a16:creationId xmlns:a16="http://schemas.microsoft.com/office/drawing/2014/main" id="{D5EB8CB6-6D13-433E-A200-C3F33606CBA0}"/>
                  </a:ext>
                </a:extLst>
              </p:cNvPr>
              <p:cNvSpPr/>
              <p:nvPr/>
            </p:nvSpPr>
            <p:spPr>
              <a:xfrm>
                <a:off x="6326022"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5" name="Freeform: Shape 174">
                <a:extLst>
                  <a:ext uri="{FF2B5EF4-FFF2-40B4-BE49-F238E27FC236}">
                    <a16:creationId xmlns:a16="http://schemas.microsoft.com/office/drawing/2014/main" id="{F97E0D79-0FE9-4E61-B180-D44663AE43FB}"/>
                  </a:ext>
                </a:extLst>
              </p:cNvPr>
              <p:cNvSpPr/>
              <p:nvPr/>
            </p:nvSpPr>
            <p:spPr>
              <a:xfrm>
                <a:off x="6385268"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6" name="Freeform: Shape 175">
                <a:extLst>
                  <a:ext uri="{FF2B5EF4-FFF2-40B4-BE49-F238E27FC236}">
                    <a16:creationId xmlns:a16="http://schemas.microsoft.com/office/drawing/2014/main" id="{0E7A30CB-3A49-440A-8BFF-DDECDE64AFB9}"/>
                  </a:ext>
                </a:extLst>
              </p:cNvPr>
              <p:cNvSpPr/>
              <p:nvPr/>
            </p:nvSpPr>
            <p:spPr>
              <a:xfrm>
                <a:off x="644441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7" name="Freeform: Shape 176">
                <a:extLst>
                  <a:ext uri="{FF2B5EF4-FFF2-40B4-BE49-F238E27FC236}">
                    <a16:creationId xmlns:a16="http://schemas.microsoft.com/office/drawing/2014/main" id="{2C9C1DFA-72DD-49AD-8233-893910818926}"/>
                  </a:ext>
                </a:extLst>
              </p:cNvPr>
              <p:cNvSpPr/>
              <p:nvPr/>
            </p:nvSpPr>
            <p:spPr>
              <a:xfrm>
                <a:off x="6148476" y="3718177"/>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8" name="Freeform: Shape 177">
                <a:extLst>
                  <a:ext uri="{FF2B5EF4-FFF2-40B4-BE49-F238E27FC236}">
                    <a16:creationId xmlns:a16="http://schemas.microsoft.com/office/drawing/2014/main" id="{01E06A40-B44B-42D2-8166-86EA71277133}"/>
                  </a:ext>
                </a:extLst>
              </p:cNvPr>
              <p:cNvSpPr/>
              <p:nvPr/>
            </p:nvSpPr>
            <p:spPr>
              <a:xfrm>
                <a:off x="6207627"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9" name="Freeform: Shape 178">
                <a:extLst>
                  <a:ext uri="{FF2B5EF4-FFF2-40B4-BE49-F238E27FC236}">
                    <a16:creationId xmlns:a16="http://schemas.microsoft.com/office/drawing/2014/main" id="{AAD1390C-B164-4DA1-8585-4920E900C857}"/>
                  </a:ext>
                </a:extLst>
              </p:cNvPr>
              <p:cNvSpPr/>
              <p:nvPr/>
            </p:nvSpPr>
            <p:spPr>
              <a:xfrm>
                <a:off x="6266872" y="3718177"/>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0" name="Freeform: Shape 179">
                <a:extLst>
                  <a:ext uri="{FF2B5EF4-FFF2-40B4-BE49-F238E27FC236}">
                    <a16:creationId xmlns:a16="http://schemas.microsoft.com/office/drawing/2014/main" id="{6E37C65D-A0AE-4C3D-871A-FC32207011DF}"/>
                  </a:ext>
                </a:extLst>
              </p:cNvPr>
              <p:cNvSpPr/>
              <p:nvPr/>
            </p:nvSpPr>
            <p:spPr>
              <a:xfrm>
                <a:off x="6326022"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1" name="Freeform: Shape 180">
                <a:extLst>
                  <a:ext uri="{FF2B5EF4-FFF2-40B4-BE49-F238E27FC236}">
                    <a16:creationId xmlns:a16="http://schemas.microsoft.com/office/drawing/2014/main" id="{0F946D8A-AA88-4AD8-8CFC-060E4352D7C7}"/>
                  </a:ext>
                </a:extLst>
              </p:cNvPr>
              <p:cNvSpPr/>
              <p:nvPr/>
            </p:nvSpPr>
            <p:spPr>
              <a:xfrm>
                <a:off x="6385268" y="371817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2" name="Freeform: Shape 181">
                <a:extLst>
                  <a:ext uri="{FF2B5EF4-FFF2-40B4-BE49-F238E27FC236}">
                    <a16:creationId xmlns:a16="http://schemas.microsoft.com/office/drawing/2014/main" id="{26C69E7E-139D-4304-9A47-E443E0325007}"/>
                  </a:ext>
                </a:extLst>
              </p:cNvPr>
              <p:cNvSpPr/>
              <p:nvPr/>
            </p:nvSpPr>
            <p:spPr>
              <a:xfrm>
                <a:off x="6444417" y="371817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3" name="Freeform: Shape 182">
                <a:extLst>
                  <a:ext uri="{FF2B5EF4-FFF2-40B4-BE49-F238E27FC236}">
                    <a16:creationId xmlns:a16="http://schemas.microsoft.com/office/drawing/2014/main" id="{643619BB-998A-4688-9EA8-E1A29493B652}"/>
                  </a:ext>
                </a:extLst>
              </p:cNvPr>
              <p:cNvSpPr/>
              <p:nvPr/>
            </p:nvSpPr>
            <p:spPr>
              <a:xfrm>
                <a:off x="6148472" y="3777419"/>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4" name="Freeform: Shape 183">
                <a:extLst>
                  <a:ext uri="{FF2B5EF4-FFF2-40B4-BE49-F238E27FC236}">
                    <a16:creationId xmlns:a16="http://schemas.microsoft.com/office/drawing/2014/main" id="{CA567F32-881E-43C4-BBB0-CDDAFDD276A3}"/>
                  </a:ext>
                </a:extLst>
              </p:cNvPr>
              <p:cNvSpPr/>
              <p:nvPr/>
            </p:nvSpPr>
            <p:spPr>
              <a:xfrm>
                <a:off x="6207622" y="377741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5" name="Freeform: Shape 184">
                <a:extLst>
                  <a:ext uri="{FF2B5EF4-FFF2-40B4-BE49-F238E27FC236}">
                    <a16:creationId xmlns:a16="http://schemas.microsoft.com/office/drawing/2014/main" id="{D1E4C6D4-84CE-4DDC-AC0F-FEDBD9A4BC7B}"/>
                  </a:ext>
                </a:extLst>
              </p:cNvPr>
              <p:cNvSpPr/>
              <p:nvPr/>
            </p:nvSpPr>
            <p:spPr>
              <a:xfrm>
                <a:off x="6266868" y="3777419"/>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6" name="Freeform: Shape 185">
                <a:extLst>
                  <a:ext uri="{FF2B5EF4-FFF2-40B4-BE49-F238E27FC236}">
                    <a16:creationId xmlns:a16="http://schemas.microsoft.com/office/drawing/2014/main" id="{0A2F5831-8F83-4A7E-8185-CA727AF7CAA1}"/>
                  </a:ext>
                </a:extLst>
              </p:cNvPr>
              <p:cNvSpPr/>
              <p:nvPr/>
            </p:nvSpPr>
            <p:spPr>
              <a:xfrm>
                <a:off x="6326024" y="3777383"/>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7" name="Freeform: Shape 186">
                <a:extLst>
                  <a:ext uri="{FF2B5EF4-FFF2-40B4-BE49-F238E27FC236}">
                    <a16:creationId xmlns:a16="http://schemas.microsoft.com/office/drawing/2014/main" id="{33B1C91A-AFEE-4375-83C7-8C346ECB6CB6}"/>
                  </a:ext>
                </a:extLst>
              </p:cNvPr>
              <p:cNvSpPr/>
              <p:nvPr/>
            </p:nvSpPr>
            <p:spPr>
              <a:xfrm>
                <a:off x="6385287" y="377742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8" name="Freeform: Shape 187">
                <a:extLst>
                  <a:ext uri="{FF2B5EF4-FFF2-40B4-BE49-F238E27FC236}">
                    <a16:creationId xmlns:a16="http://schemas.microsoft.com/office/drawing/2014/main" id="{8F328456-0E85-48D3-820F-81CCF861C7C0}"/>
                  </a:ext>
                </a:extLst>
              </p:cNvPr>
              <p:cNvSpPr/>
              <p:nvPr/>
            </p:nvSpPr>
            <p:spPr>
              <a:xfrm>
                <a:off x="6444424" y="37774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grpSp>
      </p:grpSp>
    </p:spTree>
    <p:extLst>
      <p:ext uri="{BB962C8B-B14F-4D97-AF65-F5344CB8AC3E}">
        <p14:creationId xmlns:p14="http://schemas.microsoft.com/office/powerpoint/2010/main" val="2902199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grpSp>
        <p:nvGrpSpPr>
          <p:cNvPr id="175" name="Group 174">
            <a:extLst>
              <a:ext uri="{FF2B5EF4-FFF2-40B4-BE49-F238E27FC236}">
                <a16:creationId xmlns:a16="http://schemas.microsoft.com/office/drawing/2014/main" id="{FAE6CF7E-C57A-4CC1-92F5-932C54C8D405}"/>
              </a:ext>
              <a:ext uri="{C183D7F6-B498-43B3-948B-1728B52AA6E4}">
                <adec:decorative xmlns:adec="http://schemas.microsoft.com/office/drawing/2017/decorative" xmlns="" val="1"/>
              </a:ext>
            </a:extLst>
          </p:cNvPr>
          <p:cNvGrpSpPr/>
          <p:nvPr userDrawn="1"/>
        </p:nvGrpSpPr>
        <p:grpSpPr>
          <a:xfrm>
            <a:off x="6415068" y="4214812"/>
            <a:ext cx="971570" cy="928688"/>
            <a:chOff x="3121343" y="4864099"/>
            <a:chExt cx="2085971" cy="1993901"/>
          </a:xfrm>
          <a:solidFill>
            <a:schemeClr val="accent3">
              <a:alpha val="20000"/>
            </a:schemeClr>
          </a:solidFill>
        </p:grpSpPr>
        <p:sp>
          <p:nvSpPr>
            <p:cNvPr id="176" name="Freeform: Shape 175">
              <a:extLst>
                <a:ext uri="{FF2B5EF4-FFF2-40B4-BE49-F238E27FC236}">
                  <a16:creationId xmlns:a16="http://schemas.microsoft.com/office/drawing/2014/main" id="{346635BB-0BF8-4643-9F1B-010FA1A03E12}"/>
                </a:ext>
              </a:extLst>
            </p:cNvPr>
            <p:cNvSpPr/>
            <p:nvPr/>
          </p:nvSpPr>
          <p:spPr>
            <a:xfrm>
              <a:off x="3238556" y="4981312"/>
              <a:ext cx="442726" cy="44272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77" name="Freeform: Shape 176">
              <a:extLst>
                <a:ext uri="{FF2B5EF4-FFF2-40B4-BE49-F238E27FC236}">
                  <a16:creationId xmlns:a16="http://schemas.microsoft.com/office/drawing/2014/main" id="{51262E8E-82E0-4624-AFB8-23B54281680A}"/>
                </a:ext>
              </a:extLst>
            </p:cNvPr>
            <p:cNvSpPr/>
            <p:nvPr/>
          </p:nvSpPr>
          <p:spPr>
            <a:xfrm>
              <a:off x="3128809" y="4871565"/>
              <a:ext cx="902626" cy="902626"/>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78" name="Freeform: Shape 177">
              <a:extLst>
                <a:ext uri="{FF2B5EF4-FFF2-40B4-BE49-F238E27FC236}">
                  <a16:creationId xmlns:a16="http://schemas.microsoft.com/office/drawing/2014/main" id="{04EB1CCB-9D2B-433C-A6A6-31EF2FD52707}"/>
                </a:ext>
              </a:extLst>
            </p:cNvPr>
            <p:cNvSpPr/>
            <p:nvPr/>
          </p:nvSpPr>
          <p:spPr>
            <a:xfrm>
              <a:off x="3121343" y="4864099"/>
              <a:ext cx="1152732" cy="1152732"/>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79" name="Freeform: Shape 178">
              <a:extLst>
                <a:ext uri="{FF2B5EF4-FFF2-40B4-BE49-F238E27FC236}">
                  <a16:creationId xmlns:a16="http://schemas.microsoft.com/office/drawing/2014/main" id="{2E32FBF0-95B3-491B-98C2-1FA51CB41D86}"/>
                </a:ext>
              </a:extLst>
            </p:cNvPr>
            <p:cNvSpPr/>
            <p:nvPr/>
          </p:nvSpPr>
          <p:spPr>
            <a:xfrm>
              <a:off x="3152324" y="4894707"/>
              <a:ext cx="1321462" cy="1321838"/>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0" name="Freeform: Shape 179">
              <a:extLst>
                <a:ext uri="{FF2B5EF4-FFF2-40B4-BE49-F238E27FC236}">
                  <a16:creationId xmlns:a16="http://schemas.microsoft.com/office/drawing/2014/main" id="{175C8DFE-88AC-4A43-8617-6981B300741C}"/>
                </a:ext>
              </a:extLst>
            </p:cNvPr>
            <p:cNvSpPr/>
            <p:nvPr/>
          </p:nvSpPr>
          <p:spPr>
            <a:xfrm>
              <a:off x="3215037" y="4957793"/>
              <a:ext cx="1428975" cy="1428975"/>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1" name="Freeform: Shape 180">
              <a:extLst>
                <a:ext uri="{FF2B5EF4-FFF2-40B4-BE49-F238E27FC236}">
                  <a16:creationId xmlns:a16="http://schemas.microsoft.com/office/drawing/2014/main" id="{5B21DC5C-19E3-4D2E-90AA-635A88E641CD}"/>
                </a:ext>
              </a:extLst>
            </p:cNvPr>
            <p:cNvSpPr/>
            <p:nvPr/>
          </p:nvSpPr>
          <p:spPr>
            <a:xfrm>
              <a:off x="3301642" y="5044398"/>
              <a:ext cx="1490195" cy="1490195"/>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2" name="Freeform: Shape 181">
              <a:extLst>
                <a:ext uri="{FF2B5EF4-FFF2-40B4-BE49-F238E27FC236}">
                  <a16:creationId xmlns:a16="http://schemas.microsoft.com/office/drawing/2014/main" id="{C26FCF53-F438-4A58-8FD2-CAE3D52D4AE0}"/>
                </a:ext>
              </a:extLst>
            </p:cNvPr>
            <p:cNvSpPr/>
            <p:nvPr/>
          </p:nvSpPr>
          <p:spPr>
            <a:xfrm>
              <a:off x="3409523" y="5152279"/>
              <a:ext cx="1509607" cy="1509607"/>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3" name="Freeform: Shape 182">
              <a:extLst>
                <a:ext uri="{FF2B5EF4-FFF2-40B4-BE49-F238E27FC236}">
                  <a16:creationId xmlns:a16="http://schemas.microsoft.com/office/drawing/2014/main" id="{C765ABAF-84C1-42E2-99D9-929B7EC508BF}"/>
                </a:ext>
              </a:extLst>
            </p:cNvPr>
            <p:cNvSpPr/>
            <p:nvPr/>
          </p:nvSpPr>
          <p:spPr>
            <a:xfrm>
              <a:off x="3538685" y="5279576"/>
              <a:ext cx="1488326" cy="1490192"/>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4" name="Freeform: Shape 183">
              <a:extLst>
                <a:ext uri="{FF2B5EF4-FFF2-40B4-BE49-F238E27FC236}">
                  <a16:creationId xmlns:a16="http://schemas.microsoft.com/office/drawing/2014/main" id="{B42C9D2F-6284-4BD9-BCFF-5C32F7FDF984}"/>
                </a:ext>
              </a:extLst>
            </p:cNvPr>
            <p:cNvSpPr/>
            <p:nvPr/>
          </p:nvSpPr>
          <p:spPr>
            <a:xfrm>
              <a:off x="3683896" y="5426652"/>
              <a:ext cx="1429720" cy="1429720"/>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5" name="Freeform: Shape 184">
              <a:extLst>
                <a:ext uri="{FF2B5EF4-FFF2-40B4-BE49-F238E27FC236}">
                  <a16:creationId xmlns:a16="http://schemas.microsoft.com/office/drawing/2014/main" id="{1C3E7263-685E-46D8-A7F6-E632D38676D9}"/>
                </a:ext>
              </a:extLst>
            </p:cNvPr>
            <p:cNvSpPr/>
            <p:nvPr/>
          </p:nvSpPr>
          <p:spPr>
            <a:xfrm>
              <a:off x="3901021" y="5597624"/>
              <a:ext cx="1275308" cy="1260376"/>
            </a:xfrm>
            <a:custGeom>
              <a:avLst/>
              <a:gdLst>
                <a:gd name="connsiteX0" fmla="*/ 1260376 w 1275308"/>
                <a:gd name="connsiteY0" fmla="*/ 0 h 1260376"/>
                <a:gd name="connsiteX1" fmla="*/ 1275308 w 1275308"/>
                <a:gd name="connsiteY1" fmla="*/ 52634 h 1260376"/>
                <a:gd name="connsiteX2" fmla="*/ 67566 w 1275308"/>
                <a:gd name="connsiteY2" fmla="*/ 1260376 h 1260376"/>
                <a:gd name="connsiteX3" fmla="*/ 0 w 1275308"/>
                <a:gd name="connsiteY3" fmla="*/ 1260376 h 1260376"/>
              </a:gdLst>
              <a:ahLst/>
              <a:cxnLst>
                <a:cxn ang="0">
                  <a:pos x="connsiteX0" y="connsiteY0"/>
                </a:cxn>
                <a:cxn ang="0">
                  <a:pos x="connsiteX1" y="connsiteY1"/>
                </a:cxn>
                <a:cxn ang="0">
                  <a:pos x="connsiteX2" y="connsiteY2"/>
                </a:cxn>
                <a:cxn ang="0">
                  <a:pos x="connsiteX3" y="connsiteY3"/>
                </a:cxn>
              </a:cxnLst>
              <a:rect l="l" t="t" r="r" b="b"/>
              <a:pathLst>
                <a:path w="1275308" h="1260376">
                  <a:moveTo>
                    <a:pt x="1260376" y="0"/>
                  </a:moveTo>
                  <a:cubicBezTo>
                    <a:pt x="1265977" y="17174"/>
                    <a:pt x="1270829" y="34716"/>
                    <a:pt x="1275308" y="52634"/>
                  </a:cubicBezTo>
                  <a:lnTo>
                    <a:pt x="67566" y="1260376"/>
                  </a:lnTo>
                  <a:lnTo>
                    <a:pt x="0" y="1260376"/>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6" name="Freeform: Shape 185">
              <a:extLst>
                <a:ext uri="{FF2B5EF4-FFF2-40B4-BE49-F238E27FC236}">
                  <a16:creationId xmlns:a16="http://schemas.microsoft.com/office/drawing/2014/main" id="{990B5B3D-13E1-4E49-8B22-2E4206621B28}"/>
                </a:ext>
              </a:extLst>
            </p:cNvPr>
            <p:cNvSpPr/>
            <p:nvPr/>
          </p:nvSpPr>
          <p:spPr>
            <a:xfrm>
              <a:off x="4141456" y="5797338"/>
              <a:ext cx="1065858" cy="1060662"/>
            </a:xfrm>
            <a:custGeom>
              <a:avLst/>
              <a:gdLst>
                <a:gd name="connsiteX0" fmla="*/ 1061006 w 1065858"/>
                <a:gd name="connsiteY0" fmla="*/ 0 h 1060662"/>
                <a:gd name="connsiteX1" fmla="*/ 1065858 w 1065858"/>
                <a:gd name="connsiteY1" fmla="*/ 62342 h 1060662"/>
                <a:gd name="connsiteX2" fmla="*/ 67196 w 1065858"/>
                <a:gd name="connsiteY2" fmla="*/ 1060662 h 1060662"/>
                <a:gd name="connsiteX3" fmla="*/ 0 w 1065858"/>
                <a:gd name="connsiteY3" fmla="*/ 1060662 h 1060662"/>
              </a:gdLst>
              <a:ahLst/>
              <a:cxnLst>
                <a:cxn ang="0">
                  <a:pos x="connsiteX0" y="connsiteY0"/>
                </a:cxn>
                <a:cxn ang="0">
                  <a:pos x="connsiteX1" y="connsiteY1"/>
                </a:cxn>
                <a:cxn ang="0">
                  <a:pos x="connsiteX2" y="connsiteY2"/>
                </a:cxn>
                <a:cxn ang="0">
                  <a:pos x="connsiteX3" y="connsiteY3"/>
                </a:cxn>
              </a:cxnLst>
              <a:rect l="l" t="t" r="r" b="b"/>
              <a:pathLst>
                <a:path w="1065858" h="1060662">
                  <a:moveTo>
                    <a:pt x="1061006" y="0"/>
                  </a:moveTo>
                  <a:cubicBezTo>
                    <a:pt x="1063248" y="20905"/>
                    <a:pt x="1064741" y="41809"/>
                    <a:pt x="1065858" y="62342"/>
                  </a:cubicBezTo>
                  <a:lnTo>
                    <a:pt x="67196" y="1060662"/>
                  </a:lnTo>
                  <a:lnTo>
                    <a:pt x="0" y="106066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7" name="Freeform: Shape 186">
              <a:extLst>
                <a:ext uri="{FF2B5EF4-FFF2-40B4-BE49-F238E27FC236}">
                  <a16:creationId xmlns:a16="http://schemas.microsoft.com/office/drawing/2014/main" id="{4670F691-09A7-4616-8803-51D0BF1D4994}"/>
                </a:ext>
              </a:extLst>
            </p:cNvPr>
            <p:cNvSpPr/>
            <p:nvPr/>
          </p:nvSpPr>
          <p:spPr>
            <a:xfrm>
              <a:off x="4381830" y="6039978"/>
              <a:ext cx="818022" cy="818022"/>
            </a:xfrm>
            <a:custGeom>
              <a:avLst/>
              <a:gdLst>
                <a:gd name="connsiteX0" fmla="*/ 818022 w 818022"/>
                <a:gd name="connsiteY0" fmla="*/ 0 h 818022"/>
                <a:gd name="connsiteX1" fmla="*/ 804584 w 818022"/>
                <a:gd name="connsiteY1" fmla="*/ 80632 h 818022"/>
                <a:gd name="connsiteX2" fmla="*/ 67190 w 818022"/>
                <a:gd name="connsiteY2" fmla="*/ 818022 h 818022"/>
                <a:gd name="connsiteX3" fmla="*/ 0 w 818022"/>
                <a:gd name="connsiteY3" fmla="*/ 818022 h 818022"/>
              </a:gdLst>
              <a:ahLst/>
              <a:cxnLst>
                <a:cxn ang="0">
                  <a:pos x="connsiteX0" y="connsiteY0"/>
                </a:cxn>
                <a:cxn ang="0">
                  <a:pos x="connsiteX1" y="connsiteY1"/>
                </a:cxn>
                <a:cxn ang="0">
                  <a:pos x="connsiteX2" y="connsiteY2"/>
                </a:cxn>
                <a:cxn ang="0">
                  <a:pos x="connsiteX3" y="connsiteY3"/>
                </a:cxn>
              </a:cxnLst>
              <a:rect l="l" t="t" r="r" b="b"/>
              <a:pathLst>
                <a:path w="818022" h="818022">
                  <a:moveTo>
                    <a:pt x="818022" y="0"/>
                  </a:moveTo>
                  <a:cubicBezTo>
                    <a:pt x="814660" y="27250"/>
                    <a:pt x="810180" y="53755"/>
                    <a:pt x="804584" y="80632"/>
                  </a:cubicBezTo>
                  <a:lnTo>
                    <a:pt x="67190" y="818022"/>
                  </a:lnTo>
                  <a:lnTo>
                    <a:pt x="0" y="81802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8" name="Freeform: Shape 187">
              <a:extLst>
                <a:ext uri="{FF2B5EF4-FFF2-40B4-BE49-F238E27FC236}">
                  <a16:creationId xmlns:a16="http://schemas.microsoft.com/office/drawing/2014/main" id="{7E456B34-1D7D-46B7-9864-E6F3D5EEF702}"/>
                </a:ext>
              </a:extLst>
            </p:cNvPr>
            <p:cNvSpPr/>
            <p:nvPr/>
          </p:nvSpPr>
          <p:spPr>
            <a:xfrm>
              <a:off x="4647375" y="6390131"/>
              <a:ext cx="442354" cy="442354"/>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grpSp>
      <p:sp>
        <p:nvSpPr>
          <p:cNvPr id="2" name="Freeform: Shape 1">
            <a:extLst>
              <a:ext uri="{FF2B5EF4-FFF2-40B4-BE49-F238E27FC236}">
                <a16:creationId xmlns:a16="http://schemas.microsoft.com/office/drawing/2014/main" id="{88347124-F829-49F3-A411-9BDBF2A03C8A}"/>
              </a:ext>
              <a:ext uri="{C183D7F6-B498-43B3-948B-1728B52AA6E4}">
                <adec:decorative xmlns:adec="http://schemas.microsoft.com/office/drawing/2017/decorative" xmlns="" val="1"/>
              </a:ext>
            </a:extLst>
          </p:cNvPr>
          <p:cNvSpPr/>
          <p:nvPr userDrawn="1"/>
        </p:nvSpPr>
        <p:spPr>
          <a:xfrm rot="10800000">
            <a:off x="3166" y="-3166"/>
            <a:ext cx="823610" cy="790214"/>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Source Sans Pro"/>
              <a:ea typeface="+mn-ea"/>
              <a:cs typeface="+mn-cs"/>
            </a:endParaRPr>
          </a:p>
        </p:txBody>
      </p:sp>
      <p:grpSp>
        <p:nvGrpSpPr>
          <p:cNvPr id="23" name="Graphic 38">
            <a:extLst>
              <a:ext uri="{FF2B5EF4-FFF2-40B4-BE49-F238E27FC236}">
                <a16:creationId xmlns:a16="http://schemas.microsoft.com/office/drawing/2014/main" id="{9F14A5DD-2657-4346-AC8D-77FFFA0A1DB8}"/>
              </a:ext>
              <a:ext uri="{C183D7F6-B498-43B3-948B-1728B52AA6E4}">
                <adec:decorative xmlns:adec="http://schemas.microsoft.com/office/drawing/2017/decorative" xmlns="" val="1"/>
              </a:ext>
            </a:extLst>
          </p:cNvPr>
          <p:cNvGrpSpPr/>
          <p:nvPr userDrawn="1"/>
        </p:nvGrpSpPr>
        <p:grpSpPr>
          <a:xfrm>
            <a:off x="4487778" y="300015"/>
            <a:ext cx="1432689" cy="532246"/>
            <a:chOff x="2267504" y="2540250"/>
            <a:chExt cx="1990951" cy="739641"/>
          </a:xfrm>
          <a:solidFill>
            <a:schemeClr val="tx2"/>
          </a:solidFill>
        </p:grpSpPr>
        <p:sp>
          <p:nvSpPr>
            <p:cNvPr id="24" name="Freeform: Shape 23">
              <a:extLst>
                <a:ext uri="{FF2B5EF4-FFF2-40B4-BE49-F238E27FC236}">
                  <a16:creationId xmlns:a16="http://schemas.microsoft.com/office/drawing/2014/main" id="{0D472844-E6F3-47F6-B54F-5B2F665A6392}"/>
                </a:ext>
              </a:extLst>
            </p:cNvPr>
            <p:cNvSpPr/>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 name="Freeform: Shape 24">
              <a:extLst>
                <a:ext uri="{FF2B5EF4-FFF2-40B4-BE49-F238E27FC236}">
                  <a16:creationId xmlns:a16="http://schemas.microsoft.com/office/drawing/2014/main" id="{7939D725-4408-4EAA-BD85-8B6A289020D8}"/>
                </a:ext>
              </a:extLst>
            </p:cNvPr>
            <p:cNvSpPr/>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28" name="Title 1">
            <a:extLst>
              <a:ext uri="{FF2B5EF4-FFF2-40B4-BE49-F238E27FC236}">
                <a16:creationId xmlns:a16="http://schemas.microsoft.com/office/drawing/2014/main" id="{7792A114-7099-4B73-8CFF-1CD310B6C293}"/>
              </a:ext>
            </a:extLst>
          </p:cNvPr>
          <p:cNvSpPr>
            <a:spLocks noGrp="1"/>
          </p:cNvSpPr>
          <p:nvPr>
            <p:ph type="title" hasCustomPrompt="1"/>
          </p:nvPr>
        </p:nvSpPr>
        <p:spPr>
          <a:xfrm>
            <a:off x="969651" y="268961"/>
            <a:ext cx="3113103" cy="1073250"/>
          </a:xfrm>
        </p:spPr>
        <p:txBody>
          <a:bodyPr anchor="t"/>
          <a:lstStyle>
            <a:lvl1pPr>
              <a:defRPr/>
            </a:lvl1pPr>
          </a:lstStyle>
          <a:p>
            <a:r>
              <a:rPr lang="en-US" dirty="0"/>
              <a:t>Click to add title</a:t>
            </a:r>
          </a:p>
        </p:txBody>
      </p:sp>
      <p:sp>
        <p:nvSpPr>
          <p:cNvPr id="190" name="Date Placeholder 178">
            <a:extLst>
              <a:ext uri="{FF2B5EF4-FFF2-40B4-BE49-F238E27FC236}">
                <a16:creationId xmlns:a16="http://schemas.microsoft.com/office/drawing/2014/main" id="{D3ABC542-2E09-4DFF-BDC3-4E62CADE0205}"/>
              </a:ext>
            </a:extLst>
          </p:cNvPr>
          <p:cNvSpPr>
            <a:spLocks noGrp="1"/>
          </p:cNvSpPr>
          <p:nvPr>
            <p:ph type="dt" sz="half" idx="10"/>
          </p:nvPr>
        </p:nvSpPr>
        <p:spPr>
          <a:xfrm>
            <a:off x="628650" y="4767263"/>
            <a:ext cx="2057400" cy="273844"/>
          </a:xfrm>
        </p:spPr>
        <p:txBody>
          <a:bodyPr/>
          <a:lstStyle/>
          <a:p>
            <a:pPr defTabSz="685800">
              <a:buClrTx/>
              <a:defRPr/>
            </a:pPr>
            <a:r>
              <a:rPr lang="en-US" sz="900" b="1" kern="1200" cap="all" spc="75" smtClean="0">
                <a:solidFill>
                  <a:prstClr val="black">
                    <a:tint val="75000"/>
                  </a:prstClr>
                </a:solidFill>
                <a:latin typeface="Source Sans Pro"/>
                <a:cs typeface="+mn-cs"/>
              </a:rPr>
              <a:t>2/1/20XX</a:t>
            </a:r>
            <a:endParaRPr lang="en-US" sz="900" b="1" kern="1200" cap="all" spc="75" dirty="0">
              <a:solidFill>
                <a:prstClr val="black">
                  <a:tint val="75000"/>
                </a:prstClr>
              </a:solidFill>
              <a:latin typeface="Source Sans Pro"/>
              <a:cs typeface="+mn-cs"/>
            </a:endParaRPr>
          </a:p>
        </p:txBody>
      </p:sp>
      <p:sp>
        <p:nvSpPr>
          <p:cNvPr id="191" name="Footer Placeholder 179">
            <a:extLst>
              <a:ext uri="{FF2B5EF4-FFF2-40B4-BE49-F238E27FC236}">
                <a16:creationId xmlns:a16="http://schemas.microsoft.com/office/drawing/2014/main" id="{EE59BB7C-0E79-4D99-98A2-6B6BB261A89C}"/>
              </a:ext>
            </a:extLst>
          </p:cNvPr>
          <p:cNvSpPr>
            <a:spLocks noGrp="1"/>
          </p:cNvSpPr>
          <p:nvPr>
            <p:ph type="ftr" sz="quarter" idx="11"/>
          </p:nvPr>
        </p:nvSpPr>
        <p:spPr>
          <a:xfrm>
            <a:off x="3028950" y="4767263"/>
            <a:ext cx="3086100" cy="273844"/>
          </a:xfrm>
        </p:spPr>
        <p:txBody>
          <a:bodyPr/>
          <a:lstStyle/>
          <a:p>
            <a:pPr algn="ctr" defTabSz="685800">
              <a:buClrTx/>
              <a:defRPr/>
            </a:pPr>
            <a:r>
              <a:rPr lang="en-US" sz="900" b="1" kern="1200" cap="all" spc="75" smtClean="0">
                <a:solidFill>
                  <a:prstClr val="black">
                    <a:tint val="75000"/>
                  </a:prstClr>
                </a:solidFill>
                <a:latin typeface="Source Sans Pro"/>
                <a:cs typeface="+mn-cs"/>
              </a:rPr>
              <a:t>PRESENTATION TITLE</a:t>
            </a:r>
            <a:endParaRPr lang="en-US" sz="900" b="1" kern="1200" cap="all" spc="75" dirty="0">
              <a:solidFill>
                <a:prstClr val="black">
                  <a:tint val="75000"/>
                </a:prstClr>
              </a:solidFill>
              <a:latin typeface="Source Sans Pro"/>
              <a:cs typeface="+mn-cs"/>
            </a:endParaRPr>
          </a:p>
        </p:txBody>
      </p:sp>
      <p:sp>
        <p:nvSpPr>
          <p:cNvPr id="192" name="Slide Number Placeholder 180">
            <a:extLst>
              <a:ext uri="{FF2B5EF4-FFF2-40B4-BE49-F238E27FC236}">
                <a16:creationId xmlns:a16="http://schemas.microsoft.com/office/drawing/2014/main" id="{28A48916-E63A-42EF-B5F2-0212F4E255B0}"/>
              </a:ext>
            </a:extLst>
          </p:cNvPr>
          <p:cNvSpPr>
            <a:spLocks noGrp="1"/>
          </p:cNvSpPr>
          <p:nvPr>
            <p:ph type="sldNum" sz="quarter" idx="12"/>
          </p:nvPr>
        </p:nvSpPr>
        <p:spPr>
          <a:xfrm>
            <a:off x="6457950" y="4767263"/>
            <a:ext cx="2057400" cy="273844"/>
          </a:xfrm>
        </p:spPr>
        <p:txBody>
          <a:bodyPr/>
          <a:lstStyle/>
          <a:p>
            <a:pPr algn="r" defTabSz="685800">
              <a:buClrTx/>
              <a:defRPr/>
            </a:pPr>
            <a:fld id="{5EA792F7-1D9E-4C7E-A103-E8EDFDC2691E}" type="slidenum">
              <a:rPr lang="en-US" sz="900" b="1" kern="1200" cap="all" spc="75" smtClean="0">
                <a:solidFill>
                  <a:prstClr val="black">
                    <a:tint val="75000"/>
                  </a:prstClr>
                </a:solidFill>
                <a:latin typeface="Source Sans Pro"/>
                <a:cs typeface="+mn-cs"/>
              </a:rPr>
              <a:pPr algn="r" defTabSz="685800">
                <a:buClrTx/>
                <a:defRPr/>
              </a:pPr>
              <a:t>‹#›</a:t>
            </a:fld>
            <a:endParaRPr lang="en-US" sz="900" b="1" kern="1200" cap="all" spc="75" dirty="0">
              <a:solidFill>
                <a:prstClr val="black">
                  <a:tint val="75000"/>
                </a:prstClr>
              </a:solidFill>
              <a:latin typeface="Source Sans Pro"/>
              <a:cs typeface="+mn-cs"/>
            </a:endParaRPr>
          </a:p>
        </p:txBody>
      </p:sp>
    </p:spTree>
    <p:extLst>
      <p:ext uri="{BB962C8B-B14F-4D97-AF65-F5344CB8AC3E}">
        <p14:creationId xmlns:p14="http://schemas.microsoft.com/office/powerpoint/2010/main" val="15785161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able of Contents">
  <p:cSld name="Table of Contents">
    <p:bg>
      <p:bgPr>
        <a:solidFill>
          <a:schemeClr val="lt1"/>
        </a:solidFill>
        <a:effectLst/>
      </p:bgPr>
    </p:bg>
    <p:spTree>
      <p:nvGrpSpPr>
        <p:cNvPr id="1" name="Shape 108"/>
        <p:cNvGrpSpPr/>
        <p:nvPr/>
      </p:nvGrpSpPr>
      <p:grpSpPr>
        <a:xfrm>
          <a:off x="0" y="0"/>
          <a:ext cx="0" cy="0"/>
          <a:chOff x="0" y="0"/>
          <a:chExt cx="0" cy="0"/>
        </a:xfrm>
      </p:grpSpPr>
      <p:sp>
        <p:nvSpPr>
          <p:cNvPr id="109" name="Google Shape;109;p22"/>
          <p:cNvSpPr/>
          <p:nvPr/>
        </p:nvSpPr>
        <p:spPr>
          <a:xfrm rot="-5400000" flipH="1">
            <a:off x="7422000" y="468300"/>
            <a:ext cx="2190300" cy="1253700"/>
          </a:xfrm>
          <a:prstGeom prst="rtTriangl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22"/>
          <p:cNvSpPr txBox="1">
            <a:spLocks noGrp="1"/>
          </p:cNvSpPr>
          <p:nvPr>
            <p:ph type="subTitle" idx="1"/>
          </p:nvPr>
        </p:nvSpPr>
        <p:spPr>
          <a:xfrm>
            <a:off x="620700" y="3794775"/>
            <a:ext cx="25956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600"/>
              <a:buNone/>
              <a:defRPr sz="1600">
                <a:solidFill>
                  <a:schemeClr val="dk1"/>
                </a:solidFill>
              </a:defRPr>
            </a:lvl1pPr>
            <a:lvl2pPr lvl="1" rtl="0">
              <a:spcBef>
                <a:spcPts val="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11" name="Google Shape;111;p22"/>
          <p:cNvSpPr txBox="1">
            <a:spLocks noGrp="1"/>
          </p:cNvSpPr>
          <p:nvPr>
            <p:ph type="subTitle" idx="2"/>
          </p:nvPr>
        </p:nvSpPr>
        <p:spPr>
          <a:xfrm>
            <a:off x="620700" y="2215425"/>
            <a:ext cx="2595600" cy="3600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Clr>
                <a:schemeClr val="dk1"/>
              </a:buClr>
              <a:buSzPts val="1600"/>
              <a:buNone/>
              <a:defRPr sz="1600">
                <a:solidFill>
                  <a:schemeClr val="dk1"/>
                </a:solidFill>
              </a:defRPr>
            </a:lvl1pPr>
            <a:lvl2pPr lvl="1">
              <a:spcBef>
                <a:spcPts val="0"/>
              </a:spcBef>
              <a:spcAft>
                <a:spcPts val="0"/>
              </a:spcAft>
              <a:buClr>
                <a:schemeClr val="dk1"/>
              </a:buClr>
              <a:buSzPts val="1400"/>
              <a:buNone/>
              <a:defRPr>
                <a:solidFill>
                  <a:schemeClr val="dk1"/>
                </a:solidFill>
              </a:defRPr>
            </a:lvl2pPr>
            <a:lvl3pPr lvl="2">
              <a:spcBef>
                <a:spcPts val="1600"/>
              </a:spcBef>
              <a:spcAft>
                <a:spcPts val="0"/>
              </a:spcAft>
              <a:buClr>
                <a:schemeClr val="dk1"/>
              </a:buClr>
              <a:buSzPts val="1400"/>
              <a:buNone/>
              <a:defRPr>
                <a:solidFill>
                  <a:schemeClr val="dk1"/>
                </a:solidFill>
              </a:defRPr>
            </a:lvl3pPr>
            <a:lvl4pPr lvl="3">
              <a:spcBef>
                <a:spcPts val="1600"/>
              </a:spcBef>
              <a:spcAft>
                <a:spcPts val="0"/>
              </a:spcAft>
              <a:buClr>
                <a:schemeClr val="dk1"/>
              </a:buClr>
              <a:buSzPts val="1400"/>
              <a:buNone/>
              <a:defRPr>
                <a:solidFill>
                  <a:schemeClr val="dk1"/>
                </a:solidFill>
              </a:defRPr>
            </a:lvl4pPr>
            <a:lvl5pPr lvl="4">
              <a:spcBef>
                <a:spcPts val="1600"/>
              </a:spcBef>
              <a:spcAft>
                <a:spcPts val="0"/>
              </a:spcAft>
              <a:buClr>
                <a:schemeClr val="dk1"/>
              </a:buClr>
              <a:buSzPts val="1400"/>
              <a:buNone/>
              <a:defRPr>
                <a:solidFill>
                  <a:schemeClr val="dk1"/>
                </a:solidFill>
              </a:defRPr>
            </a:lvl5pPr>
            <a:lvl6pPr lvl="5">
              <a:spcBef>
                <a:spcPts val="1600"/>
              </a:spcBef>
              <a:spcAft>
                <a:spcPts val="0"/>
              </a:spcAft>
              <a:buClr>
                <a:schemeClr val="dk1"/>
              </a:buClr>
              <a:buSzPts val="1400"/>
              <a:buNone/>
              <a:defRPr>
                <a:solidFill>
                  <a:schemeClr val="dk1"/>
                </a:solidFill>
              </a:defRPr>
            </a:lvl6pPr>
            <a:lvl7pPr lvl="6">
              <a:spcBef>
                <a:spcPts val="1600"/>
              </a:spcBef>
              <a:spcAft>
                <a:spcPts val="0"/>
              </a:spcAft>
              <a:buClr>
                <a:schemeClr val="dk1"/>
              </a:buClr>
              <a:buSzPts val="1400"/>
              <a:buNone/>
              <a:defRPr>
                <a:solidFill>
                  <a:schemeClr val="dk1"/>
                </a:solidFill>
              </a:defRPr>
            </a:lvl7pPr>
            <a:lvl8pPr lvl="7">
              <a:spcBef>
                <a:spcPts val="1600"/>
              </a:spcBef>
              <a:spcAft>
                <a:spcPts val="0"/>
              </a:spcAft>
              <a:buClr>
                <a:schemeClr val="dk1"/>
              </a:buClr>
              <a:buSzPts val="1400"/>
              <a:buNone/>
              <a:defRPr>
                <a:solidFill>
                  <a:schemeClr val="dk1"/>
                </a:solidFill>
              </a:defRPr>
            </a:lvl8pPr>
            <a:lvl9pPr lvl="8">
              <a:spcBef>
                <a:spcPts val="1600"/>
              </a:spcBef>
              <a:spcAft>
                <a:spcPts val="1600"/>
              </a:spcAft>
              <a:buClr>
                <a:schemeClr val="dk1"/>
              </a:buClr>
              <a:buSzPts val="1400"/>
              <a:buNone/>
              <a:defRPr>
                <a:solidFill>
                  <a:schemeClr val="dk1"/>
                </a:solidFill>
              </a:defRPr>
            </a:lvl9pPr>
          </a:lstStyle>
          <a:p>
            <a:endParaRPr/>
          </a:p>
        </p:txBody>
      </p:sp>
      <p:sp>
        <p:nvSpPr>
          <p:cNvPr id="112" name="Google Shape;112;p22"/>
          <p:cNvSpPr txBox="1">
            <a:spLocks noGrp="1"/>
          </p:cNvSpPr>
          <p:nvPr>
            <p:ph type="subTitle" idx="3"/>
          </p:nvPr>
        </p:nvSpPr>
        <p:spPr>
          <a:xfrm>
            <a:off x="620700" y="1851575"/>
            <a:ext cx="21597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600">
                <a:solidFill>
                  <a:schemeClr val="dk1"/>
                </a:solidFill>
                <a:latin typeface="Be Vietnam"/>
                <a:ea typeface="Be Vietnam"/>
                <a:cs typeface="Be Vietnam"/>
                <a:sym typeface="Be Vietnam"/>
              </a:defRPr>
            </a:lvl1pPr>
            <a:lvl2pPr lvl="1" rtl="0">
              <a:spcBef>
                <a:spcPts val="160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13" name="Google Shape;113;p22"/>
          <p:cNvSpPr txBox="1">
            <a:spLocks noGrp="1"/>
          </p:cNvSpPr>
          <p:nvPr>
            <p:ph type="subTitle" idx="4"/>
          </p:nvPr>
        </p:nvSpPr>
        <p:spPr>
          <a:xfrm>
            <a:off x="3342325" y="1851575"/>
            <a:ext cx="21597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600">
                <a:solidFill>
                  <a:schemeClr val="dk1"/>
                </a:solidFill>
                <a:latin typeface="Be Vietnam"/>
                <a:ea typeface="Be Vietnam"/>
                <a:cs typeface="Be Vietnam"/>
                <a:sym typeface="Be Vietnam"/>
              </a:defRPr>
            </a:lvl1pPr>
            <a:lvl2pPr lvl="1" rtl="0">
              <a:spcBef>
                <a:spcPts val="160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14" name="Google Shape;114;p22"/>
          <p:cNvSpPr txBox="1">
            <a:spLocks noGrp="1"/>
          </p:cNvSpPr>
          <p:nvPr>
            <p:ph type="subTitle" idx="5"/>
          </p:nvPr>
        </p:nvSpPr>
        <p:spPr>
          <a:xfrm>
            <a:off x="6063950" y="1851575"/>
            <a:ext cx="21597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600">
                <a:solidFill>
                  <a:schemeClr val="dk1"/>
                </a:solidFill>
                <a:latin typeface="Be Vietnam"/>
                <a:ea typeface="Be Vietnam"/>
                <a:cs typeface="Be Vietnam"/>
                <a:sym typeface="Be Vietnam"/>
              </a:defRPr>
            </a:lvl1pPr>
            <a:lvl2pPr lvl="1" rtl="0">
              <a:spcBef>
                <a:spcPts val="160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15" name="Google Shape;115;p22"/>
          <p:cNvSpPr txBox="1">
            <a:spLocks noGrp="1"/>
          </p:cNvSpPr>
          <p:nvPr>
            <p:ph type="subTitle" idx="6"/>
          </p:nvPr>
        </p:nvSpPr>
        <p:spPr>
          <a:xfrm>
            <a:off x="620700" y="3428625"/>
            <a:ext cx="21393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600">
                <a:solidFill>
                  <a:schemeClr val="dk1"/>
                </a:solidFill>
                <a:latin typeface="Be Vietnam"/>
                <a:ea typeface="Be Vietnam"/>
                <a:cs typeface="Be Vietnam"/>
                <a:sym typeface="Be Vietnam"/>
              </a:defRPr>
            </a:lvl1pPr>
            <a:lvl2pPr lvl="1" rtl="0">
              <a:spcBef>
                <a:spcPts val="160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16" name="Google Shape;116;p22"/>
          <p:cNvSpPr txBox="1">
            <a:spLocks noGrp="1"/>
          </p:cNvSpPr>
          <p:nvPr>
            <p:ph type="subTitle" idx="7"/>
          </p:nvPr>
        </p:nvSpPr>
        <p:spPr>
          <a:xfrm>
            <a:off x="3342325" y="3428625"/>
            <a:ext cx="21597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600">
                <a:solidFill>
                  <a:schemeClr val="dk1"/>
                </a:solidFill>
                <a:latin typeface="Be Vietnam"/>
                <a:ea typeface="Be Vietnam"/>
                <a:cs typeface="Be Vietnam"/>
                <a:sym typeface="Be Vietnam"/>
              </a:defRPr>
            </a:lvl1pPr>
            <a:lvl2pPr lvl="1" rtl="0">
              <a:spcBef>
                <a:spcPts val="160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17" name="Google Shape;117;p22"/>
          <p:cNvSpPr txBox="1">
            <a:spLocks noGrp="1"/>
          </p:cNvSpPr>
          <p:nvPr>
            <p:ph type="subTitle" idx="8"/>
          </p:nvPr>
        </p:nvSpPr>
        <p:spPr>
          <a:xfrm>
            <a:off x="6063950" y="3428625"/>
            <a:ext cx="21597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400"/>
              <a:buNone/>
              <a:defRPr sz="1600">
                <a:solidFill>
                  <a:schemeClr val="dk1"/>
                </a:solidFill>
                <a:latin typeface="Be Vietnam"/>
                <a:ea typeface="Be Vietnam"/>
                <a:cs typeface="Be Vietnam"/>
                <a:sym typeface="Be Vietnam"/>
              </a:defRPr>
            </a:lvl1pPr>
            <a:lvl2pPr lvl="1" rtl="0">
              <a:spcBef>
                <a:spcPts val="160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18" name="Google Shape;118;p22"/>
          <p:cNvSpPr txBox="1">
            <a:spLocks noGrp="1"/>
          </p:cNvSpPr>
          <p:nvPr>
            <p:ph type="title" hasCustomPrompt="1"/>
          </p:nvPr>
        </p:nvSpPr>
        <p:spPr>
          <a:xfrm flipH="1">
            <a:off x="620700" y="1491575"/>
            <a:ext cx="1080000" cy="360000"/>
          </a:xfrm>
          <a:prstGeom prst="rect">
            <a:avLst/>
          </a:prstGeom>
        </p:spPr>
        <p:txBody>
          <a:bodyPr spcFirstLastPara="1" wrap="square" lIns="91425" tIns="91425" rIns="91425" bIns="91425" anchor="ctr" anchorCtr="0">
            <a:noAutofit/>
          </a:bodyPr>
          <a:lstStyle>
            <a:lvl1pPr lvl="0" algn="l" rtl="0">
              <a:spcBef>
                <a:spcPts val="0"/>
              </a:spcBef>
              <a:spcAft>
                <a:spcPts val="0"/>
              </a:spcAft>
              <a:buClr>
                <a:schemeClr val="dk1"/>
              </a:buClr>
              <a:buSzPts val="3000"/>
              <a:buNone/>
              <a:defRPr sz="2400">
                <a:solidFill>
                  <a:schemeClr val="dk1"/>
                </a:solidFill>
              </a:defRPr>
            </a:lvl1pPr>
            <a:lvl2pPr lvl="1" algn="ctr" rtl="0">
              <a:spcBef>
                <a:spcPts val="0"/>
              </a:spcBef>
              <a:spcAft>
                <a:spcPts val="0"/>
              </a:spcAft>
              <a:buClr>
                <a:schemeClr val="dk1"/>
              </a:buClr>
              <a:buSzPts val="3000"/>
              <a:buNone/>
              <a:defRPr sz="3000">
                <a:solidFill>
                  <a:schemeClr val="dk1"/>
                </a:solidFill>
              </a:defRPr>
            </a:lvl2pPr>
            <a:lvl3pPr lvl="2" algn="ctr" rtl="0">
              <a:spcBef>
                <a:spcPts val="0"/>
              </a:spcBef>
              <a:spcAft>
                <a:spcPts val="0"/>
              </a:spcAft>
              <a:buClr>
                <a:schemeClr val="dk1"/>
              </a:buClr>
              <a:buSzPts val="3000"/>
              <a:buNone/>
              <a:defRPr sz="3000">
                <a:solidFill>
                  <a:schemeClr val="dk1"/>
                </a:solidFill>
              </a:defRPr>
            </a:lvl3pPr>
            <a:lvl4pPr lvl="3" algn="ctr" rtl="0">
              <a:spcBef>
                <a:spcPts val="0"/>
              </a:spcBef>
              <a:spcAft>
                <a:spcPts val="0"/>
              </a:spcAft>
              <a:buClr>
                <a:schemeClr val="dk1"/>
              </a:buClr>
              <a:buSzPts val="3000"/>
              <a:buNone/>
              <a:defRPr sz="3000">
                <a:solidFill>
                  <a:schemeClr val="dk1"/>
                </a:solidFill>
              </a:defRPr>
            </a:lvl4pPr>
            <a:lvl5pPr lvl="4" algn="ctr" rtl="0">
              <a:spcBef>
                <a:spcPts val="0"/>
              </a:spcBef>
              <a:spcAft>
                <a:spcPts val="0"/>
              </a:spcAft>
              <a:buClr>
                <a:schemeClr val="dk1"/>
              </a:buClr>
              <a:buSzPts val="3000"/>
              <a:buNone/>
              <a:defRPr sz="3000">
                <a:solidFill>
                  <a:schemeClr val="dk1"/>
                </a:solidFill>
              </a:defRPr>
            </a:lvl5pPr>
            <a:lvl6pPr lvl="5" algn="ctr" rtl="0">
              <a:spcBef>
                <a:spcPts val="0"/>
              </a:spcBef>
              <a:spcAft>
                <a:spcPts val="0"/>
              </a:spcAft>
              <a:buClr>
                <a:schemeClr val="dk1"/>
              </a:buClr>
              <a:buSzPts val="3000"/>
              <a:buNone/>
              <a:defRPr sz="3000">
                <a:solidFill>
                  <a:schemeClr val="dk1"/>
                </a:solidFill>
              </a:defRPr>
            </a:lvl6pPr>
            <a:lvl7pPr lvl="6" algn="ctr" rtl="0">
              <a:spcBef>
                <a:spcPts val="0"/>
              </a:spcBef>
              <a:spcAft>
                <a:spcPts val="0"/>
              </a:spcAft>
              <a:buClr>
                <a:schemeClr val="dk1"/>
              </a:buClr>
              <a:buSzPts val="3000"/>
              <a:buNone/>
              <a:defRPr sz="3000">
                <a:solidFill>
                  <a:schemeClr val="dk1"/>
                </a:solidFill>
              </a:defRPr>
            </a:lvl7pPr>
            <a:lvl8pPr lvl="7" algn="ctr" rtl="0">
              <a:spcBef>
                <a:spcPts val="0"/>
              </a:spcBef>
              <a:spcAft>
                <a:spcPts val="0"/>
              </a:spcAft>
              <a:buClr>
                <a:schemeClr val="dk1"/>
              </a:buClr>
              <a:buSzPts val="3000"/>
              <a:buNone/>
              <a:defRPr sz="3000">
                <a:solidFill>
                  <a:schemeClr val="dk1"/>
                </a:solidFill>
              </a:defRPr>
            </a:lvl8pPr>
            <a:lvl9pPr lvl="8" algn="ctr" rtl="0">
              <a:spcBef>
                <a:spcPts val="0"/>
              </a:spcBef>
              <a:spcAft>
                <a:spcPts val="0"/>
              </a:spcAft>
              <a:buClr>
                <a:schemeClr val="dk1"/>
              </a:buClr>
              <a:buSzPts val="3000"/>
              <a:buNone/>
              <a:defRPr sz="3000">
                <a:solidFill>
                  <a:schemeClr val="dk1"/>
                </a:solidFill>
              </a:defRPr>
            </a:lvl9pPr>
          </a:lstStyle>
          <a:p>
            <a:r>
              <a:t>xx%</a:t>
            </a:r>
          </a:p>
        </p:txBody>
      </p:sp>
      <p:sp>
        <p:nvSpPr>
          <p:cNvPr id="119" name="Google Shape;119;p22"/>
          <p:cNvSpPr txBox="1">
            <a:spLocks noGrp="1"/>
          </p:cNvSpPr>
          <p:nvPr>
            <p:ph type="title" idx="9" hasCustomPrompt="1"/>
          </p:nvPr>
        </p:nvSpPr>
        <p:spPr>
          <a:xfrm>
            <a:off x="3342325" y="1491575"/>
            <a:ext cx="1080000" cy="360000"/>
          </a:xfrm>
          <a:prstGeom prst="rect">
            <a:avLst/>
          </a:prstGeom>
        </p:spPr>
        <p:txBody>
          <a:bodyPr spcFirstLastPara="1" wrap="square" lIns="91425" tIns="91425" rIns="91425" bIns="91425" anchor="ctr" anchorCtr="0">
            <a:noAutofit/>
          </a:bodyPr>
          <a:lstStyle>
            <a:lvl1pPr lvl="0" algn="l" rtl="0">
              <a:spcBef>
                <a:spcPts val="0"/>
              </a:spcBef>
              <a:spcAft>
                <a:spcPts val="0"/>
              </a:spcAft>
              <a:buClr>
                <a:schemeClr val="dk1"/>
              </a:buClr>
              <a:buSzPts val="3000"/>
              <a:buNone/>
              <a:defRPr sz="2400">
                <a:solidFill>
                  <a:schemeClr val="dk1"/>
                </a:solidFill>
              </a:defRPr>
            </a:lvl1pPr>
            <a:lvl2pPr lvl="1" algn="ctr" rtl="0">
              <a:spcBef>
                <a:spcPts val="0"/>
              </a:spcBef>
              <a:spcAft>
                <a:spcPts val="0"/>
              </a:spcAft>
              <a:buClr>
                <a:schemeClr val="dk1"/>
              </a:buClr>
              <a:buSzPts val="3000"/>
              <a:buNone/>
              <a:defRPr sz="3000">
                <a:solidFill>
                  <a:schemeClr val="dk1"/>
                </a:solidFill>
              </a:defRPr>
            </a:lvl2pPr>
            <a:lvl3pPr lvl="2" algn="ctr" rtl="0">
              <a:spcBef>
                <a:spcPts val="0"/>
              </a:spcBef>
              <a:spcAft>
                <a:spcPts val="0"/>
              </a:spcAft>
              <a:buClr>
                <a:schemeClr val="dk1"/>
              </a:buClr>
              <a:buSzPts val="3000"/>
              <a:buNone/>
              <a:defRPr sz="3000">
                <a:solidFill>
                  <a:schemeClr val="dk1"/>
                </a:solidFill>
              </a:defRPr>
            </a:lvl3pPr>
            <a:lvl4pPr lvl="3" algn="ctr" rtl="0">
              <a:spcBef>
                <a:spcPts val="0"/>
              </a:spcBef>
              <a:spcAft>
                <a:spcPts val="0"/>
              </a:spcAft>
              <a:buClr>
                <a:schemeClr val="dk1"/>
              </a:buClr>
              <a:buSzPts val="3000"/>
              <a:buNone/>
              <a:defRPr sz="3000">
                <a:solidFill>
                  <a:schemeClr val="dk1"/>
                </a:solidFill>
              </a:defRPr>
            </a:lvl4pPr>
            <a:lvl5pPr lvl="4" algn="ctr" rtl="0">
              <a:spcBef>
                <a:spcPts val="0"/>
              </a:spcBef>
              <a:spcAft>
                <a:spcPts val="0"/>
              </a:spcAft>
              <a:buClr>
                <a:schemeClr val="dk1"/>
              </a:buClr>
              <a:buSzPts val="3000"/>
              <a:buNone/>
              <a:defRPr sz="3000">
                <a:solidFill>
                  <a:schemeClr val="dk1"/>
                </a:solidFill>
              </a:defRPr>
            </a:lvl5pPr>
            <a:lvl6pPr lvl="5" algn="ctr" rtl="0">
              <a:spcBef>
                <a:spcPts val="0"/>
              </a:spcBef>
              <a:spcAft>
                <a:spcPts val="0"/>
              </a:spcAft>
              <a:buClr>
                <a:schemeClr val="dk1"/>
              </a:buClr>
              <a:buSzPts val="3000"/>
              <a:buNone/>
              <a:defRPr sz="3000">
                <a:solidFill>
                  <a:schemeClr val="dk1"/>
                </a:solidFill>
              </a:defRPr>
            </a:lvl6pPr>
            <a:lvl7pPr lvl="6" algn="ctr" rtl="0">
              <a:spcBef>
                <a:spcPts val="0"/>
              </a:spcBef>
              <a:spcAft>
                <a:spcPts val="0"/>
              </a:spcAft>
              <a:buClr>
                <a:schemeClr val="dk1"/>
              </a:buClr>
              <a:buSzPts val="3000"/>
              <a:buNone/>
              <a:defRPr sz="3000">
                <a:solidFill>
                  <a:schemeClr val="dk1"/>
                </a:solidFill>
              </a:defRPr>
            </a:lvl7pPr>
            <a:lvl8pPr lvl="7" algn="ctr" rtl="0">
              <a:spcBef>
                <a:spcPts val="0"/>
              </a:spcBef>
              <a:spcAft>
                <a:spcPts val="0"/>
              </a:spcAft>
              <a:buClr>
                <a:schemeClr val="dk1"/>
              </a:buClr>
              <a:buSzPts val="3000"/>
              <a:buNone/>
              <a:defRPr sz="3000">
                <a:solidFill>
                  <a:schemeClr val="dk1"/>
                </a:solidFill>
              </a:defRPr>
            </a:lvl8pPr>
            <a:lvl9pPr lvl="8" algn="ctr" rtl="0">
              <a:spcBef>
                <a:spcPts val="0"/>
              </a:spcBef>
              <a:spcAft>
                <a:spcPts val="0"/>
              </a:spcAft>
              <a:buClr>
                <a:schemeClr val="dk1"/>
              </a:buClr>
              <a:buSzPts val="3000"/>
              <a:buNone/>
              <a:defRPr sz="3000">
                <a:solidFill>
                  <a:schemeClr val="dk1"/>
                </a:solidFill>
              </a:defRPr>
            </a:lvl9pPr>
          </a:lstStyle>
          <a:p>
            <a:r>
              <a:t>xx%</a:t>
            </a:r>
          </a:p>
        </p:txBody>
      </p:sp>
      <p:sp>
        <p:nvSpPr>
          <p:cNvPr id="120" name="Google Shape;120;p22"/>
          <p:cNvSpPr txBox="1">
            <a:spLocks noGrp="1"/>
          </p:cNvSpPr>
          <p:nvPr>
            <p:ph type="title" idx="13" hasCustomPrompt="1"/>
          </p:nvPr>
        </p:nvSpPr>
        <p:spPr>
          <a:xfrm>
            <a:off x="6063950" y="1491575"/>
            <a:ext cx="1080000" cy="360000"/>
          </a:xfrm>
          <a:prstGeom prst="rect">
            <a:avLst/>
          </a:prstGeom>
        </p:spPr>
        <p:txBody>
          <a:bodyPr spcFirstLastPara="1" wrap="square" lIns="91425" tIns="91425" rIns="91425" bIns="91425" anchor="ctr" anchorCtr="0">
            <a:noAutofit/>
          </a:bodyPr>
          <a:lstStyle>
            <a:lvl1pPr lvl="0" algn="l" rtl="0">
              <a:spcBef>
                <a:spcPts val="0"/>
              </a:spcBef>
              <a:spcAft>
                <a:spcPts val="0"/>
              </a:spcAft>
              <a:buClr>
                <a:schemeClr val="dk1"/>
              </a:buClr>
              <a:buSzPts val="3000"/>
              <a:buNone/>
              <a:defRPr sz="2400">
                <a:solidFill>
                  <a:schemeClr val="dk1"/>
                </a:solidFill>
              </a:defRPr>
            </a:lvl1pPr>
            <a:lvl2pPr lvl="1" algn="ctr" rtl="0">
              <a:spcBef>
                <a:spcPts val="0"/>
              </a:spcBef>
              <a:spcAft>
                <a:spcPts val="0"/>
              </a:spcAft>
              <a:buClr>
                <a:schemeClr val="dk1"/>
              </a:buClr>
              <a:buSzPts val="3000"/>
              <a:buNone/>
              <a:defRPr sz="3000">
                <a:solidFill>
                  <a:schemeClr val="dk1"/>
                </a:solidFill>
              </a:defRPr>
            </a:lvl2pPr>
            <a:lvl3pPr lvl="2" algn="ctr" rtl="0">
              <a:spcBef>
                <a:spcPts val="0"/>
              </a:spcBef>
              <a:spcAft>
                <a:spcPts val="0"/>
              </a:spcAft>
              <a:buClr>
                <a:schemeClr val="dk1"/>
              </a:buClr>
              <a:buSzPts val="3000"/>
              <a:buNone/>
              <a:defRPr sz="3000">
                <a:solidFill>
                  <a:schemeClr val="dk1"/>
                </a:solidFill>
              </a:defRPr>
            </a:lvl3pPr>
            <a:lvl4pPr lvl="3" algn="ctr" rtl="0">
              <a:spcBef>
                <a:spcPts val="0"/>
              </a:spcBef>
              <a:spcAft>
                <a:spcPts val="0"/>
              </a:spcAft>
              <a:buClr>
                <a:schemeClr val="dk1"/>
              </a:buClr>
              <a:buSzPts val="3000"/>
              <a:buNone/>
              <a:defRPr sz="3000">
                <a:solidFill>
                  <a:schemeClr val="dk1"/>
                </a:solidFill>
              </a:defRPr>
            </a:lvl4pPr>
            <a:lvl5pPr lvl="4" algn="ctr" rtl="0">
              <a:spcBef>
                <a:spcPts val="0"/>
              </a:spcBef>
              <a:spcAft>
                <a:spcPts val="0"/>
              </a:spcAft>
              <a:buClr>
                <a:schemeClr val="dk1"/>
              </a:buClr>
              <a:buSzPts val="3000"/>
              <a:buNone/>
              <a:defRPr sz="3000">
                <a:solidFill>
                  <a:schemeClr val="dk1"/>
                </a:solidFill>
              </a:defRPr>
            </a:lvl5pPr>
            <a:lvl6pPr lvl="5" algn="ctr" rtl="0">
              <a:spcBef>
                <a:spcPts val="0"/>
              </a:spcBef>
              <a:spcAft>
                <a:spcPts val="0"/>
              </a:spcAft>
              <a:buClr>
                <a:schemeClr val="dk1"/>
              </a:buClr>
              <a:buSzPts val="3000"/>
              <a:buNone/>
              <a:defRPr sz="3000">
                <a:solidFill>
                  <a:schemeClr val="dk1"/>
                </a:solidFill>
              </a:defRPr>
            </a:lvl6pPr>
            <a:lvl7pPr lvl="6" algn="ctr" rtl="0">
              <a:spcBef>
                <a:spcPts val="0"/>
              </a:spcBef>
              <a:spcAft>
                <a:spcPts val="0"/>
              </a:spcAft>
              <a:buClr>
                <a:schemeClr val="dk1"/>
              </a:buClr>
              <a:buSzPts val="3000"/>
              <a:buNone/>
              <a:defRPr sz="3000">
                <a:solidFill>
                  <a:schemeClr val="dk1"/>
                </a:solidFill>
              </a:defRPr>
            </a:lvl7pPr>
            <a:lvl8pPr lvl="7" algn="ctr" rtl="0">
              <a:spcBef>
                <a:spcPts val="0"/>
              </a:spcBef>
              <a:spcAft>
                <a:spcPts val="0"/>
              </a:spcAft>
              <a:buClr>
                <a:schemeClr val="dk1"/>
              </a:buClr>
              <a:buSzPts val="3000"/>
              <a:buNone/>
              <a:defRPr sz="3000">
                <a:solidFill>
                  <a:schemeClr val="dk1"/>
                </a:solidFill>
              </a:defRPr>
            </a:lvl8pPr>
            <a:lvl9pPr lvl="8" algn="ctr" rtl="0">
              <a:spcBef>
                <a:spcPts val="0"/>
              </a:spcBef>
              <a:spcAft>
                <a:spcPts val="0"/>
              </a:spcAft>
              <a:buClr>
                <a:schemeClr val="dk1"/>
              </a:buClr>
              <a:buSzPts val="3000"/>
              <a:buNone/>
              <a:defRPr sz="3000">
                <a:solidFill>
                  <a:schemeClr val="dk1"/>
                </a:solidFill>
              </a:defRPr>
            </a:lvl9pPr>
          </a:lstStyle>
          <a:p>
            <a:r>
              <a:t>xx%</a:t>
            </a:r>
          </a:p>
        </p:txBody>
      </p:sp>
      <p:sp>
        <p:nvSpPr>
          <p:cNvPr id="121" name="Google Shape;121;p22"/>
          <p:cNvSpPr txBox="1">
            <a:spLocks noGrp="1"/>
          </p:cNvSpPr>
          <p:nvPr>
            <p:ph type="title" idx="14" hasCustomPrompt="1"/>
          </p:nvPr>
        </p:nvSpPr>
        <p:spPr>
          <a:xfrm flipH="1">
            <a:off x="620700" y="3068625"/>
            <a:ext cx="1080000" cy="360000"/>
          </a:xfrm>
          <a:prstGeom prst="rect">
            <a:avLst/>
          </a:prstGeom>
        </p:spPr>
        <p:txBody>
          <a:bodyPr spcFirstLastPara="1" wrap="square" lIns="91425" tIns="91425" rIns="91425" bIns="91425" anchor="ctr" anchorCtr="0">
            <a:noAutofit/>
          </a:bodyPr>
          <a:lstStyle>
            <a:lvl1pPr lvl="0" algn="l" rtl="0">
              <a:spcBef>
                <a:spcPts val="0"/>
              </a:spcBef>
              <a:spcAft>
                <a:spcPts val="0"/>
              </a:spcAft>
              <a:buClr>
                <a:schemeClr val="dk1"/>
              </a:buClr>
              <a:buSzPts val="3000"/>
              <a:buNone/>
              <a:defRPr sz="2400">
                <a:solidFill>
                  <a:schemeClr val="dk1"/>
                </a:solidFill>
              </a:defRPr>
            </a:lvl1pPr>
            <a:lvl2pPr lvl="1" algn="ctr" rtl="0">
              <a:spcBef>
                <a:spcPts val="0"/>
              </a:spcBef>
              <a:spcAft>
                <a:spcPts val="0"/>
              </a:spcAft>
              <a:buClr>
                <a:schemeClr val="dk1"/>
              </a:buClr>
              <a:buSzPts val="3000"/>
              <a:buNone/>
              <a:defRPr sz="3000">
                <a:solidFill>
                  <a:schemeClr val="dk1"/>
                </a:solidFill>
              </a:defRPr>
            </a:lvl2pPr>
            <a:lvl3pPr lvl="2" algn="ctr" rtl="0">
              <a:spcBef>
                <a:spcPts val="0"/>
              </a:spcBef>
              <a:spcAft>
                <a:spcPts val="0"/>
              </a:spcAft>
              <a:buClr>
                <a:schemeClr val="dk1"/>
              </a:buClr>
              <a:buSzPts val="3000"/>
              <a:buNone/>
              <a:defRPr sz="3000">
                <a:solidFill>
                  <a:schemeClr val="dk1"/>
                </a:solidFill>
              </a:defRPr>
            </a:lvl3pPr>
            <a:lvl4pPr lvl="3" algn="ctr" rtl="0">
              <a:spcBef>
                <a:spcPts val="0"/>
              </a:spcBef>
              <a:spcAft>
                <a:spcPts val="0"/>
              </a:spcAft>
              <a:buClr>
                <a:schemeClr val="dk1"/>
              </a:buClr>
              <a:buSzPts val="3000"/>
              <a:buNone/>
              <a:defRPr sz="3000">
                <a:solidFill>
                  <a:schemeClr val="dk1"/>
                </a:solidFill>
              </a:defRPr>
            </a:lvl4pPr>
            <a:lvl5pPr lvl="4" algn="ctr" rtl="0">
              <a:spcBef>
                <a:spcPts val="0"/>
              </a:spcBef>
              <a:spcAft>
                <a:spcPts val="0"/>
              </a:spcAft>
              <a:buClr>
                <a:schemeClr val="dk1"/>
              </a:buClr>
              <a:buSzPts val="3000"/>
              <a:buNone/>
              <a:defRPr sz="3000">
                <a:solidFill>
                  <a:schemeClr val="dk1"/>
                </a:solidFill>
              </a:defRPr>
            </a:lvl5pPr>
            <a:lvl6pPr lvl="5" algn="ctr" rtl="0">
              <a:spcBef>
                <a:spcPts val="0"/>
              </a:spcBef>
              <a:spcAft>
                <a:spcPts val="0"/>
              </a:spcAft>
              <a:buClr>
                <a:schemeClr val="dk1"/>
              </a:buClr>
              <a:buSzPts val="3000"/>
              <a:buNone/>
              <a:defRPr sz="3000">
                <a:solidFill>
                  <a:schemeClr val="dk1"/>
                </a:solidFill>
              </a:defRPr>
            </a:lvl6pPr>
            <a:lvl7pPr lvl="6" algn="ctr" rtl="0">
              <a:spcBef>
                <a:spcPts val="0"/>
              </a:spcBef>
              <a:spcAft>
                <a:spcPts val="0"/>
              </a:spcAft>
              <a:buClr>
                <a:schemeClr val="dk1"/>
              </a:buClr>
              <a:buSzPts val="3000"/>
              <a:buNone/>
              <a:defRPr sz="3000">
                <a:solidFill>
                  <a:schemeClr val="dk1"/>
                </a:solidFill>
              </a:defRPr>
            </a:lvl7pPr>
            <a:lvl8pPr lvl="7" algn="ctr" rtl="0">
              <a:spcBef>
                <a:spcPts val="0"/>
              </a:spcBef>
              <a:spcAft>
                <a:spcPts val="0"/>
              </a:spcAft>
              <a:buClr>
                <a:schemeClr val="dk1"/>
              </a:buClr>
              <a:buSzPts val="3000"/>
              <a:buNone/>
              <a:defRPr sz="3000">
                <a:solidFill>
                  <a:schemeClr val="dk1"/>
                </a:solidFill>
              </a:defRPr>
            </a:lvl8pPr>
            <a:lvl9pPr lvl="8" algn="ctr" rtl="0">
              <a:spcBef>
                <a:spcPts val="0"/>
              </a:spcBef>
              <a:spcAft>
                <a:spcPts val="0"/>
              </a:spcAft>
              <a:buClr>
                <a:schemeClr val="dk1"/>
              </a:buClr>
              <a:buSzPts val="3000"/>
              <a:buNone/>
              <a:defRPr sz="3000">
                <a:solidFill>
                  <a:schemeClr val="dk1"/>
                </a:solidFill>
              </a:defRPr>
            </a:lvl9pPr>
          </a:lstStyle>
          <a:p>
            <a:r>
              <a:t>xx%</a:t>
            </a:r>
          </a:p>
        </p:txBody>
      </p:sp>
      <p:sp>
        <p:nvSpPr>
          <p:cNvPr id="122" name="Google Shape;122;p22"/>
          <p:cNvSpPr txBox="1">
            <a:spLocks noGrp="1"/>
          </p:cNvSpPr>
          <p:nvPr>
            <p:ph type="title" idx="15" hasCustomPrompt="1"/>
          </p:nvPr>
        </p:nvSpPr>
        <p:spPr>
          <a:xfrm>
            <a:off x="3342325" y="3068625"/>
            <a:ext cx="1080000" cy="360000"/>
          </a:xfrm>
          <a:prstGeom prst="rect">
            <a:avLst/>
          </a:prstGeom>
        </p:spPr>
        <p:txBody>
          <a:bodyPr spcFirstLastPara="1" wrap="square" lIns="91425" tIns="91425" rIns="91425" bIns="91425" anchor="ctr" anchorCtr="0">
            <a:noAutofit/>
          </a:bodyPr>
          <a:lstStyle>
            <a:lvl1pPr lvl="0" algn="l" rtl="0">
              <a:spcBef>
                <a:spcPts val="0"/>
              </a:spcBef>
              <a:spcAft>
                <a:spcPts val="0"/>
              </a:spcAft>
              <a:buClr>
                <a:schemeClr val="dk1"/>
              </a:buClr>
              <a:buSzPts val="3000"/>
              <a:buNone/>
              <a:defRPr sz="2400">
                <a:solidFill>
                  <a:schemeClr val="dk1"/>
                </a:solidFill>
              </a:defRPr>
            </a:lvl1pPr>
            <a:lvl2pPr lvl="1" algn="ctr" rtl="0">
              <a:spcBef>
                <a:spcPts val="0"/>
              </a:spcBef>
              <a:spcAft>
                <a:spcPts val="0"/>
              </a:spcAft>
              <a:buClr>
                <a:schemeClr val="dk1"/>
              </a:buClr>
              <a:buSzPts val="3000"/>
              <a:buNone/>
              <a:defRPr sz="3000">
                <a:solidFill>
                  <a:schemeClr val="dk1"/>
                </a:solidFill>
              </a:defRPr>
            </a:lvl2pPr>
            <a:lvl3pPr lvl="2" algn="ctr" rtl="0">
              <a:spcBef>
                <a:spcPts val="0"/>
              </a:spcBef>
              <a:spcAft>
                <a:spcPts val="0"/>
              </a:spcAft>
              <a:buClr>
                <a:schemeClr val="dk1"/>
              </a:buClr>
              <a:buSzPts val="3000"/>
              <a:buNone/>
              <a:defRPr sz="3000">
                <a:solidFill>
                  <a:schemeClr val="dk1"/>
                </a:solidFill>
              </a:defRPr>
            </a:lvl3pPr>
            <a:lvl4pPr lvl="3" algn="ctr" rtl="0">
              <a:spcBef>
                <a:spcPts val="0"/>
              </a:spcBef>
              <a:spcAft>
                <a:spcPts val="0"/>
              </a:spcAft>
              <a:buClr>
                <a:schemeClr val="dk1"/>
              </a:buClr>
              <a:buSzPts val="3000"/>
              <a:buNone/>
              <a:defRPr sz="3000">
                <a:solidFill>
                  <a:schemeClr val="dk1"/>
                </a:solidFill>
              </a:defRPr>
            </a:lvl4pPr>
            <a:lvl5pPr lvl="4" algn="ctr" rtl="0">
              <a:spcBef>
                <a:spcPts val="0"/>
              </a:spcBef>
              <a:spcAft>
                <a:spcPts val="0"/>
              </a:spcAft>
              <a:buClr>
                <a:schemeClr val="dk1"/>
              </a:buClr>
              <a:buSzPts val="3000"/>
              <a:buNone/>
              <a:defRPr sz="3000">
                <a:solidFill>
                  <a:schemeClr val="dk1"/>
                </a:solidFill>
              </a:defRPr>
            </a:lvl5pPr>
            <a:lvl6pPr lvl="5" algn="ctr" rtl="0">
              <a:spcBef>
                <a:spcPts val="0"/>
              </a:spcBef>
              <a:spcAft>
                <a:spcPts val="0"/>
              </a:spcAft>
              <a:buClr>
                <a:schemeClr val="dk1"/>
              </a:buClr>
              <a:buSzPts val="3000"/>
              <a:buNone/>
              <a:defRPr sz="3000">
                <a:solidFill>
                  <a:schemeClr val="dk1"/>
                </a:solidFill>
              </a:defRPr>
            </a:lvl6pPr>
            <a:lvl7pPr lvl="6" algn="ctr" rtl="0">
              <a:spcBef>
                <a:spcPts val="0"/>
              </a:spcBef>
              <a:spcAft>
                <a:spcPts val="0"/>
              </a:spcAft>
              <a:buClr>
                <a:schemeClr val="dk1"/>
              </a:buClr>
              <a:buSzPts val="3000"/>
              <a:buNone/>
              <a:defRPr sz="3000">
                <a:solidFill>
                  <a:schemeClr val="dk1"/>
                </a:solidFill>
              </a:defRPr>
            </a:lvl7pPr>
            <a:lvl8pPr lvl="7" algn="ctr" rtl="0">
              <a:spcBef>
                <a:spcPts val="0"/>
              </a:spcBef>
              <a:spcAft>
                <a:spcPts val="0"/>
              </a:spcAft>
              <a:buClr>
                <a:schemeClr val="dk1"/>
              </a:buClr>
              <a:buSzPts val="3000"/>
              <a:buNone/>
              <a:defRPr sz="3000">
                <a:solidFill>
                  <a:schemeClr val="dk1"/>
                </a:solidFill>
              </a:defRPr>
            </a:lvl8pPr>
            <a:lvl9pPr lvl="8" algn="ctr" rtl="0">
              <a:spcBef>
                <a:spcPts val="0"/>
              </a:spcBef>
              <a:spcAft>
                <a:spcPts val="0"/>
              </a:spcAft>
              <a:buClr>
                <a:schemeClr val="dk1"/>
              </a:buClr>
              <a:buSzPts val="3000"/>
              <a:buNone/>
              <a:defRPr sz="3000">
                <a:solidFill>
                  <a:schemeClr val="dk1"/>
                </a:solidFill>
              </a:defRPr>
            </a:lvl9pPr>
          </a:lstStyle>
          <a:p>
            <a:r>
              <a:t>xx%</a:t>
            </a:r>
          </a:p>
        </p:txBody>
      </p:sp>
      <p:sp>
        <p:nvSpPr>
          <p:cNvPr id="123" name="Google Shape;123;p22"/>
          <p:cNvSpPr txBox="1">
            <a:spLocks noGrp="1"/>
          </p:cNvSpPr>
          <p:nvPr>
            <p:ph type="title" idx="16" hasCustomPrompt="1"/>
          </p:nvPr>
        </p:nvSpPr>
        <p:spPr>
          <a:xfrm>
            <a:off x="6063950" y="3068625"/>
            <a:ext cx="1080000" cy="360000"/>
          </a:xfrm>
          <a:prstGeom prst="rect">
            <a:avLst/>
          </a:prstGeom>
        </p:spPr>
        <p:txBody>
          <a:bodyPr spcFirstLastPara="1" wrap="square" lIns="91425" tIns="91425" rIns="91425" bIns="91425" anchor="ctr" anchorCtr="0">
            <a:noAutofit/>
          </a:bodyPr>
          <a:lstStyle>
            <a:lvl1pPr lvl="0" algn="l" rtl="0">
              <a:spcBef>
                <a:spcPts val="0"/>
              </a:spcBef>
              <a:spcAft>
                <a:spcPts val="0"/>
              </a:spcAft>
              <a:buClr>
                <a:schemeClr val="dk1"/>
              </a:buClr>
              <a:buSzPts val="3000"/>
              <a:buNone/>
              <a:defRPr sz="2400">
                <a:solidFill>
                  <a:schemeClr val="dk1"/>
                </a:solidFill>
              </a:defRPr>
            </a:lvl1pPr>
            <a:lvl2pPr lvl="1" algn="ctr" rtl="0">
              <a:spcBef>
                <a:spcPts val="0"/>
              </a:spcBef>
              <a:spcAft>
                <a:spcPts val="0"/>
              </a:spcAft>
              <a:buClr>
                <a:schemeClr val="dk1"/>
              </a:buClr>
              <a:buSzPts val="3000"/>
              <a:buNone/>
              <a:defRPr sz="3000">
                <a:solidFill>
                  <a:schemeClr val="dk1"/>
                </a:solidFill>
              </a:defRPr>
            </a:lvl2pPr>
            <a:lvl3pPr lvl="2" algn="ctr" rtl="0">
              <a:spcBef>
                <a:spcPts val="0"/>
              </a:spcBef>
              <a:spcAft>
                <a:spcPts val="0"/>
              </a:spcAft>
              <a:buClr>
                <a:schemeClr val="dk1"/>
              </a:buClr>
              <a:buSzPts val="3000"/>
              <a:buNone/>
              <a:defRPr sz="3000">
                <a:solidFill>
                  <a:schemeClr val="dk1"/>
                </a:solidFill>
              </a:defRPr>
            </a:lvl3pPr>
            <a:lvl4pPr lvl="3" algn="ctr" rtl="0">
              <a:spcBef>
                <a:spcPts val="0"/>
              </a:spcBef>
              <a:spcAft>
                <a:spcPts val="0"/>
              </a:spcAft>
              <a:buClr>
                <a:schemeClr val="dk1"/>
              </a:buClr>
              <a:buSzPts val="3000"/>
              <a:buNone/>
              <a:defRPr sz="3000">
                <a:solidFill>
                  <a:schemeClr val="dk1"/>
                </a:solidFill>
              </a:defRPr>
            </a:lvl4pPr>
            <a:lvl5pPr lvl="4" algn="ctr" rtl="0">
              <a:spcBef>
                <a:spcPts val="0"/>
              </a:spcBef>
              <a:spcAft>
                <a:spcPts val="0"/>
              </a:spcAft>
              <a:buClr>
                <a:schemeClr val="dk1"/>
              </a:buClr>
              <a:buSzPts val="3000"/>
              <a:buNone/>
              <a:defRPr sz="3000">
                <a:solidFill>
                  <a:schemeClr val="dk1"/>
                </a:solidFill>
              </a:defRPr>
            </a:lvl5pPr>
            <a:lvl6pPr lvl="5" algn="ctr" rtl="0">
              <a:spcBef>
                <a:spcPts val="0"/>
              </a:spcBef>
              <a:spcAft>
                <a:spcPts val="0"/>
              </a:spcAft>
              <a:buClr>
                <a:schemeClr val="dk1"/>
              </a:buClr>
              <a:buSzPts val="3000"/>
              <a:buNone/>
              <a:defRPr sz="3000">
                <a:solidFill>
                  <a:schemeClr val="dk1"/>
                </a:solidFill>
              </a:defRPr>
            </a:lvl6pPr>
            <a:lvl7pPr lvl="6" algn="ctr" rtl="0">
              <a:spcBef>
                <a:spcPts val="0"/>
              </a:spcBef>
              <a:spcAft>
                <a:spcPts val="0"/>
              </a:spcAft>
              <a:buClr>
                <a:schemeClr val="dk1"/>
              </a:buClr>
              <a:buSzPts val="3000"/>
              <a:buNone/>
              <a:defRPr sz="3000">
                <a:solidFill>
                  <a:schemeClr val="dk1"/>
                </a:solidFill>
              </a:defRPr>
            </a:lvl7pPr>
            <a:lvl8pPr lvl="7" algn="ctr" rtl="0">
              <a:spcBef>
                <a:spcPts val="0"/>
              </a:spcBef>
              <a:spcAft>
                <a:spcPts val="0"/>
              </a:spcAft>
              <a:buClr>
                <a:schemeClr val="dk1"/>
              </a:buClr>
              <a:buSzPts val="3000"/>
              <a:buNone/>
              <a:defRPr sz="3000">
                <a:solidFill>
                  <a:schemeClr val="dk1"/>
                </a:solidFill>
              </a:defRPr>
            </a:lvl8pPr>
            <a:lvl9pPr lvl="8" algn="ctr" rtl="0">
              <a:spcBef>
                <a:spcPts val="0"/>
              </a:spcBef>
              <a:spcAft>
                <a:spcPts val="0"/>
              </a:spcAft>
              <a:buClr>
                <a:schemeClr val="dk1"/>
              </a:buClr>
              <a:buSzPts val="3000"/>
              <a:buNone/>
              <a:defRPr sz="3000">
                <a:solidFill>
                  <a:schemeClr val="dk1"/>
                </a:solidFill>
              </a:defRPr>
            </a:lvl9pPr>
          </a:lstStyle>
          <a:p>
            <a:r>
              <a:t>xx%</a:t>
            </a:r>
          </a:p>
        </p:txBody>
      </p:sp>
      <p:sp>
        <p:nvSpPr>
          <p:cNvPr id="124" name="Google Shape;124;p22"/>
          <p:cNvSpPr txBox="1">
            <a:spLocks noGrp="1"/>
          </p:cNvSpPr>
          <p:nvPr>
            <p:ph type="title" idx="17"/>
          </p:nvPr>
        </p:nvSpPr>
        <p:spPr>
          <a:xfrm>
            <a:off x="540000" y="491400"/>
            <a:ext cx="8100000" cy="5727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dk1"/>
              </a:buClr>
              <a:buSzPts val="4100"/>
              <a:buNone/>
              <a:defRPr>
                <a:solidFill>
                  <a:schemeClr val="dk1"/>
                </a:solidFill>
              </a:defRPr>
            </a:lvl1pPr>
            <a:lvl2pPr lvl="1" rtl="0">
              <a:spcBef>
                <a:spcPts val="0"/>
              </a:spcBef>
              <a:spcAft>
                <a:spcPts val="0"/>
              </a:spcAft>
              <a:buClr>
                <a:schemeClr val="dk1"/>
              </a:buClr>
              <a:buSzPts val="4100"/>
              <a:buNone/>
              <a:defRPr>
                <a:solidFill>
                  <a:schemeClr val="dk1"/>
                </a:solidFill>
              </a:defRPr>
            </a:lvl2pPr>
            <a:lvl3pPr lvl="2" rtl="0">
              <a:spcBef>
                <a:spcPts val="0"/>
              </a:spcBef>
              <a:spcAft>
                <a:spcPts val="0"/>
              </a:spcAft>
              <a:buClr>
                <a:schemeClr val="dk1"/>
              </a:buClr>
              <a:buSzPts val="4100"/>
              <a:buNone/>
              <a:defRPr>
                <a:solidFill>
                  <a:schemeClr val="dk1"/>
                </a:solidFill>
              </a:defRPr>
            </a:lvl3pPr>
            <a:lvl4pPr lvl="3" rtl="0">
              <a:spcBef>
                <a:spcPts val="0"/>
              </a:spcBef>
              <a:spcAft>
                <a:spcPts val="0"/>
              </a:spcAft>
              <a:buClr>
                <a:schemeClr val="dk1"/>
              </a:buClr>
              <a:buSzPts val="4100"/>
              <a:buNone/>
              <a:defRPr>
                <a:solidFill>
                  <a:schemeClr val="dk1"/>
                </a:solidFill>
              </a:defRPr>
            </a:lvl4pPr>
            <a:lvl5pPr lvl="4" rtl="0">
              <a:spcBef>
                <a:spcPts val="0"/>
              </a:spcBef>
              <a:spcAft>
                <a:spcPts val="0"/>
              </a:spcAft>
              <a:buClr>
                <a:schemeClr val="dk1"/>
              </a:buClr>
              <a:buSzPts val="4100"/>
              <a:buNone/>
              <a:defRPr>
                <a:solidFill>
                  <a:schemeClr val="dk1"/>
                </a:solidFill>
              </a:defRPr>
            </a:lvl5pPr>
            <a:lvl6pPr lvl="5" rtl="0">
              <a:spcBef>
                <a:spcPts val="0"/>
              </a:spcBef>
              <a:spcAft>
                <a:spcPts val="0"/>
              </a:spcAft>
              <a:buClr>
                <a:schemeClr val="dk1"/>
              </a:buClr>
              <a:buSzPts val="4100"/>
              <a:buNone/>
              <a:defRPr>
                <a:solidFill>
                  <a:schemeClr val="dk1"/>
                </a:solidFill>
              </a:defRPr>
            </a:lvl6pPr>
            <a:lvl7pPr lvl="6" rtl="0">
              <a:spcBef>
                <a:spcPts val="0"/>
              </a:spcBef>
              <a:spcAft>
                <a:spcPts val="0"/>
              </a:spcAft>
              <a:buClr>
                <a:schemeClr val="dk1"/>
              </a:buClr>
              <a:buSzPts val="4100"/>
              <a:buNone/>
              <a:defRPr>
                <a:solidFill>
                  <a:schemeClr val="dk1"/>
                </a:solidFill>
              </a:defRPr>
            </a:lvl7pPr>
            <a:lvl8pPr lvl="7" rtl="0">
              <a:spcBef>
                <a:spcPts val="0"/>
              </a:spcBef>
              <a:spcAft>
                <a:spcPts val="0"/>
              </a:spcAft>
              <a:buClr>
                <a:schemeClr val="dk1"/>
              </a:buClr>
              <a:buSzPts val="4100"/>
              <a:buNone/>
              <a:defRPr>
                <a:solidFill>
                  <a:schemeClr val="dk1"/>
                </a:solidFill>
              </a:defRPr>
            </a:lvl8pPr>
            <a:lvl9pPr lvl="8" rtl="0">
              <a:spcBef>
                <a:spcPts val="0"/>
              </a:spcBef>
              <a:spcAft>
                <a:spcPts val="0"/>
              </a:spcAft>
              <a:buClr>
                <a:schemeClr val="dk1"/>
              </a:buClr>
              <a:buSzPts val="4100"/>
              <a:buNone/>
              <a:defRPr>
                <a:solidFill>
                  <a:schemeClr val="dk1"/>
                </a:solidFill>
              </a:defRPr>
            </a:lvl9pPr>
          </a:lstStyle>
          <a:p>
            <a:endParaRPr/>
          </a:p>
        </p:txBody>
      </p:sp>
      <p:sp>
        <p:nvSpPr>
          <p:cNvPr id="125" name="Google Shape;125;p22"/>
          <p:cNvSpPr txBox="1">
            <a:spLocks noGrp="1"/>
          </p:cNvSpPr>
          <p:nvPr>
            <p:ph type="subTitle" idx="18"/>
          </p:nvPr>
        </p:nvSpPr>
        <p:spPr>
          <a:xfrm>
            <a:off x="3342325" y="2215425"/>
            <a:ext cx="25956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600"/>
              <a:buNone/>
              <a:defRPr sz="1600">
                <a:solidFill>
                  <a:schemeClr val="dk1"/>
                </a:solidFill>
              </a:defRPr>
            </a:lvl1pPr>
            <a:lvl2pPr lvl="1" rtl="0">
              <a:spcBef>
                <a:spcPts val="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26" name="Google Shape;126;p22"/>
          <p:cNvSpPr txBox="1">
            <a:spLocks noGrp="1"/>
          </p:cNvSpPr>
          <p:nvPr>
            <p:ph type="subTitle" idx="19"/>
          </p:nvPr>
        </p:nvSpPr>
        <p:spPr>
          <a:xfrm>
            <a:off x="6063950" y="2215425"/>
            <a:ext cx="25956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600"/>
              <a:buNone/>
              <a:defRPr sz="1600">
                <a:solidFill>
                  <a:schemeClr val="dk1"/>
                </a:solidFill>
              </a:defRPr>
            </a:lvl1pPr>
            <a:lvl2pPr lvl="1" rtl="0">
              <a:spcBef>
                <a:spcPts val="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27" name="Google Shape;127;p22"/>
          <p:cNvSpPr txBox="1">
            <a:spLocks noGrp="1"/>
          </p:cNvSpPr>
          <p:nvPr>
            <p:ph type="subTitle" idx="20"/>
          </p:nvPr>
        </p:nvSpPr>
        <p:spPr>
          <a:xfrm>
            <a:off x="3342325" y="3794775"/>
            <a:ext cx="25956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600"/>
              <a:buNone/>
              <a:defRPr sz="1600">
                <a:solidFill>
                  <a:schemeClr val="dk1"/>
                </a:solidFill>
              </a:defRPr>
            </a:lvl1pPr>
            <a:lvl2pPr lvl="1" rtl="0">
              <a:spcBef>
                <a:spcPts val="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
        <p:nvSpPr>
          <p:cNvPr id="128" name="Google Shape;128;p22"/>
          <p:cNvSpPr txBox="1">
            <a:spLocks noGrp="1"/>
          </p:cNvSpPr>
          <p:nvPr>
            <p:ph type="subTitle" idx="21"/>
          </p:nvPr>
        </p:nvSpPr>
        <p:spPr>
          <a:xfrm>
            <a:off x="6063950" y="3794775"/>
            <a:ext cx="2595600" cy="360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1600"/>
              <a:buNone/>
              <a:defRPr sz="1600">
                <a:solidFill>
                  <a:schemeClr val="dk1"/>
                </a:solidFill>
              </a:defRPr>
            </a:lvl1pPr>
            <a:lvl2pPr lvl="1" rtl="0">
              <a:spcBef>
                <a:spcPts val="0"/>
              </a:spcBef>
              <a:spcAft>
                <a:spcPts val="0"/>
              </a:spcAft>
              <a:buClr>
                <a:schemeClr val="dk1"/>
              </a:buClr>
              <a:buSzPts val="1400"/>
              <a:buNone/>
              <a:defRPr>
                <a:solidFill>
                  <a:schemeClr val="dk1"/>
                </a:solidFill>
              </a:defRPr>
            </a:lvl2pPr>
            <a:lvl3pPr lvl="2" rtl="0">
              <a:spcBef>
                <a:spcPts val="1600"/>
              </a:spcBef>
              <a:spcAft>
                <a:spcPts val="0"/>
              </a:spcAft>
              <a:buClr>
                <a:schemeClr val="dk1"/>
              </a:buClr>
              <a:buSzPts val="1400"/>
              <a:buNone/>
              <a:defRPr>
                <a:solidFill>
                  <a:schemeClr val="dk1"/>
                </a:solidFill>
              </a:defRPr>
            </a:lvl3pPr>
            <a:lvl4pPr lvl="3" rtl="0">
              <a:spcBef>
                <a:spcPts val="1600"/>
              </a:spcBef>
              <a:spcAft>
                <a:spcPts val="0"/>
              </a:spcAft>
              <a:buClr>
                <a:schemeClr val="dk1"/>
              </a:buClr>
              <a:buSzPts val="1400"/>
              <a:buNone/>
              <a:defRPr>
                <a:solidFill>
                  <a:schemeClr val="dk1"/>
                </a:solidFill>
              </a:defRPr>
            </a:lvl4pPr>
            <a:lvl5pPr lvl="4" rtl="0">
              <a:spcBef>
                <a:spcPts val="1600"/>
              </a:spcBef>
              <a:spcAft>
                <a:spcPts val="0"/>
              </a:spcAft>
              <a:buClr>
                <a:schemeClr val="dk1"/>
              </a:buClr>
              <a:buSzPts val="1400"/>
              <a:buNone/>
              <a:defRPr>
                <a:solidFill>
                  <a:schemeClr val="dk1"/>
                </a:solidFill>
              </a:defRPr>
            </a:lvl5pPr>
            <a:lvl6pPr lvl="5" rtl="0">
              <a:spcBef>
                <a:spcPts val="1600"/>
              </a:spcBef>
              <a:spcAft>
                <a:spcPts val="0"/>
              </a:spcAft>
              <a:buClr>
                <a:schemeClr val="dk1"/>
              </a:buClr>
              <a:buSzPts val="1400"/>
              <a:buNone/>
              <a:defRPr>
                <a:solidFill>
                  <a:schemeClr val="dk1"/>
                </a:solidFill>
              </a:defRPr>
            </a:lvl6pPr>
            <a:lvl7pPr lvl="6" rtl="0">
              <a:spcBef>
                <a:spcPts val="1600"/>
              </a:spcBef>
              <a:spcAft>
                <a:spcPts val="0"/>
              </a:spcAft>
              <a:buClr>
                <a:schemeClr val="dk1"/>
              </a:buClr>
              <a:buSzPts val="1400"/>
              <a:buNone/>
              <a:defRPr>
                <a:solidFill>
                  <a:schemeClr val="dk1"/>
                </a:solidFill>
              </a:defRPr>
            </a:lvl7pPr>
            <a:lvl8pPr lvl="7" rtl="0">
              <a:spcBef>
                <a:spcPts val="1600"/>
              </a:spcBef>
              <a:spcAft>
                <a:spcPts val="0"/>
              </a:spcAft>
              <a:buClr>
                <a:schemeClr val="dk1"/>
              </a:buClr>
              <a:buSzPts val="1400"/>
              <a:buNone/>
              <a:defRPr>
                <a:solidFill>
                  <a:schemeClr val="dk1"/>
                </a:solidFill>
              </a:defRPr>
            </a:lvl8pPr>
            <a:lvl9pPr lvl="8" rtl="0">
              <a:spcBef>
                <a:spcPts val="1600"/>
              </a:spcBef>
              <a:spcAft>
                <a:spcPts val="1600"/>
              </a:spcAft>
              <a:buClr>
                <a:schemeClr val="dk1"/>
              </a:buClr>
              <a:buSzPts val="1400"/>
              <a:buNone/>
              <a:defRPr>
                <a:solidFill>
                  <a:schemeClr val="dk1"/>
                </a:solidFill>
              </a:defRPr>
            </a:lvl9pPr>
          </a:lstStyle>
          <a:p>
            <a:endParaRPr/>
          </a:p>
        </p:txBody>
      </p:sp>
    </p:spTree>
    <p:extLst>
      <p:ext uri="{BB962C8B-B14F-4D97-AF65-F5344CB8AC3E}">
        <p14:creationId xmlns:p14="http://schemas.microsoft.com/office/powerpoint/2010/main" val="3604080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p:nvPr/>
        </p:nvSpPr>
        <p:spPr>
          <a:xfrm>
            <a:off x="1886216" y="4155000"/>
            <a:ext cx="1726800" cy="988500"/>
          </a:xfrm>
          <a:prstGeom prst="rtTriangle">
            <a:avLst/>
          </a:prstGeom>
          <a:solidFill>
            <a:srgbClr val="F3F3F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15;p3"/>
          <p:cNvSpPr/>
          <p:nvPr/>
        </p:nvSpPr>
        <p:spPr>
          <a:xfrm rot="5400000">
            <a:off x="-1833000" y="1832850"/>
            <a:ext cx="8573400" cy="4907700"/>
          </a:xfrm>
          <a:prstGeom prst="rtTriangl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16;p3"/>
          <p:cNvSpPr txBox="1">
            <a:spLocks noGrp="1"/>
          </p:cNvSpPr>
          <p:nvPr>
            <p:ph type="title"/>
          </p:nvPr>
        </p:nvSpPr>
        <p:spPr>
          <a:xfrm flipH="1">
            <a:off x="616300" y="720000"/>
            <a:ext cx="2895600" cy="1851600"/>
          </a:xfrm>
          <a:prstGeom prst="rect">
            <a:avLst/>
          </a:prstGeom>
        </p:spPr>
        <p:txBody>
          <a:bodyPr spcFirstLastPara="1" wrap="square" lIns="91425" tIns="91425" rIns="91425" bIns="91425" anchor="t" anchorCtr="0">
            <a:noAutofit/>
          </a:bodyPr>
          <a:lstStyle>
            <a:lvl1pPr lvl="0" algn="l">
              <a:spcBef>
                <a:spcPts val="0"/>
              </a:spcBef>
              <a:spcAft>
                <a:spcPts val="0"/>
              </a:spcAft>
              <a:buSzPts val="4100"/>
              <a:buNone/>
              <a:defRPr sz="5500"/>
            </a:lvl1pPr>
            <a:lvl2pPr lvl="1">
              <a:spcBef>
                <a:spcPts val="0"/>
              </a:spcBef>
              <a:spcAft>
                <a:spcPts val="0"/>
              </a:spcAft>
              <a:buSzPts val="4100"/>
              <a:buNone/>
              <a:defRPr/>
            </a:lvl2pPr>
            <a:lvl3pPr lvl="2">
              <a:spcBef>
                <a:spcPts val="0"/>
              </a:spcBef>
              <a:spcAft>
                <a:spcPts val="0"/>
              </a:spcAft>
              <a:buSzPts val="4100"/>
              <a:buNone/>
              <a:defRPr/>
            </a:lvl3pPr>
            <a:lvl4pPr lvl="3">
              <a:spcBef>
                <a:spcPts val="0"/>
              </a:spcBef>
              <a:spcAft>
                <a:spcPts val="0"/>
              </a:spcAft>
              <a:buSzPts val="4100"/>
              <a:buNone/>
              <a:defRPr/>
            </a:lvl4pPr>
            <a:lvl5pPr lvl="4">
              <a:spcBef>
                <a:spcPts val="0"/>
              </a:spcBef>
              <a:spcAft>
                <a:spcPts val="0"/>
              </a:spcAft>
              <a:buSzPts val="4100"/>
              <a:buNone/>
              <a:defRPr/>
            </a:lvl5pPr>
            <a:lvl6pPr lvl="5">
              <a:spcBef>
                <a:spcPts val="0"/>
              </a:spcBef>
              <a:spcAft>
                <a:spcPts val="0"/>
              </a:spcAft>
              <a:buSzPts val="4100"/>
              <a:buNone/>
              <a:defRPr/>
            </a:lvl6pPr>
            <a:lvl7pPr lvl="6">
              <a:spcBef>
                <a:spcPts val="0"/>
              </a:spcBef>
              <a:spcAft>
                <a:spcPts val="0"/>
              </a:spcAft>
              <a:buSzPts val="4100"/>
              <a:buNone/>
              <a:defRPr/>
            </a:lvl7pPr>
            <a:lvl8pPr lvl="7">
              <a:spcBef>
                <a:spcPts val="0"/>
              </a:spcBef>
              <a:spcAft>
                <a:spcPts val="0"/>
              </a:spcAft>
              <a:buSzPts val="4100"/>
              <a:buNone/>
              <a:defRPr/>
            </a:lvl8pPr>
            <a:lvl9pPr lvl="8">
              <a:spcBef>
                <a:spcPts val="0"/>
              </a:spcBef>
              <a:spcAft>
                <a:spcPts val="0"/>
              </a:spcAft>
              <a:buSzPts val="4100"/>
              <a:buNone/>
              <a:defRPr/>
            </a:lvl9pPr>
          </a:lstStyle>
          <a:p>
            <a:endParaRPr/>
          </a:p>
        </p:txBody>
      </p:sp>
      <p:sp>
        <p:nvSpPr>
          <p:cNvPr id="17" name="Google Shape;17;p3"/>
          <p:cNvSpPr txBox="1">
            <a:spLocks noGrp="1"/>
          </p:cNvSpPr>
          <p:nvPr>
            <p:ph type="title" idx="2" hasCustomPrompt="1"/>
          </p:nvPr>
        </p:nvSpPr>
        <p:spPr>
          <a:xfrm flipH="1">
            <a:off x="616300" y="3795175"/>
            <a:ext cx="1635300" cy="988500"/>
          </a:xfrm>
          <a:prstGeom prst="rect">
            <a:avLst/>
          </a:prstGeom>
        </p:spPr>
        <p:txBody>
          <a:bodyPr spcFirstLastPara="1" wrap="square" lIns="91425" tIns="91425" rIns="91425" bIns="91425" anchor="b" anchorCtr="0">
            <a:noAutofit/>
          </a:bodyPr>
          <a:lstStyle>
            <a:lvl1pPr lvl="0" algn="l" rtl="0">
              <a:spcBef>
                <a:spcPts val="0"/>
              </a:spcBef>
              <a:spcAft>
                <a:spcPts val="0"/>
              </a:spcAft>
              <a:buSzPts val="5000"/>
              <a:buNone/>
              <a:defRPr sz="7000">
                <a:solidFill>
                  <a:schemeClr val="lt1"/>
                </a:solidFill>
              </a:defRPr>
            </a:lvl1pPr>
            <a:lvl2pPr lvl="1" algn="ctr" rtl="0">
              <a:spcBef>
                <a:spcPts val="0"/>
              </a:spcBef>
              <a:spcAft>
                <a:spcPts val="0"/>
              </a:spcAft>
              <a:buSzPts val="5000"/>
              <a:buNone/>
              <a:defRPr sz="5000"/>
            </a:lvl2pPr>
            <a:lvl3pPr lvl="2" algn="ctr" rtl="0">
              <a:spcBef>
                <a:spcPts val="0"/>
              </a:spcBef>
              <a:spcAft>
                <a:spcPts val="0"/>
              </a:spcAft>
              <a:buSzPts val="5000"/>
              <a:buNone/>
              <a:defRPr sz="5000"/>
            </a:lvl3pPr>
            <a:lvl4pPr lvl="3" algn="ctr" rtl="0">
              <a:spcBef>
                <a:spcPts val="0"/>
              </a:spcBef>
              <a:spcAft>
                <a:spcPts val="0"/>
              </a:spcAft>
              <a:buSzPts val="5000"/>
              <a:buNone/>
              <a:defRPr sz="5000"/>
            </a:lvl4pPr>
            <a:lvl5pPr lvl="4" algn="ctr" rtl="0">
              <a:spcBef>
                <a:spcPts val="0"/>
              </a:spcBef>
              <a:spcAft>
                <a:spcPts val="0"/>
              </a:spcAft>
              <a:buSzPts val="5000"/>
              <a:buNone/>
              <a:defRPr sz="5000"/>
            </a:lvl5pPr>
            <a:lvl6pPr lvl="5" algn="ctr" rtl="0">
              <a:spcBef>
                <a:spcPts val="0"/>
              </a:spcBef>
              <a:spcAft>
                <a:spcPts val="0"/>
              </a:spcAft>
              <a:buSzPts val="5000"/>
              <a:buNone/>
              <a:defRPr sz="5000"/>
            </a:lvl6pPr>
            <a:lvl7pPr lvl="6" algn="ctr" rtl="0">
              <a:spcBef>
                <a:spcPts val="0"/>
              </a:spcBef>
              <a:spcAft>
                <a:spcPts val="0"/>
              </a:spcAft>
              <a:buSzPts val="5000"/>
              <a:buNone/>
              <a:defRPr sz="5000"/>
            </a:lvl7pPr>
            <a:lvl8pPr lvl="7" algn="ctr" rtl="0">
              <a:spcBef>
                <a:spcPts val="0"/>
              </a:spcBef>
              <a:spcAft>
                <a:spcPts val="0"/>
              </a:spcAft>
              <a:buSzPts val="5000"/>
              <a:buNone/>
              <a:defRPr sz="5000"/>
            </a:lvl8pPr>
            <a:lvl9pPr lvl="8" algn="ctr" rtl="0">
              <a:spcBef>
                <a:spcPts val="0"/>
              </a:spcBef>
              <a:spcAft>
                <a:spcPts val="0"/>
              </a:spcAft>
              <a:buSzPts val="5000"/>
              <a:buNone/>
              <a:defRPr sz="5000"/>
            </a:lvl9pPr>
          </a:lstStyle>
          <a:p>
            <a:r>
              <a:t>xx%</a:t>
            </a:r>
          </a:p>
        </p:txBody>
      </p:sp>
      <p:sp>
        <p:nvSpPr>
          <p:cNvPr id="18" name="Google Shape;18;p3"/>
          <p:cNvSpPr txBox="1">
            <a:spLocks noGrp="1"/>
          </p:cNvSpPr>
          <p:nvPr>
            <p:ph type="subTitle" idx="1"/>
          </p:nvPr>
        </p:nvSpPr>
        <p:spPr>
          <a:xfrm flipH="1">
            <a:off x="5312925" y="3960725"/>
            <a:ext cx="3093600" cy="678900"/>
          </a:xfrm>
          <a:prstGeom prst="rect">
            <a:avLst/>
          </a:prstGeom>
        </p:spPr>
        <p:txBody>
          <a:bodyPr spcFirstLastPara="1" wrap="square" lIns="91425" tIns="91425" rIns="91425" bIns="91425" anchor="b" anchorCtr="0">
            <a:noAutofit/>
          </a:bodyPr>
          <a:lstStyle>
            <a:lvl1pPr lvl="0" algn="ctr">
              <a:lnSpc>
                <a:spcPct val="100000"/>
              </a:lnSpc>
              <a:spcBef>
                <a:spcPts val="0"/>
              </a:spcBef>
              <a:spcAft>
                <a:spcPts val="0"/>
              </a:spcAft>
              <a:buSzPts val="1400"/>
              <a:buNone/>
              <a:defRPr sz="1600">
                <a:solidFill>
                  <a:schemeClr val="dk1"/>
                </a:solidFill>
              </a:defRPr>
            </a:lvl1pPr>
            <a:lvl2pPr lvl="1">
              <a:spcBef>
                <a:spcPts val="0"/>
              </a:spcBef>
              <a:spcAft>
                <a:spcPts val="0"/>
              </a:spcAft>
              <a:buSzPts val="1400"/>
              <a:buNone/>
              <a:defRPr/>
            </a:lvl2pPr>
            <a:lvl3pPr lvl="2">
              <a:spcBef>
                <a:spcPts val="1600"/>
              </a:spcBef>
              <a:spcAft>
                <a:spcPts val="0"/>
              </a:spcAft>
              <a:buSzPts val="1400"/>
              <a:buNone/>
              <a:defRPr/>
            </a:lvl3pPr>
            <a:lvl4pPr lvl="3">
              <a:spcBef>
                <a:spcPts val="1600"/>
              </a:spcBef>
              <a:spcAft>
                <a:spcPts val="0"/>
              </a:spcAft>
              <a:buSzPts val="1400"/>
              <a:buNone/>
              <a:defRPr/>
            </a:lvl4pPr>
            <a:lvl5pPr lvl="4">
              <a:spcBef>
                <a:spcPts val="1600"/>
              </a:spcBef>
              <a:spcAft>
                <a:spcPts val="0"/>
              </a:spcAft>
              <a:buSzPts val="1400"/>
              <a:buNone/>
              <a:defRPr/>
            </a:lvl5pPr>
            <a:lvl6pPr lvl="5">
              <a:spcBef>
                <a:spcPts val="1600"/>
              </a:spcBef>
              <a:spcAft>
                <a:spcPts val="0"/>
              </a:spcAft>
              <a:buSzPts val="1400"/>
              <a:buNone/>
              <a:defRPr/>
            </a:lvl6pPr>
            <a:lvl7pPr lvl="6">
              <a:spcBef>
                <a:spcPts val="1600"/>
              </a:spcBef>
              <a:spcAft>
                <a:spcPts val="0"/>
              </a:spcAft>
              <a:buSzPts val="1400"/>
              <a:buNone/>
              <a:defRPr/>
            </a:lvl7pPr>
            <a:lvl8pPr lvl="7">
              <a:spcBef>
                <a:spcPts val="1600"/>
              </a:spcBef>
              <a:spcAft>
                <a:spcPts val="0"/>
              </a:spcAft>
              <a:buSzPts val="1400"/>
              <a:buNone/>
              <a:defRPr/>
            </a:lvl8pPr>
            <a:lvl9pPr lvl="8">
              <a:spcBef>
                <a:spcPts val="1600"/>
              </a:spcBef>
              <a:spcAft>
                <a:spcPts val="1600"/>
              </a:spcAft>
              <a:buSzPts val="1400"/>
              <a:buNone/>
              <a:defRPr/>
            </a:lvl9pPr>
          </a:lstStyle>
          <a:p>
            <a:endParaRPr/>
          </a:p>
        </p:txBody>
      </p:sp>
    </p:spTree>
    <p:extLst>
      <p:ext uri="{BB962C8B-B14F-4D97-AF65-F5344CB8AC3E}">
        <p14:creationId xmlns:p14="http://schemas.microsoft.com/office/powerpoint/2010/main" val="29820604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able of contents">
  <p:cSld name="1_Table of contents">
    <p:spTree>
      <p:nvGrpSpPr>
        <p:cNvPr id="1" name="Shape 623"/>
        <p:cNvGrpSpPr/>
        <p:nvPr/>
      </p:nvGrpSpPr>
      <p:grpSpPr>
        <a:xfrm>
          <a:off x="0" y="0"/>
          <a:ext cx="0" cy="0"/>
          <a:chOff x="0" y="0"/>
          <a:chExt cx="0" cy="0"/>
        </a:xfrm>
      </p:grpSpPr>
      <p:sp>
        <p:nvSpPr>
          <p:cNvPr id="624" name="Google Shape;624;p13"/>
          <p:cNvSpPr txBox="1">
            <a:spLocks noGrp="1"/>
          </p:cNvSpPr>
          <p:nvPr>
            <p:ph type="title"/>
          </p:nvPr>
        </p:nvSpPr>
        <p:spPr>
          <a:xfrm>
            <a:off x="5907024" y="356616"/>
            <a:ext cx="2615100" cy="576000"/>
          </a:xfrm>
          <a:prstGeom prst="rect">
            <a:avLst/>
          </a:prstGeom>
        </p:spPr>
        <p:txBody>
          <a:bodyPr spcFirstLastPara="1" wrap="square" lIns="121897" tIns="121897" rIns="121897" bIns="121897" anchor="ctr" anchorCtr="0">
            <a:noAutofit/>
          </a:bodyPr>
          <a:lstStyle>
            <a:lvl1pPr lvl="0" algn="r" rtl="0">
              <a:spcBef>
                <a:spcPts val="0"/>
              </a:spcBef>
              <a:spcAft>
                <a:spcPts val="0"/>
              </a:spcAft>
              <a:buSzPts val="2800"/>
              <a:buNone/>
              <a:defRPr/>
            </a:lvl1pPr>
            <a:lvl2pPr lvl="1" algn="r" rtl="0">
              <a:spcBef>
                <a:spcPts val="0"/>
              </a:spcBef>
              <a:spcAft>
                <a:spcPts val="0"/>
              </a:spcAft>
              <a:buSzPts val="2800"/>
              <a:buNone/>
              <a:defRPr/>
            </a:lvl2pPr>
            <a:lvl3pPr lvl="2" algn="r" rtl="0">
              <a:spcBef>
                <a:spcPts val="0"/>
              </a:spcBef>
              <a:spcAft>
                <a:spcPts val="0"/>
              </a:spcAft>
              <a:buSzPts val="2800"/>
              <a:buNone/>
              <a:defRPr/>
            </a:lvl3pPr>
            <a:lvl4pPr lvl="3" algn="r" rtl="0">
              <a:spcBef>
                <a:spcPts val="0"/>
              </a:spcBef>
              <a:spcAft>
                <a:spcPts val="0"/>
              </a:spcAft>
              <a:buSzPts val="2800"/>
              <a:buNone/>
              <a:defRPr/>
            </a:lvl4pPr>
            <a:lvl5pPr lvl="4" algn="r" rtl="0">
              <a:spcBef>
                <a:spcPts val="0"/>
              </a:spcBef>
              <a:spcAft>
                <a:spcPts val="0"/>
              </a:spcAft>
              <a:buSzPts val="2800"/>
              <a:buNone/>
              <a:defRPr/>
            </a:lvl5pPr>
            <a:lvl6pPr lvl="5" algn="r" rtl="0">
              <a:spcBef>
                <a:spcPts val="0"/>
              </a:spcBef>
              <a:spcAft>
                <a:spcPts val="0"/>
              </a:spcAft>
              <a:buSzPts val="2800"/>
              <a:buNone/>
              <a:defRPr/>
            </a:lvl6pPr>
            <a:lvl7pPr lvl="6" algn="r" rtl="0">
              <a:spcBef>
                <a:spcPts val="0"/>
              </a:spcBef>
              <a:spcAft>
                <a:spcPts val="0"/>
              </a:spcAft>
              <a:buSzPts val="2800"/>
              <a:buNone/>
              <a:defRPr/>
            </a:lvl7pPr>
            <a:lvl8pPr lvl="7" algn="r" rtl="0">
              <a:spcBef>
                <a:spcPts val="0"/>
              </a:spcBef>
              <a:spcAft>
                <a:spcPts val="0"/>
              </a:spcAft>
              <a:buSzPts val="2800"/>
              <a:buNone/>
              <a:defRPr/>
            </a:lvl8pPr>
            <a:lvl9pPr lvl="8" algn="r" rtl="0">
              <a:spcBef>
                <a:spcPts val="0"/>
              </a:spcBef>
              <a:spcAft>
                <a:spcPts val="0"/>
              </a:spcAft>
              <a:buSzPts val="2800"/>
              <a:buNone/>
              <a:defRPr/>
            </a:lvl9pPr>
          </a:lstStyle>
          <a:p>
            <a:endParaRPr/>
          </a:p>
        </p:txBody>
      </p:sp>
      <p:sp>
        <p:nvSpPr>
          <p:cNvPr id="625" name="Google Shape;625;p13"/>
          <p:cNvSpPr txBox="1">
            <a:spLocks noGrp="1"/>
          </p:cNvSpPr>
          <p:nvPr>
            <p:ph type="subTitle" idx="1"/>
          </p:nvPr>
        </p:nvSpPr>
        <p:spPr>
          <a:xfrm>
            <a:off x="1664208" y="429768"/>
            <a:ext cx="2615100" cy="384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1pPr>
            <a:lvl2pPr lvl="1"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2pPr>
            <a:lvl3pPr lvl="2"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3pPr>
            <a:lvl4pPr lvl="3"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4pPr>
            <a:lvl5pPr lvl="4"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5pPr>
            <a:lvl6pPr lvl="5"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6pPr>
            <a:lvl7pPr lvl="6"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7pPr>
            <a:lvl8pPr lvl="7"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8pPr>
            <a:lvl9pPr lvl="8"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26" name="Google Shape;626;p13"/>
          <p:cNvSpPr txBox="1">
            <a:spLocks noGrp="1"/>
          </p:cNvSpPr>
          <p:nvPr>
            <p:ph type="subTitle" idx="2"/>
          </p:nvPr>
        </p:nvSpPr>
        <p:spPr>
          <a:xfrm>
            <a:off x="1664208" y="713232"/>
            <a:ext cx="2615100" cy="576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575">
                <a:solidFill>
                  <a:schemeClr val="dk2"/>
                </a:solidFill>
                <a:latin typeface="Barlow Semi Condensed"/>
                <a:ea typeface="Barlow Semi Condensed"/>
                <a:cs typeface="Barlow Semi Condensed"/>
                <a:sym typeface="Barlow Semi Condensed"/>
              </a:defRPr>
            </a:lvl1pPr>
            <a:lvl2pPr lvl="1" rtl="0">
              <a:spcBef>
                <a:spcPts val="0"/>
              </a:spcBef>
              <a:spcAft>
                <a:spcPts val="0"/>
              </a:spcAft>
              <a:buNone/>
              <a:defRPr sz="1575">
                <a:solidFill>
                  <a:schemeClr val="dk2"/>
                </a:solidFill>
                <a:latin typeface="Barlow Semi Condensed"/>
                <a:ea typeface="Barlow Semi Condensed"/>
                <a:cs typeface="Barlow Semi Condensed"/>
                <a:sym typeface="Barlow Semi Condensed"/>
              </a:defRPr>
            </a:lvl2pPr>
            <a:lvl3pPr lvl="2" rtl="0">
              <a:spcBef>
                <a:spcPts val="0"/>
              </a:spcBef>
              <a:spcAft>
                <a:spcPts val="0"/>
              </a:spcAft>
              <a:buNone/>
              <a:defRPr sz="1575">
                <a:solidFill>
                  <a:schemeClr val="dk2"/>
                </a:solidFill>
                <a:latin typeface="Barlow Semi Condensed"/>
                <a:ea typeface="Barlow Semi Condensed"/>
                <a:cs typeface="Barlow Semi Condensed"/>
                <a:sym typeface="Barlow Semi Condensed"/>
              </a:defRPr>
            </a:lvl3pPr>
            <a:lvl4pPr lvl="3" rtl="0">
              <a:spcBef>
                <a:spcPts val="0"/>
              </a:spcBef>
              <a:spcAft>
                <a:spcPts val="0"/>
              </a:spcAft>
              <a:buNone/>
              <a:defRPr sz="1575">
                <a:solidFill>
                  <a:schemeClr val="dk2"/>
                </a:solidFill>
                <a:latin typeface="Barlow Semi Condensed"/>
                <a:ea typeface="Barlow Semi Condensed"/>
                <a:cs typeface="Barlow Semi Condensed"/>
                <a:sym typeface="Barlow Semi Condensed"/>
              </a:defRPr>
            </a:lvl4pPr>
            <a:lvl5pPr lvl="4" rtl="0">
              <a:spcBef>
                <a:spcPts val="0"/>
              </a:spcBef>
              <a:spcAft>
                <a:spcPts val="0"/>
              </a:spcAft>
              <a:buNone/>
              <a:defRPr sz="1575">
                <a:solidFill>
                  <a:schemeClr val="dk2"/>
                </a:solidFill>
                <a:latin typeface="Barlow Semi Condensed"/>
                <a:ea typeface="Barlow Semi Condensed"/>
                <a:cs typeface="Barlow Semi Condensed"/>
                <a:sym typeface="Barlow Semi Condensed"/>
              </a:defRPr>
            </a:lvl5pPr>
            <a:lvl6pPr lvl="5" rtl="0">
              <a:spcBef>
                <a:spcPts val="0"/>
              </a:spcBef>
              <a:spcAft>
                <a:spcPts val="0"/>
              </a:spcAft>
              <a:buNone/>
              <a:defRPr sz="1575">
                <a:solidFill>
                  <a:schemeClr val="dk2"/>
                </a:solidFill>
                <a:latin typeface="Barlow Semi Condensed"/>
                <a:ea typeface="Barlow Semi Condensed"/>
                <a:cs typeface="Barlow Semi Condensed"/>
                <a:sym typeface="Barlow Semi Condensed"/>
              </a:defRPr>
            </a:lvl6pPr>
            <a:lvl7pPr lvl="6" rtl="0">
              <a:spcBef>
                <a:spcPts val="0"/>
              </a:spcBef>
              <a:spcAft>
                <a:spcPts val="0"/>
              </a:spcAft>
              <a:buNone/>
              <a:defRPr sz="1575">
                <a:solidFill>
                  <a:schemeClr val="dk2"/>
                </a:solidFill>
                <a:latin typeface="Barlow Semi Condensed"/>
                <a:ea typeface="Barlow Semi Condensed"/>
                <a:cs typeface="Barlow Semi Condensed"/>
                <a:sym typeface="Barlow Semi Condensed"/>
              </a:defRPr>
            </a:lvl7pPr>
            <a:lvl8pPr lvl="7" rtl="0">
              <a:spcBef>
                <a:spcPts val="0"/>
              </a:spcBef>
              <a:spcAft>
                <a:spcPts val="0"/>
              </a:spcAft>
              <a:buNone/>
              <a:defRPr sz="1575">
                <a:solidFill>
                  <a:schemeClr val="dk2"/>
                </a:solidFill>
                <a:latin typeface="Barlow Semi Condensed"/>
                <a:ea typeface="Barlow Semi Condensed"/>
                <a:cs typeface="Barlow Semi Condensed"/>
                <a:sym typeface="Barlow Semi Condensed"/>
              </a:defRPr>
            </a:lvl8pPr>
            <a:lvl9pPr lvl="8" rtl="0">
              <a:spcBef>
                <a:spcPts val="0"/>
              </a:spcBef>
              <a:spcAft>
                <a:spcPts val="0"/>
              </a:spcAft>
              <a:buNone/>
              <a:defRPr sz="1575">
                <a:solidFill>
                  <a:schemeClr val="dk2"/>
                </a:solidFill>
                <a:latin typeface="Barlow Semi Condensed"/>
                <a:ea typeface="Barlow Semi Condensed"/>
                <a:cs typeface="Barlow Semi Condensed"/>
                <a:sym typeface="Barlow Semi Condensed"/>
              </a:defRPr>
            </a:lvl9pPr>
          </a:lstStyle>
          <a:p>
            <a:endParaRPr/>
          </a:p>
        </p:txBody>
      </p:sp>
      <p:sp>
        <p:nvSpPr>
          <p:cNvPr id="627" name="Google Shape;627;p13"/>
          <p:cNvSpPr txBox="1">
            <a:spLocks noGrp="1"/>
          </p:cNvSpPr>
          <p:nvPr>
            <p:ph type="subTitle" idx="3"/>
          </p:nvPr>
        </p:nvSpPr>
        <p:spPr>
          <a:xfrm>
            <a:off x="1664208" y="1508760"/>
            <a:ext cx="2615100" cy="384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1pPr>
            <a:lvl2pPr lvl="1"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2pPr>
            <a:lvl3pPr lvl="2"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3pPr>
            <a:lvl4pPr lvl="3"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4pPr>
            <a:lvl5pPr lvl="4"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5pPr>
            <a:lvl6pPr lvl="5"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6pPr>
            <a:lvl7pPr lvl="6"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7pPr>
            <a:lvl8pPr lvl="7"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8pPr>
            <a:lvl9pPr lvl="8"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28" name="Google Shape;628;p13"/>
          <p:cNvSpPr txBox="1">
            <a:spLocks noGrp="1"/>
          </p:cNvSpPr>
          <p:nvPr>
            <p:ph type="subTitle" idx="4"/>
          </p:nvPr>
        </p:nvSpPr>
        <p:spPr>
          <a:xfrm>
            <a:off x="1664208" y="1792224"/>
            <a:ext cx="2615100" cy="576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575">
                <a:solidFill>
                  <a:schemeClr val="dk2"/>
                </a:solidFill>
                <a:latin typeface="Barlow Semi Condensed"/>
                <a:ea typeface="Barlow Semi Condensed"/>
                <a:cs typeface="Barlow Semi Condensed"/>
                <a:sym typeface="Barlow Semi Condensed"/>
              </a:defRPr>
            </a:lvl1pPr>
            <a:lvl2pPr lvl="1" rtl="0">
              <a:spcBef>
                <a:spcPts val="0"/>
              </a:spcBef>
              <a:spcAft>
                <a:spcPts val="0"/>
              </a:spcAft>
              <a:buNone/>
              <a:defRPr sz="1575">
                <a:solidFill>
                  <a:schemeClr val="dk2"/>
                </a:solidFill>
                <a:latin typeface="Barlow Semi Condensed"/>
                <a:ea typeface="Barlow Semi Condensed"/>
                <a:cs typeface="Barlow Semi Condensed"/>
                <a:sym typeface="Barlow Semi Condensed"/>
              </a:defRPr>
            </a:lvl2pPr>
            <a:lvl3pPr lvl="2" rtl="0">
              <a:spcBef>
                <a:spcPts val="0"/>
              </a:spcBef>
              <a:spcAft>
                <a:spcPts val="0"/>
              </a:spcAft>
              <a:buNone/>
              <a:defRPr sz="1575">
                <a:solidFill>
                  <a:schemeClr val="dk2"/>
                </a:solidFill>
                <a:latin typeface="Barlow Semi Condensed"/>
                <a:ea typeface="Barlow Semi Condensed"/>
                <a:cs typeface="Barlow Semi Condensed"/>
                <a:sym typeface="Barlow Semi Condensed"/>
              </a:defRPr>
            </a:lvl3pPr>
            <a:lvl4pPr lvl="3" rtl="0">
              <a:spcBef>
                <a:spcPts val="0"/>
              </a:spcBef>
              <a:spcAft>
                <a:spcPts val="0"/>
              </a:spcAft>
              <a:buNone/>
              <a:defRPr sz="1575">
                <a:solidFill>
                  <a:schemeClr val="dk2"/>
                </a:solidFill>
                <a:latin typeface="Barlow Semi Condensed"/>
                <a:ea typeface="Barlow Semi Condensed"/>
                <a:cs typeface="Barlow Semi Condensed"/>
                <a:sym typeface="Barlow Semi Condensed"/>
              </a:defRPr>
            </a:lvl4pPr>
            <a:lvl5pPr lvl="4" rtl="0">
              <a:spcBef>
                <a:spcPts val="0"/>
              </a:spcBef>
              <a:spcAft>
                <a:spcPts val="0"/>
              </a:spcAft>
              <a:buNone/>
              <a:defRPr sz="1575">
                <a:solidFill>
                  <a:schemeClr val="dk2"/>
                </a:solidFill>
                <a:latin typeface="Barlow Semi Condensed"/>
                <a:ea typeface="Barlow Semi Condensed"/>
                <a:cs typeface="Barlow Semi Condensed"/>
                <a:sym typeface="Barlow Semi Condensed"/>
              </a:defRPr>
            </a:lvl5pPr>
            <a:lvl6pPr lvl="5" rtl="0">
              <a:spcBef>
                <a:spcPts val="0"/>
              </a:spcBef>
              <a:spcAft>
                <a:spcPts val="0"/>
              </a:spcAft>
              <a:buNone/>
              <a:defRPr sz="1575">
                <a:solidFill>
                  <a:schemeClr val="dk2"/>
                </a:solidFill>
                <a:latin typeface="Barlow Semi Condensed"/>
                <a:ea typeface="Barlow Semi Condensed"/>
                <a:cs typeface="Barlow Semi Condensed"/>
                <a:sym typeface="Barlow Semi Condensed"/>
              </a:defRPr>
            </a:lvl6pPr>
            <a:lvl7pPr lvl="6" rtl="0">
              <a:spcBef>
                <a:spcPts val="0"/>
              </a:spcBef>
              <a:spcAft>
                <a:spcPts val="0"/>
              </a:spcAft>
              <a:buNone/>
              <a:defRPr sz="1575">
                <a:solidFill>
                  <a:schemeClr val="dk2"/>
                </a:solidFill>
                <a:latin typeface="Barlow Semi Condensed"/>
                <a:ea typeface="Barlow Semi Condensed"/>
                <a:cs typeface="Barlow Semi Condensed"/>
                <a:sym typeface="Barlow Semi Condensed"/>
              </a:defRPr>
            </a:lvl7pPr>
            <a:lvl8pPr lvl="7" rtl="0">
              <a:spcBef>
                <a:spcPts val="0"/>
              </a:spcBef>
              <a:spcAft>
                <a:spcPts val="0"/>
              </a:spcAft>
              <a:buNone/>
              <a:defRPr sz="1575">
                <a:solidFill>
                  <a:schemeClr val="dk2"/>
                </a:solidFill>
                <a:latin typeface="Barlow Semi Condensed"/>
                <a:ea typeface="Barlow Semi Condensed"/>
                <a:cs typeface="Barlow Semi Condensed"/>
                <a:sym typeface="Barlow Semi Condensed"/>
              </a:defRPr>
            </a:lvl8pPr>
            <a:lvl9pPr lvl="8" rtl="0">
              <a:spcBef>
                <a:spcPts val="0"/>
              </a:spcBef>
              <a:spcAft>
                <a:spcPts val="0"/>
              </a:spcAft>
              <a:buNone/>
              <a:defRPr sz="1575">
                <a:solidFill>
                  <a:schemeClr val="dk2"/>
                </a:solidFill>
                <a:latin typeface="Barlow Semi Condensed"/>
                <a:ea typeface="Barlow Semi Condensed"/>
                <a:cs typeface="Barlow Semi Condensed"/>
                <a:sym typeface="Barlow Semi Condensed"/>
              </a:defRPr>
            </a:lvl9pPr>
          </a:lstStyle>
          <a:p>
            <a:endParaRPr/>
          </a:p>
        </p:txBody>
      </p:sp>
      <p:sp>
        <p:nvSpPr>
          <p:cNvPr id="629" name="Google Shape;629;p13"/>
          <p:cNvSpPr txBox="1">
            <a:spLocks noGrp="1"/>
          </p:cNvSpPr>
          <p:nvPr>
            <p:ph type="subTitle" idx="5"/>
          </p:nvPr>
        </p:nvSpPr>
        <p:spPr>
          <a:xfrm>
            <a:off x="1664208" y="2587752"/>
            <a:ext cx="2615100" cy="384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1pPr>
            <a:lvl2pPr lvl="1"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2pPr>
            <a:lvl3pPr lvl="2"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3pPr>
            <a:lvl4pPr lvl="3"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4pPr>
            <a:lvl5pPr lvl="4"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5pPr>
            <a:lvl6pPr lvl="5"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6pPr>
            <a:lvl7pPr lvl="6"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7pPr>
            <a:lvl8pPr lvl="7"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8pPr>
            <a:lvl9pPr lvl="8"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30" name="Google Shape;630;p13"/>
          <p:cNvSpPr txBox="1">
            <a:spLocks noGrp="1"/>
          </p:cNvSpPr>
          <p:nvPr>
            <p:ph type="subTitle" idx="6"/>
          </p:nvPr>
        </p:nvSpPr>
        <p:spPr>
          <a:xfrm>
            <a:off x="1664208" y="2871216"/>
            <a:ext cx="2615100" cy="576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575">
                <a:solidFill>
                  <a:schemeClr val="dk2"/>
                </a:solidFill>
                <a:latin typeface="Barlow Semi Condensed"/>
                <a:ea typeface="Barlow Semi Condensed"/>
                <a:cs typeface="Barlow Semi Condensed"/>
                <a:sym typeface="Barlow Semi Condensed"/>
              </a:defRPr>
            </a:lvl1pPr>
            <a:lvl2pPr lvl="1" rtl="0">
              <a:spcBef>
                <a:spcPts val="0"/>
              </a:spcBef>
              <a:spcAft>
                <a:spcPts val="0"/>
              </a:spcAft>
              <a:buNone/>
              <a:defRPr sz="1575">
                <a:solidFill>
                  <a:schemeClr val="dk2"/>
                </a:solidFill>
                <a:latin typeface="Barlow Semi Condensed"/>
                <a:ea typeface="Barlow Semi Condensed"/>
                <a:cs typeface="Barlow Semi Condensed"/>
                <a:sym typeface="Barlow Semi Condensed"/>
              </a:defRPr>
            </a:lvl2pPr>
            <a:lvl3pPr lvl="2" rtl="0">
              <a:spcBef>
                <a:spcPts val="0"/>
              </a:spcBef>
              <a:spcAft>
                <a:spcPts val="0"/>
              </a:spcAft>
              <a:buNone/>
              <a:defRPr sz="1575">
                <a:solidFill>
                  <a:schemeClr val="dk2"/>
                </a:solidFill>
                <a:latin typeface="Barlow Semi Condensed"/>
                <a:ea typeface="Barlow Semi Condensed"/>
                <a:cs typeface="Barlow Semi Condensed"/>
                <a:sym typeface="Barlow Semi Condensed"/>
              </a:defRPr>
            </a:lvl3pPr>
            <a:lvl4pPr lvl="3" rtl="0">
              <a:spcBef>
                <a:spcPts val="0"/>
              </a:spcBef>
              <a:spcAft>
                <a:spcPts val="0"/>
              </a:spcAft>
              <a:buNone/>
              <a:defRPr sz="1575">
                <a:solidFill>
                  <a:schemeClr val="dk2"/>
                </a:solidFill>
                <a:latin typeface="Barlow Semi Condensed"/>
                <a:ea typeface="Barlow Semi Condensed"/>
                <a:cs typeface="Barlow Semi Condensed"/>
                <a:sym typeface="Barlow Semi Condensed"/>
              </a:defRPr>
            </a:lvl4pPr>
            <a:lvl5pPr lvl="4" rtl="0">
              <a:spcBef>
                <a:spcPts val="0"/>
              </a:spcBef>
              <a:spcAft>
                <a:spcPts val="0"/>
              </a:spcAft>
              <a:buNone/>
              <a:defRPr sz="1575">
                <a:solidFill>
                  <a:schemeClr val="dk2"/>
                </a:solidFill>
                <a:latin typeface="Barlow Semi Condensed"/>
                <a:ea typeface="Barlow Semi Condensed"/>
                <a:cs typeface="Barlow Semi Condensed"/>
                <a:sym typeface="Barlow Semi Condensed"/>
              </a:defRPr>
            </a:lvl5pPr>
            <a:lvl6pPr lvl="5" rtl="0">
              <a:spcBef>
                <a:spcPts val="0"/>
              </a:spcBef>
              <a:spcAft>
                <a:spcPts val="0"/>
              </a:spcAft>
              <a:buNone/>
              <a:defRPr sz="1575">
                <a:solidFill>
                  <a:schemeClr val="dk2"/>
                </a:solidFill>
                <a:latin typeface="Barlow Semi Condensed"/>
                <a:ea typeface="Barlow Semi Condensed"/>
                <a:cs typeface="Barlow Semi Condensed"/>
                <a:sym typeface="Barlow Semi Condensed"/>
              </a:defRPr>
            </a:lvl6pPr>
            <a:lvl7pPr lvl="6" rtl="0">
              <a:spcBef>
                <a:spcPts val="0"/>
              </a:spcBef>
              <a:spcAft>
                <a:spcPts val="0"/>
              </a:spcAft>
              <a:buNone/>
              <a:defRPr sz="1575">
                <a:solidFill>
                  <a:schemeClr val="dk2"/>
                </a:solidFill>
                <a:latin typeface="Barlow Semi Condensed"/>
                <a:ea typeface="Barlow Semi Condensed"/>
                <a:cs typeface="Barlow Semi Condensed"/>
                <a:sym typeface="Barlow Semi Condensed"/>
              </a:defRPr>
            </a:lvl7pPr>
            <a:lvl8pPr lvl="7" rtl="0">
              <a:spcBef>
                <a:spcPts val="0"/>
              </a:spcBef>
              <a:spcAft>
                <a:spcPts val="0"/>
              </a:spcAft>
              <a:buNone/>
              <a:defRPr sz="1575">
                <a:solidFill>
                  <a:schemeClr val="dk2"/>
                </a:solidFill>
                <a:latin typeface="Barlow Semi Condensed"/>
                <a:ea typeface="Barlow Semi Condensed"/>
                <a:cs typeface="Barlow Semi Condensed"/>
                <a:sym typeface="Barlow Semi Condensed"/>
              </a:defRPr>
            </a:lvl8pPr>
            <a:lvl9pPr lvl="8" rtl="0">
              <a:spcBef>
                <a:spcPts val="0"/>
              </a:spcBef>
              <a:spcAft>
                <a:spcPts val="0"/>
              </a:spcAft>
              <a:buNone/>
              <a:defRPr sz="1575">
                <a:solidFill>
                  <a:schemeClr val="dk2"/>
                </a:solidFill>
                <a:latin typeface="Barlow Semi Condensed"/>
                <a:ea typeface="Barlow Semi Condensed"/>
                <a:cs typeface="Barlow Semi Condensed"/>
                <a:sym typeface="Barlow Semi Condensed"/>
              </a:defRPr>
            </a:lvl9pPr>
          </a:lstStyle>
          <a:p>
            <a:endParaRPr/>
          </a:p>
        </p:txBody>
      </p:sp>
      <p:sp>
        <p:nvSpPr>
          <p:cNvPr id="631" name="Google Shape;631;p13"/>
          <p:cNvSpPr txBox="1">
            <a:spLocks noGrp="1"/>
          </p:cNvSpPr>
          <p:nvPr>
            <p:ph type="subTitle" idx="7"/>
          </p:nvPr>
        </p:nvSpPr>
        <p:spPr>
          <a:xfrm>
            <a:off x="1664208" y="3666744"/>
            <a:ext cx="2615100" cy="384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1pPr>
            <a:lvl2pPr lvl="1"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2pPr>
            <a:lvl3pPr lvl="2"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3pPr>
            <a:lvl4pPr lvl="3"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4pPr>
            <a:lvl5pPr lvl="4"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5pPr>
            <a:lvl6pPr lvl="5"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6pPr>
            <a:lvl7pPr lvl="6"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7pPr>
            <a:lvl8pPr lvl="7"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8pPr>
            <a:lvl9pPr lvl="8"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32" name="Google Shape;632;p13"/>
          <p:cNvSpPr txBox="1">
            <a:spLocks noGrp="1"/>
          </p:cNvSpPr>
          <p:nvPr>
            <p:ph type="subTitle" idx="8"/>
          </p:nvPr>
        </p:nvSpPr>
        <p:spPr>
          <a:xfrm>
            <a:off x="1664208" y="3950208"/>
            <a:ext cx="2615100" cy="576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575">
                <a:solidFill>
                  <a:schemeClr val="dk2"/>
                </a:solidFill>
                <a:latin typeface="Barlow Semi Condensed"/>
                <a:ea typeface="Barlow Semi Condensed"/>
                <a:cs typeface="Barlow Semi Condensed"/>
                <a:sym typeface="Barlow Semi Condensed"/>
              </a:defRPr>
            </a:lvl1pPr>
            <a:lvl2pPr lvl="1" rtl="0">
              <a:spcBef>
                <a:spcPts val="0"/>
              </a:spcBef>
              <a:spcAft>
                <a:spcPts val="0"/>
              </a:spcAft>
              <a:buNone/>
              <a:defRPr sz="1575">
                <a:solidFill>
                  <a:schemeClr val="dk2"/>
                </a:solidFill>
                <a:latin typeface="Barlow Semi Condensed"/>
                <a:ea typeface="Barlow Semi Condensed"/>
                <a:cs typeface="Barlow Semi Condensed"/>
                <a:sym typeface="Barlow Semi Condensed"/>
              </a:defRPr>
            </a:lvl2pPr>
            <a:lvl3pPr lvl="2" rtl="0">
              <a:spcBef>
                <a:spcPts val="0"/>
              </a:spcBef>
              <a:spcAft>
                <a:spcPts val="0"/>
              </a:spcAft>
              <a:buNone/>
              <a:defRPr sz="1575">
                <a:solidFill>
                  <a:schemeClr val="dk2"/>
                </a:solidFill>
                <a:latin typeface="Barlow Semi Condensed"/>
                <a:ea typeface="Barlow Semi Condensed"/>
                <a:cs typeface="Barlow Semi Condensed"/>
                <a:sym typeface="Barlow Semi Condensed"/>
              </a:defRPr>
            </a:lvl3pPr>
            <a:lvl4pPr lvl="3" rtl="0">
              <a:spcBef>
                <a:spcPts val="0"/>
              </a:spcBef>
              <a:spcAft>
                <a:spcPts val="0"/>
              </a:spcAft>
              <a:buNone/>
              <a:defRPr sz="1575">
                <a:solidFill>
                  <a:schemeClr val="dk2"/>
                </a:solidFill>
                <a:latin typeface="Barlow Semi Condensed"/>
                <a:ea typeface="Barlow Semi Condensed"/>
                <a:cs typeface="Barlow Semi Condensed"/>
                <a:sym typeface="Barlow Semi Condensed"/>
              </a:defRPr>
            </a:lvl4pPr>
            <a:lvl5pPr lvl="4" rtl="0">
              <a:spcBef>
                <a:spcPts val="0"/>
              </a:spcBef>
              <a:spcAft>
                <a:spcPts val="0"/>
              </a:spcAft>
              <a:buNone/>
              <a:defRPr sz="1575">
                <a:solidFill>
                  <a:schemeClr val="dk2"/>
                </a:solidFill>
                <a:latin typeface="Barlow Semi Condensed"/>
                <a:ea typeface="Barlow Semi Condensed"/>
                <a:cs typeface="Barlow Semi Condensed"/>
                <a:sym typeface="Barlow Semi Condensed"/>
              </a:defRPr>
            </a:lvl5pPr>
            <a:lvl6pPr lvl="5" rtl="0">
              <a:spcBef>
                <a:spcPts val="0"/>
              </a:spcBef>
              <a:spcAft>
                <a:spcPts val="0"/>
              </a:spcAft>
              <a:buNone/>
              <a:defRPr sz="1575">
                <a:solidFill>
                  <a:schemeClr val="dk2"/>
                </a:solidFill>
                <a:latin typeface="Barlow Semi Condensed"/>
                <a:ea typeface="Barlow Semi Condensed"/>
                <a:cs typeface="Barlow Semi Condensed"/>
                <a:sym typeface="Barlow Semi Condensed"/>
              </a:defRPr>
            </a:lvl6pPr>
            <a:lvl7pPr lvl="6" rtl="0">
              <a:spcBef>
                <a:spcPts val="0"/>
              </a:spcBef>
              <a:spcAft>
                <a:spcPts val="0"/>
              </a:spcAft>
              <a:buNone/>
              <a:defRPr sz="1575">
                <a:solidFill>
                  <a:schemeClr val="dk2"/>
                </a:solidFill>
                <a:latin typeface="Barlow Semi Condensed"/>
                <a:ea typeface="Barlow Semi Condensed"/>
                <a:cs typeface="Barlow Semi Condensed"/>
                <a:sym typeface="Barlow Semi Condensed"/>
              </a:defRPr>
            </a:lvl7pPr>
            <a:lvl8pPr lvl="7" rtl="0">
              <a:spcBef>
                <a:spcPts val="0"/>
              </a:spcBef>
              <a:spcAft>
                <a:spcPts val="0"/>
              </a:spcAft>
              <a:buNone/>
              <a:defRPr sz="1575">
                <a:solidFill>
                  <a:schemeClr val="dk2"/>
                </a:solidFill>
                <a:latin typeface="Barlow Semi Condensed"/>
                <a:ea typeface="Barlow Semi Condensed"/>
                <a:cs typeface="Barlow Semi Condensed"/>
                <a:sym typeface="Barlow Semi Condensed"/>
              </a:defRPr>
            </a:lvl8pPr>
            <a:lvl9pPr lvl="8" rtl="0">
              <a:spcBef>
                <a:spcPts val="0"/>
              </a:spcBef>
              <a:spcAft>
                <a:spcPts val="0"/>
              </a:spcAft>
              <a:buNone/>
              <a:defRPr sz="1575">
                <a:solidFill>
                  <a:schemeClr val="dk2"/>
                </a:solidFill>
                <a:latin typeface="Barlow Semi Condensed"/>
                <a:ea typeface="Barlow Semi Condensed"/>
                <a:cs typeface="Barlow Semi Condensed"/>
                <a:sym typeface="Barlow Semi Condensed"/>
              </a:defRPr>
            </a:lvl9pPr>
          </a:lstStyle>
          <a:p>
            <a:endParaRPr/>
          </a:p>
        </p:txBody>
      </p:sp>
      <p:sp>
        <p:nvSpPr>
          <p:cNvPr id="633" name="Google Shape;633;p13"/>
          <p:cNvSpPr txBox="1">
            <a:spLocks noGrp="1"/>
          </p:cNvSpPr>
          <p:nvPr>
            <p:ph type="title" idx="9" hasCustomPrompt="1"/>
          </p:nvPr>
        </p:nvSpPr>
        <p:spPr>
          <a:xfrm>
            <a:off x="813816" y="722376"/>
            <a:ext cx="457200" cy="347400"/>
          </a:xfrm>
          <a:prstGeom prst="rect">
            <a:avLst/>
          </a:prstGeom>
        </p:spPr>
        <p:txBody>
          <a:bodyPr spcFirstLastPara="1" wrap="square" lIns="121897" tIns="121897" rIns="121897" bIns="121897" anchor="ctr" anchorCtr="0">
            <a:noAutofit/>
          </a:bodyPr>
          <a:lstStyle>
            <a:lvl1pPr lvl="0" algn="ctr" rtl="0">
              <a:spcBef>
                <a:spcPts val="0"/>
              </a:spcBef>
              <a:spcAft>
                <a:spcPts val="0"/>
              </a:spcAft>
              <a:buClr>
                <a:schemeClr val="lt1"/>
              </a:buClr>
              <a:buSzPts val="2000"/>
              <a:buNone/>
              <a:defRPr sz="2025">
                <a:solidFill>
                  <a:schemeClr val="lt1"/>
                </a:solidFill>
              </a:defRPr>
            </a:lvl1pPr>
            <a:lvl2pPr lvl="1" algn="ctr" rtl="0">
              <a:spcBef>
                <a:spcPts val="0"/>
              </a:spcBef>
              <a:spcAft>
                <a:spcPts val="0"/>
              </a:spcAft>
              <a:buClr>
                <a:schemeClr val="lt1"/>
              </a:buClr>
              <a:buSzPts val="2000"/>
              <a:buNone/>
              <a:defRPr sz="2025">
                <a:solidFill>
                  <a:schemeClr val="lt1"/>
                </a:solidFill>
              </a:defRPr>
            </a:lvl2pPr>
            <a:lvl3pPr lvl="2" algn="ctr" rtl="0">
              <a:spcBef>
                <a:spcPts val="0"/>
              </a:spcBef>
              <a:spcAft>
                <a:spcPts val="0"/>
              </a:spcAft>
              <a:buClr>
                <a:schemeClr val="lt1"/>
              </a:buClr>
              <a:buSzPts val="2000"/>
              <a:buNone/>
              <a:defRPr sz="2025">
                <a:solidFill>
                  <a:schemeClr val="lt1"/>
                </a:solidFill>
              </a:defRPr>
            </a:lvl3pPr>
            <a:lvl4pPr lvl="3" algn="ctr" rtl="0">
              <a:spcBef>
                <a:spcPts val="0"/>
              </a:spcBef>
              <a:spcAft>
                <a:spcPts val="0"/>
              </a:spcAft>
              <a:buClr>
                <a:schemeClr val="lt1"/>
              </a:buClr>
              <a:buSzPts val="2000"/>
              <a:buNone/>
              <a:defRPr sz="2025">
                <a:solidFill>
                  <a:schemeClr val="lt1"/>
                </a:solidFill>
              </a:defRPr>
            </a:lvl4pPr>
            <a:lvl5pPr lvl="4" algn="ctr" rtl="0">
              <a:spcBef>
                <a:spcPts val="0"/>
              </a:spcBef>
              <a:spcAft>
                <a:spcPts val="0"/>
              </a:spcAft>
              <a:buClr>
                <a:schemeClr val="lt1"/>
              </a:buClr>
              <a:buSzPts val="2000"/>
              <a:buNone/>
              <a:defRPr sz="2025">
                <a:solidFill>
                  <a:schemeClr val="lt1"/>
                </a:solidFill>
              </a:defRPr>
            </a:lvl5pPr>
            <a:lvl6pPr lvl="5" algn="ctr" rtl="0">
              <a:spcBef>
                <a:spcPts val="0"/>
              </a:spcBef>
              <a:spcAft>
                <a:spcPts val="0"/>
              </a:spcAft>
              <a:buClr>
                <a:schemeClr val="lt1"/>
              </a:buClr>
              <a:buSzPts val="2000"/>
              <a:buNone/>
              <a:defRPr sz="2025">
                <a:solidFill>
                  <a:schemeClr val="lt1"/>
                </a:solidFill>
              </a:defRPr>
            </a:lvl6pPr>
            <a:lvl7pPr lvl="6" algn="ctr" rtl="0">
              <a:spcBef>
                <a:spcPts val="0"/>
              </a:spcBef>
              <a:spcAft>
                <a:spcPts val="0"/>
              </a:spcAft>
              <a:buClr>
                <a:schemeClr val="lt1"/>
              </a:buClr>
              <a:buSzPts val="2000"/>
              <a:buNone/>
              <a:defRPr sz="2025">
                <a:solidFill>
                  <a:schemeClr val="lt1"/>
                </a:solidFill>
              </a:defRPr>
            </a:lvl7pPr>
            <a:lvl8pPr lvl="7" algn="ctr" rtl="0">
              <a:spcBef>
                <a:spcPts val="0"/>
              </a:spcBef>
              <a:spcAft>
                <a:spcPts val="0"/>
              </a:spcAft>
              <a:buClr>
                <a:schemeClr val="lt1"/>
              </a:buClr>
              <a:buSzPts val="2000"/>
              <a:buNone/>
              <a:defRPr sz="2025">
                <a:solidFill>
                  <a:schemeClr val="lt1"/>
                </a:solidFill>
              </a:defRPr>
            </a:lvl8pPr>
            <a:lvl9pPr lvl="8" algn="ctr" rtl="0">
              <a:spcBef>
                <a:spcPts val="0"/>
              </a:spcBef>
              <a:spcAft>
                <a:spcPts val="0"/>
              </a:spcAft>
              <a:buClr>
                <a:schemeClr val="lt1"/>
              </a:buClr>
              <a:buSzPts val="2000"/>
              <a:buNone/>
              <a:defRPr sz="2025">
                <a:solidFill>
                  <a:schemeClr val="lt1"/>
                </a:solidFill>
              </a:defRPr>
            </a:lvl9pPr>
          </a:lstStyle>
          <a:p>
            <a:r>
              <a:t>xx%</a:t>
            </a:r>
          </a:p>
        </p:txBody>
      </p:sp>
      <p:sp>
        <p:nvSpPr>
          <p:cNvPr id="634" name="Google Shape;634;p13"/>
          <p:cNvSpPr txBox="1">
            <a:spLocks noGrp="1"/>
          </p:cNvSpPr>
          <p:nvPr>
            <p:ph type="title" idx="13" hasCustomPrompt="1"/>
          </p:nvPr>
        </p:nvSpPr>
        <p:spPr>
          <a:xfrm>
            <a:off x="813816" y="1801368"/>
            <a:ext cx="457200" cy="347400"/>
          </a:xfrm>
          <a:prstGeom prst="rect">
            <a:avLst/>
          </a:prstGeom>
        </p:spPr>
        <p:txBody>
          <a:bodyPr spcFirstLastPara="1" wrap="square" lIns="121897" tIns="121897" rIns="121897" bIns="121897" anchor="ctr" anchorCtr="0">
            <a:noAutofit/>
          </a:bodyPr>
          <a:lstStyle>
            <a:lvl1pPr lvl="0" algn="ctr" rtl="0">
              <a:spcBef>
                <a:spcPts val="0"/>
              </a:spcBef>
              <a:spcAft>
                <a:spcPts val="0"/>
              </a:spcAft>
              <a:buClr>
                <a:schemeClr val="lt1"/>
              </a:buClr>
              <a:buSzPts val="2000"/>
              <a:buNone/>
              <a:defRPr sz="2025">
                <a:solidFill>
                  <a:schemeClr val="lt1"/>
                </a:solidFill>
              </a:defRPr>
            </a:lvl1pPr>
            <a:lvl2pPr lvl="1" algn="ctr" rtl="0">
              <a:spcBef>
                <a:spcPts val="0"/>
              </a:spcBef>
              <a:spcAft>
                <a:spcPts val="0"/>
              </a:spcAft>
              <a:buClr>
                <a:schemeClr val="lt1"/>
              </a:buClr>
              <a:buSzPts val="2000"/>
              <a:buNone/>
              <a:defRPr sz="2025">
                <a:solidFill>
                  <a:schemeClr val="lt1"/>
                </a:solidFill>
              </a:defRPr>
            </a:lvl2pPr>
            <a:lvl3pPr lvl="2" algn="ctr" rtl="0">
              <a:spcBef>
                <a:spcPts val="0"/>
              </a:spcBef>
              <a:spcAft>
                <a:spcPts val="0"/>
              </a:spcAft>
              <a:buClr>
                <a:schemeClr val="lt1"/>
              </a:buClr>
              <a:buSzPts val="2000"/>
              <a:buNone/>
              <a:defRPr sz="2025">
                <a:solidFill>
                  <a:schemeClr val="lt1"/>
                </a:solidFill>
              </a:defRPr>
            </a:lvl3pPr>
            <a:lvl4pPr lvl="3" algn="ctr" rtl="0">
              <a:spcBef>
                <a:spcPts val="0"/>
              </a:spcBef>
              <a:spcAft>
                <a:spcPts val="0"/>
              </a:spcAft>
              <a:buClr>
                <a:schemeClr val="lt1"/>
              </a:buClr>
              <a:buSzPts val="2000"/>
              <a:buNone/>
              <a:defRPr sz="2025">
                <a:solidFill>
                  <a:schemeClr val="lt1"/>
                </a:solidFill>
              </a:defRPr>
            </a:lvl4pPr>
            <a:lvl5pPr lvl="4" algn="ctr" rtl="0">
              <a:spcBef>
                <a:spcPts val="0"/>
              </a:spcBef>
              <a:spcAft>
                <a:spcPts val="0"/>
              </a:spcAft>
              <a:buClr>
                <a:schemeClr val="lt1"/>
              </a:buClr>
              <a:buSzPts val="2000"/>
              <a:buNone/>
              <a:defRPr sz="2025">
                <a:solidFill>
                  <a:schemeClr val="lt1"/>
                </a:solidFill>
              </a:defRPr>
            </a:lvl5pPr>
            <a:lvl6pPr lvl="5" algn="ctr" rtl="0">
              <a:spcBef>
                <a:spcPts val="0"/>
              </a:spcBef>
              <a:spcAft>
                <a:spcPts val="0"/>
              </a:spcAft>
              <a:buClr>
                <a:schemeClr val="lt1"/>
              </a:buClr>
              <a:buSzPts val="2000"/>
              <a:buNone/>
              <a:defRPr sz="2025">
                <a:solidFill>
                  <a:schemeClr val="lt1"/>
                </a:solidFill>
              </a:defRPr>
            </a:lvl6pPr>
            <a:lvl7pPr lvl="6" algn="ctr" rtl="0">
              <a:spcBef>
                <a:spcPts val="0"/>
              </a:spcBef>
              <a:spcAft>
                <a:spcPts val="0"/>
              </a:spcAft>
              <a:buClr>
                <a:schemeClr val="lt1"/>
              </a:buClr>
              <a:buSzPts val="2000"/>
              <a:buNone/>
              <a:defRPr sz="2025">
                <a:solidFill>
                  <a:schemeClr val="lt1"/>
                </a:solidFill>
              </a:defRPr>
            </a:lvl7pPr>
            <a:lvl8pPr lvl="7" algn="ctr" rtl="0">
              <a:spcBef>
                <a:spcPts val="0"/>
              </a:spcBef>
              <a:spcAft>
                <a:spcPts val="0"/>
              </a:spcAft>
              <a:buClr>
                <a:schemeClr val="lt1"/>
              </a:buClr>
              <a:buSzPts val="2000"/>
              <a:buNone/>
              <a:defRPr sz="2025">
                <a:solidFill>
                  <a:schemeClr val="lt1"/>
                </a:solidFill>
              </a:defRPr>
            </a:lvl8pPr>
            <a:lvl9pPr lvl="8" algn="ctr" rtl="0">
              <a:spcBef>
                <a:spcPts val="0"/>
              </a:spcBef>
              <a:spcAft>
                <a:spcPts val="0"/>
              </a:spcAft>
              <a:buClr>
                <a:schemeClr val="lt1"/>
              </a:buClr>
              <a:buSzPts val="2000"/>
              <a:buNone/>
              <a:defRPr sz="2025">
                <a:solidFill>
                  <a:schemeClr val="lt1"/>
                </a:solidFill>
              </a:defRPr>
            </a:lvl9pPr>
          </a:lstStyle>
          <a:p>
            <a:r>
              <a:t>xx%</a:t>
            </a:r>
          </a:p>
        </p:txBody>
      </p:sp>
      <p:sp>
        <p:nvSpPr>
          <p:cNvPr id="635" name="Google Shape;635;p13"/>
          <p:cNvSpPr txBox="1">
            <a:spLocks noGrp="1"/>
          </p:cNvSpPr>
          <p:nvPr>
            <p:ph type="title" idx="14" hasCustomPrompt="1"/>
          </p:nvPr>
        </p:nvSpPr>
        <p:spPr>
          <a:xfrm>
            <a:off x="813816" y="2880360"/>
            <a:ext cx="457200" cy="347400"/>
          </a:xfrm>
          <a:prstGeom prst="rect">
            <a:avLst/>
          </a:prstGeom>
        </p:spPr>
        <p:txBody>
          <a:bodyPr spcFirstLastPara="1" wrap="square" lIns="121897" tIns="121897" rIns="121897" bIns="121897" anchor="ctr" anchorCtr="0">
            <a:noAutofit/>
          </a:bodyPr>
          <a:lstStyle>
            <a:lvl1pPr lvl="0" algn="ctr" rtl="0">
              <a:spcBef>
                <a:spcPts val="0"/>
              </a:spcBef>
              <a:spcAft>
                <a:spcPts val="0"/>
              </a:spcAft>
              <a:buClr>
                <a:schemeClr val="lt1"/>
              </a:buClr>
              <a:buSzPts val="2000"/>
              <a:buNone/>
              <a:defRPr sz="2025">
                <a:solidFill>
                  <a:schemeClr val="lt1"/>
                </a:solidFill>
              </a:defRPr>
            </a:lvl1pPr>
            <a:lvl2pPr lvl="1" algn="ctr" rtl="0">
              <a:spcBef>
                <a:spcPts val="0"/>
              </a:spcBef>
              <a:spcAft>
                <a:spcPts val="0"/>
              </a:spcAft>
              <a:buClr>
                <a:schemeClr val="lt1"/>
              </a:buClr>
              <a:buSzPts val="2000"/>
              <a:buNone/>
              <a:defRPr sz="2025">
                <a:solidFill>
                  <a:schemeClr val="lt1"/>
                </a:solidFill>
              </a:defRPr>
            </a:lvl2pPr>
            <a:lvl3pPr lvl="2" algn="ctr" rtl="0">
              <a:spcBef>
                <a:spcPts val="0"/>
              </a:spcBef>
              <a:spcAft>
                <a:spcPts val="0"/>
              </a:spcAft>
              <a:buClr>
                <a:schemeClr val="lt1"/>
              </a:buClr>
              <a:buSzPts val="2000"/>
              <a:buNone/>
              <a:defRPr sz="2025">
                <a:solidFill>
                  <a:schemeClr val="lt1"/>
                </a:solidFill>
              </a:defRPr>
            </a:lvl3pPr>
            <a:lvl4pPr lvl="3" algn="ctr" rtl="0">
              <a:spcBef>
                <a:spcPts val="0"/>
              </a:spcBef>
              <a:spcAft>
                <a:spcPts val="0"/>
              </a:spcAft>
              <a:buClr>
                <a:schemeClr val="lt1"/>
              </a:buClr>
              <a:buSzPts val="2000"/>
              <a:buNone/>
              <a:defRPr sz="2025">
                <a:solidFill>
                  <a:schemeClr val="lt1"/>
                </a:solidFill>
              </a:defRPr>
            </a:lvl4pPr>
            <a:lvl5pPr lvl="4" algn="ctr" rtl="0">
              <a:spcBef>
                <a:spcPts val="0"/>
              </a:spcBef>
              <a:spcAft>
                <a:spcPts val="0"/>
              </a:spcAft>
              <a:buClr>
                <a:schemeClr val="lt1"/>
              </a:buClr>
              <a:buSzPts val="2000"/>
              <a:buNone/>
              <a:defRPr sz="2025">
                <a:solidFill>
                  <a:schemeClr val="lt1"/>
                </a:solidFill>
              </a:defRPr>
            </a:lvl5pPr>
            <a:lvl6pPr lvl="5" algn="ctr" rtl="0">
              <a:spcBef>
                <a:spcPts val="0"/>
              </a:spcBef>
              <a:spcAft>
                <a:spcPts val="0"/>
              </a:spcAft>
              <a:buClr>
                <a:schemeClr val="lt1"/>
              </a:buClr>
              <a:buSzPts val="2000"/>
              <a:buNone/>
              <a:defRPr sz="2025">
                <a:solidFill>
                  <a:schemeClr val="lt1"/>
                </a:solidFill>
              </a:defRPr>
            </a:lvl6pPr>
            <a:lvl7pPr lvl="6" algn="ctr" rtl="0">
              <a:spcBef>
                <a:spcPts val="0"/>
              </a:spcBef>
              <a:spcAft>
                <a:spcPts val="0"/>
              </a:spcAft>
              <a:buClr>
                <a:schemeClr val="lt1"/>
              </a:buClr>
              <a:buSzPts val="2000"/>
              <a:buNone/>
              <a:defRPr sz="2025">
                <a:solidFill>
                  <a:schemeClr val="lt1"/>
                </a:solidFill>
              </a:defRPr>
            </a:lvl7pPr>
            <a:lvl8pPr lvl="7" algn="ctr" rtl="0">
              <a:spcBef>
                <a:spcPts val="0"/>
              </a:spcBef>
              <a:spcAft>
                <a:spcPts val="0"/>
              </a:spcAft>
              <a:buClr>
                <a:schemeClr val="lt1"/>
              </a:buClr>
              <a:buSzPts val="2000"/>
              <a:buNone/>
              <a:defRPr sz="2025">
                <a:solidFill>
                  <a:schemeClr val="lt1"/>
                </a:solidFill>
              </a:defRPr>
            </a:lvl8pPr>
            <a:lvl9pPr lvl="8" algn="ctr" rtl="0">
              <a:spcBef>
                <a:spcPts val="0"/>
              </a:spcBef>
              <a:spcAft>
                <a:spcPts val="0"/>
              </a:spcAft>
              <a:buClr>
                <a:schemeClr val="lt1"/>
              </a:buClr>
              <a:buSzPts val="2000"/>
              <a:buNone/>
              <a:defRPr sz="2025">
                <a:solidFill>
                  <a:schemeClr val="lt1"/>
                </a:solidFill>
              </a:defRPr>
            </a:lvl9pPr>
          </a:lstStyle>
          <a:p>
            <a:r>
              <a:t>xx%</a:t>
            </a:r>
          </a:p>
        </p:txBody>
      </p:sp>
      <p:sp>
        <p:nvSpPr>
          <p:cNvPr id="636" name="Google Shape;636;p13"/>
          <p:cNvSpPr txBox="1">
            <a:spLocks noGrp="1"/>
          </p:cNvSpPr>
          <p:nvPr>
            <p:ph type="title" idx="15" hasCustomPrompt="1"/>
          </p:nvPr>
        </p:nvSpPr>
        <p:spPr>
          <a:xfrm>
            <a:off x="813816" y="3959352"/>
            <a:ext cx="457200" cy="347400"/>
          </a:xfrm>
          <a:prstGeom prst="rect">
            <a:avLst/>
          </a:prstGeom>
        </p:spPr>
        <p:txBody>
          <a:bodyPr spcFirstLastPara="1" wrap="square" lIns="121897" tIns="121897" rIns="121897" bIns="121897" anchor="ctr" anchorCtr="0">
            <a:noAutofit/>
          </a:bodyPr>
          <a:lstStyle>
            <a:lvl1pPr lvl="0" algn="ctr" rtl="0">
              <a:spcBef>
                <a:spcPts val="0"/>
              </a:spcBef>
              <a:spcAft>
                <a:spcPts val="0"/>
              </a:spcAft>
              <a:buClr>
                <a:schemeClr val="lt1"/>
              </a:buClr>
              <a:buSzPts val="2000"/>
              <a:buNone/>
              <a:defRPr sz="2025">
                <a:solidFill>
                  <a:schemeClr val="lt1"/>
                </a:solidFill>
              </a:defRPr>
            </a:lvl1pPr>
            <a:lvl2pPr lvl="1" algn="ctr" rtl="0">
              <a:spcBef>
                <a:spcPts val="0"/>
              </a:spcBef>
              <a:spcAft>
                <a:spcPts val="0"/>
              </a:spcAft>
              <a:buClr>
                <a:schemeClr val="lt1"/>
              </a:buClr>
              <a:buSzPts val="2000"/>
              <a:buNone/>
              <a:defRPr sz="2025">
                <a:solidFill>
                  <a:schemeClr val="lt1"/>
                </a:solidFill>
              </a:defRPr>
            </a:lvl2pPr>
            <a:lvl3pPr lvl="2" algn="ctr" rtl="0">
              <a:spcBef>
                <a:spcPts val="0"/>
              </a:spcBef>
              <a:spcAft>
                <a:spcPts val="0"/>
              </a:spcAft>
              <a:buClr>
                <a:schemeClr val="lt1"/>
              </a:buClr>
              <a:buSzPts val="2000"/>
              <a:buNone/>
              <a:defRPr sz="2025">
                <a:solidFill>
                  <a:schemeClr val="lt1"/>
                </a:solidFill>
              </a:defRPr>
            </a:lvl3pPr>
            <a:lvl4pPr lvl="3" algn="ctr" rtl="0">
              <a:spcBef>
                <a:spcPts val="0"/>
              </a:spcBef>
              <a:spcAft>
                <a:spcPts val="0"/>
              </a:spcAft>
              <a:buClr>
                <a:schemeClr val="lt1"/>
              </a:buClr>
              <a:buSzPts val="2000"/>
              <a:buNone/>
              <a:defRPr sz="2025">
                <a:solidFill>
                  <a:schemeClr val="lt1"/>
                </a:solidFill>
              </a:defRPr>
            </a:lvl4pPr>
            <a:lvl5pPr lvl="4" algn="ctr" rtl="0">
              <a:spcBef>
                <a:spcPts val="0"/>
              </a:spcBef>
              <a:spcAft>
                <a:spcPts val="0"/>
              </a:spcAft>
              <a:buClr>
                <a:schemeClr val="lt1"/>
              </a:buClr>
              <a:buSzPts val="2000"/>
              <a:buNone/>
              <a:defRPr sz="2025">
                <a:solidFill>
                  <a:schemeClr val="lt1"/>
                </a:solidFill>
              </a:defRPr>
            </a:lvl5pPr>
            <a:lvl6pPr lvl="5" algn="ctr" rtl="0">
              <a:spcBef>
                <a:spcPts val="0"/>
              </a:spcBef>
              <a:spcAft>
                <a:spcPts val="0"/>
              </a:spcAft>
              <a:buClr>
                <a:schemeClr val="lt1"/>
              </a:buClr>
              <a:buSzPts val="2000"/>
              <a:buNone/>
              <a:defRPr sz="2025">
                <a:solidFill>
                  <a:schemeClr val="lt1"/>
                </a:solidFill>
              </a:defRPr>
            </a:lvl6pPr>
            <a:lvl7pPr lvl="6" algn="ctr" rtl="0">
              <a:spcBef>
                <a:spcPts val="0"/>
              </a:spcBef>
              <a:spcAft>
                <a:spcPts val="0"/>
              </a:spcAft>
              <a:buClr>
                <a:schemeClr val="lt1"/>
              </a:buClr>
              <a:buSzPts val="2000"/>
              <a:buNone/>
              <a:defRPr sz="2025">
                <a:solidFill>
                  <a:schemeClr val="lt1"/>
                </a:solidFill>
              </a:defRPr>
            </a:lvl7pPr>
            <a:lvl8pPr lvl="7" algn="ctr" rtl="0">
              <a:spcBef>
                <a:spcPts val="0"/>
              </a:spcBef>
              <a:spcAft>
                <a:spcPts val="0"/>
              </a:spcAft>
              <a:buClr>
                <a:schemeClr val="lt1"/>
              </a:buClr>
              <a:buSzPts val="2000"/>
              <a:buNone/>
              <a:defRPr sz="2025">
                <a:solidFill>
                  <a:schemeClr val="lt1"/>
                </a:solidFill>
              </a:defRPr>
            </a:lvl8pPr>
            <a:lvl9pPr lvl="8" algn="ctr" rtl="0">
              <a:spcBef>
                <a:spcPts val="0"/>
              </a:spcBef>
              <a:spcAft>
                <a:spcPts val="0"/>
              </a:spcAft>
              <a:buClr>
                <a:schemeClr val="lt1"/>
              </a:buClr>
              <a:buSzPts val="2000"/>
              <a:buNone/>
              <a:defRPr sz="2025">
                <a:solidFill>
                  <a:schemeClr val="lt1"/>
                </a:solidFill>
              </a:defRPr>
            </a:lvl9pPr>
          </a:lstStyle>
          <a:p>
            <a:r>
              <a:t>xx%</a:t>
            </a:r>
          </a:p>
        </p:txBody>
      </p:sp>
    </p:spTree>
    <p:extLst>
      <p:ext uri="{BB962C8B-B14F-4D97-AF65-F5344CB8AC3E}">
        <p14:creationId xmlns:p14="http://schemas.microsoft.com/office/powerpoint/2010/main" val="32884863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ree columns of text">
  <p:cSld name="Three columns of text">
    <p:spTree>
      <p:nvGrpSpPr>
        <p:cNvPr id="1" name="Shape 637"/>
        <p:cNvGrpSpPr/>
        <p:nvPr/>
      </p:nvGrpSpPr>
      <p:grpSpPr>
        <a:xfrm>
          <a:off x="0" y="0"/>
          <a:ext cx="0" cy="0"/>
          <a:chOff x="0" y="0"/>
          <a:chExt cx="0" cy="0"/>
        </a:xfrm>
      </p:grpSpPr>
      <p:sp>
        <p:nvSpPr>
          <p:cNvPr id="638" name="Google Shape;638;p14"/>
          <p:cNvSpPr txBox="1">
            <a:spLocks noGrp="1"/>
          </p:cNvSpPr>
          <p:nvPr>
            <p:ph type="title"/>
          </p:nvPr>
        </p:nvSpPr>
        <p:spPr>
          <a:xfrm>
            <a:off x="1719072" y="338328"/>
            <a:ext cx="5577900" cy="594300"/>
          </a:xfrm>
          <a:prstGeom prst="rect">
            <a:avLst/>
          </a:prstGeom>
        </p:spPr>
        <p:txBody>
          <a:bodyPr spcFirstLastPara="1" wrap="square" lIns="121897" tIns="121897" rIns="121897" bIns="121897" anchor="t"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639" name="Google Shape;639;p14"/>
          <p:cNvSpPr txBox="1">
            <a:spLocks noGrp="1"/>
          </p:cNvSpPr>
          <p:nvPr>
            <p:ph type="subTitle" idx="1"/>
          </p:nvPr>
        </p:nvSpPr>
        <p:spPr>
          <a:xfrm>
            <a:off x="3694176" y="2414016"/>
            <a:ext cx="1764900" cy="329100"/>
          </a:xfrm>
          <a:prstGeom prst="rect">
            <a:avLst/>
          </a:prstGeom>
          <a:noFill/>
          <a:ln>
            <a:noFill/>
          </a:ln>
        </p:spPr>
        <p:txBody>
          <a:bodyPr spcFirstLastPara="1" wrap="square" lIns="121897" tIns="121897" rIns="121897" bIns="121897" anchor="t" anchorCtr="0">
            <a:noAutofit/>
          </a:bodyPr>
          <a:lstStyle>
            <a:lvl1pPr lvl="0"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1pPr>
            <a:lvl2pPr lvl="1"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2pPr>
            <a:lvl3pPr lvl="2"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3pPr>
            <a:lvl4pPr lvl="3"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4pPr>
            <a:lvl5pPr lvl="4"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5pPr>
            <a:lvl6pPr lvl="5"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6pPr>
            <a:lvl7pPr lvl="6"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7pPr>
            <a:lvl8pPr lvl="7"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8pPr>
            <a:lvl9pPr lvl="8"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40" name="Google Shape;640;p14"/>
          <p:cNvSpPr txBox="1">
            <a:spLocks noGrp="1"/>
          </p:cNvSpPr>
          <p:nvPr>
            <p:ph type="subTitle" idx="2"/>
          </p:nvPr>
        </p:nvSpPr>
        <p:spPr>
          <a:xfrm>
            <a:off x="1024128" y="2414016"/>
            <a:ext cx="1764900" cy="329100"/>
          </a:xfrm>
          <a:prstGeom prst="rect">
            <a:avLst/>
          </a:prstGeom>
          <a:noFill/>
          <a:ln>
            <a:noFill/>
          </a:ln>
        </p:spPr>
        <p:txBody>
          <a:bodyPr spcFirstLastPara="1" wrap="square" lIns="121897" tIns="121897" rIns="121897" bIns="121897" anchor="t" anchorCtr="0">
            <a:noAutofit/>
          </a:bodyPr>
          <a:lstStyle>
            <a:lvl1pPr lvl="0"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1pPr>
            <a:lvl2pPr lvl="1"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2pPr>
            <a:lvl3pPr lvl="2"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3pPr>
            <a:lvl4pPr lvl="3"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4pPr>
            <a:lvl5pPr lvl="4"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5pPr>
            <a:lvl6pPr lvl="5"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6pPr>
            <a:lvl7pPr lvl="6"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7pPr>
            <a:lvl8pPr lvl="7"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8pPr>
            <a:lvl9pPr lvl="8"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41" name="Google Shape;641;p14"/>
          <p:cNvSpPr txBox="1">
            <a:spLocks noGrp="1"/>
          </p:cNvSpPr>
          <p:nvPr>
            <p:ph type="subTitle" idx="3"/>
          </p:nvPr>
        </p:nvSpPr>
        <p:spPr>
          <a:xfrm>
            <a:off x="6355080" y="2414016"/>
            <a:ext cx="1764900" cy="329100"/>
          </a:xfrm>
          <a:prstGeom prst="rect">
            <a:avLst/>
          </a:prstGeom>
          <a:noFill/>
          <a:ln>
            <a:noFill/>
          </a:ln>
        </p:spPr>
        <p:txBody>
          <a:bodyPr spcFirstLastPara="1" wrap="square" lIns="121897" tIns="121897" rIns="121897" bIns="121897" anchor="t" anchorCtr="0">
            <a:noAutofit/>
          </a:bodyPr>
          <a:lstStyle>
            <a:lvl1pPr lvl="0"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1pPr>
            <a:lvl2pPr lvl="1"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2pPr>
            <a:lvl3pPr lvl="2"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3pPr>
            <a:lvl4pPr lvl="3"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4pPr>
            <a:lvl5pPr lvl="4"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5pPr>
            <a:lvl6pPr lvl="5"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6pPr>
            <a:lvl7pPr lvl="6"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7pPr>
            <a:lvl8pPr lvl="7"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8pPr>
            <a:lvl9pPr lvl="8" algn="ctr" rtl="0">
              <a:spcBef>
                <a:spcPts val="0"/>
              </a:spcBef>
              <a:spcAft>
                <a:spcPts val="0"/>
              </a:spcAft>
              <a:buNone/>
              <a:defRPr sz="1800">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42" name="Google Shape;642;p14"/>
          <p:cNvSpPr txBox="1">
            <a:spLocks noGrp="1"/>
          </p:cNvSpPr>
          <p:nvPr>
            <p:ph type="subTitle" idx="4"/>
          </p:nvPr>
        </p:nvSpPr>
        <p:spPr>
          <a:xfrm>
            <a:off x="3694176" y="2825496"/>
            <a:ext cx="1764900" cy="1079100"/>
          </a:xfrm>
          <a:prstGeom prst="rect">
            <a:avLst/>
          </a:prstGeom>
          <a:noFill/>
          <a:ln>
            <a:noFill/>
          </a:ln>
        </p:spPr>
        <p:txBody>
          <a:bodyPr spcFirstLastPara="1" wrap="square" lIns="121897" tIns="121897" rIns="121897" bIns="121897" anchor="t" anchorCtr="0">
            <a:noAutofit/>
          </a:bodyPr>
          <a:lstStyle>
            <a:lvl1pPr lvl="0"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1pPr>
            <a:lvl2pPr lvl="1"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2pPr>
            <a:lvl3pPr lvl="2"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3pPr>
            <a:lvl4pPr lvl="3"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4pPr>
            <a:lvl5pPr lvl="4"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5pPr>
            <a:lvl6pPr lvl="5"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6pPr>
            <a:lvl7pPr lvl="6"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7pPr>
            <a:lvl8pPr lvl="7"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8pPr>
            <a:lvl9pPr lvl="8"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9pPr>
          </a:lstStyle>
          <a:p>
            <a:endParaRPr/>
          </a:p>
        </p:txBody>
      </p:sp>
      <p:sp>
        <p:nvSpPr>
          <p:cNvPr id="643" name="Google Shape;643;p14"/>
          <p:cNvSpPr txBox="1">
            <a:spLocks noGrp="1"/>
          </p:cNvSpPr>
          <p:nvPr>
            <p:ph type="subTitle" idx="5"/>
          </p:nvPr>
        </p:nvSpPr>
        <p:spPr>
          <a:xfrm>
            <a:off x="1024128" y="2825496"/>
            <a:ext cx="1764900" cy="1079100"/>
          </a:xfrm>
          <a:prstGeom prst="rect">
            <a:avLst/>
          </a:prstGeom>
          <a:noFill/>
          <a:ln>
            <a:noFill/>
          </a:ln>
        </p:spPr>
        <p:txBody>
          <a:bodyPr spcFirstLastPara="1" wrap="square" lIns="121897" tIns="121897" rIns="121897" bIns="121897" anchor="t" anchorCtr="0">
            <a:noAutofit/>
          </a:bodyPr>
          <a:lstStyle>
            <a:lvl1pPr lvl="0"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1pPr>
            <a:lvl2pPr lvl="1"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2pPr>
            <a:lvl3pPr lvl="2"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3pPr>
            <a:lvl4pPr lvl="3"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4pPr>
            <a:lvl5pPr lvl="4"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5pPr>
            <a:lvl6pPr lvl="5"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6pPr>
            <a:lvl7pPr lvl="6"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7pPr>
            <a:lvl8pPr lvl="7"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8pPr>
            <a:lvl9pPr lvl="8"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9pPr>
          </a:lstStyle>
          <a:p>
            <a:endParaRPr/>
          </a:p>
        </p:txBody>
      </p:sp>
      <p:sp>
        <p:nvSpPr>
          <p:cNvPr id="644" name="Google Shape;644;p14"/>
          <p:cNvSpPr txBox="1">
            <a:spLocks noGrp="1"/>
          </p:cNvSpPr>
          <p:nvPr>
            <p:ph type="subTitle" idx="6"/>
          </p:nvPr>
        </p:nvSpPr>
        <p:spPr>
          <a:xfrm>
            <a:off x="6355080" y="2825496"/>
            <a:ext cx="1764900" cy="1079100"/>
          </a:xfrm>
          <a:prstGeom prst="rect">
            <a:avLst/>
          </a:prstGeom>
          <a:noFill/>
          <a:ln>
            <a:noFill/>
          </a:ln>
        </p:spPr>
        <p:txBody>
          <a:bodyPr spcFirstLastPara="1" wrap="square" lIns="121897" tIns="121897" rIns="121897" bIns="121897" anchor="t" anchorCtr="0">
            <a:noAutofit/>
          </a:bodyPr>
          <a:lstStyle>
            <a:lvl1pPr lvl="0"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1pPr>
            <a:lvl2pPr lvl="1"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2pPr>
            <a:lvl3pPr lvl="2"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3pPr>
            <a:lvl4pPr lvl="3"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4pPr>
            <a:lvl5pPr lvl="4"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5pPr>
            <a:lvl6pPr lvl="5"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6pPr>
            <a:lvl7pPr lvl="6"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7pPr>
            <a:lvl8pPr lvl="7"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8pPr>
            <a:lvl9pPr lvl="8" algn="ctr" rtl="0">
              <a:spcBef>
                <a:spcPts val="0"/>
              </a:spcBef>
              <a:spcAft>
                <a:spcPts val="0"/>
              </a:spcAft>
              <a:buNone/>
              <a:defRPr sz="1575">
                <a:solidFill>
                  <a:schemeClr val="dk2"/>
                </a:solidFill>
                <a:latin typeface="Barlow Semi Condensed"/>
                <a:ea typeface="Barlow Semi Condensed"/>
                <a:cs typeface="Barlow Semi Condensed"/>
                <a:sym typeface="Barlow Semi Condensed"/>
              </a:defRPr>
            </a:lvl9pPr>
          </a:lstStyle>
          <a:p>
            <a:endParaRPr/>
          </a:p>
        </p:txBody>
      </p:sp>
      <p:grpSp>
        <p:nvGrpSpPr>
          <p:cNvPr id="645" name="Google Shape;645;p14"/>
          <p:cNvGrpSpPr/>
          <p:nvPr/>
        </p:nvGrpSpPr>
        <p:grpSpPr>
          <a:xfrm>
            <a:off x="261712" y="-1158"/>
            <a:ext cx="8550326" cy="3981600"/>
            <a:chOff x="261711" y="-1158"/>
            <a:chExt cx="8550326" cy="3981600"/>
          </a:xfrm>
        </p:grpSpPr>
        <p:cxnSp>
          <p:nvCxnSpPr>
            <p:cNvPr id="646" name="Google Shape;646;p14"/>
            <p:cNvCxnSpPr/>
            <p:nvPr/>
          </p:nvCxnSpPr>
          <p:spPr>
            <a:xfrm>
              <a:off x="515925" y="-1158"/>
              <a:ext cx="0" cy="3981600"/>
            </a:xfrm>
            <a:prstGeom prst="straightConnector1">
              <a:avLst/>
            </a:prstGeom>
            <a:noFill/>
            <a:ln w="9525" cap="flat" cmpd="sng">
              <a:solidFill>
                <a:schemeClr val="dk1"/>
              </a:solidFill>
              <a:prstDash val="solid"/>
              <a:round/>
              <a:headEnd type="none" w="med" len="med"/>
              <a:tailEnd type="none" w="med" len="med"/>
            </a:ln>
          </p:spPr>
        </p:cxnSp>
        <p:cxnSp>
          <p:nvCxnSpPr>
            <p:cNvPr id="647" name="Google Shape;647;p14"/>
            <p:cNvCxnSpPr/>
            <p:nvPr/>
          </p:nvCxnSpPr>
          <p:spPr>
            <a:xfrm>
              <a:off x="8666025" y="-1158"/>
              <a:ext cx="0" cy="1902000"/>
            </a:xfrm>
            <a:prstGeom prst="straightConnector1">
              <a:avLst/>
            </a:prstGeom>
            <a:noFill/>
            <a:ln w="9525" cap="flat" cmpd="sng">
              <a:solidFill>
                <a:schemeClr val="dk1"/>
              </a:solidFill>
              <a:prstDash val="solid"/>
              <a:round/>
              <a:headEnd type="none" w="med" len="med"/>
              <a:tailEnd type="none" w="med" len="med"/>
            </a:ln>
          </p:spPr>
        </p:cxnSp>
        <p:grpSp>
          <p:nvGrpSpPr>
            <p:cNvPr id="648" name="Google Shape;648;p14"/>
            <p:cNvGrpSpPr/>
            <p:nvPr/>
          </p:nvGrpSpPr>
          <p:grpSpPr>
            <a:xfrm rot="10800000">
              <a:off x="343275" y="3300779"/>
              <a:ext cx="344736" cy="345385"/>
              <a:chOff x="7353050" y="316275"/>
              <a:chExt cx="292025" cy="292575"/>
            </a:xfrm>
          </p:grpSpPr>
          <p:sp>
            <p:nvSpPr>
              <p:cNvPr id="649" name="Google Shape;649;p14"/>
              <p:cNvSpPr/>
              <p:nvPr/>
            </p:nvSpPr>
            <p:spPr>
              <a:xfrm>
                <a:off x="7358075" y="321275"/>
                <a:ext cx="282550" cy="282550"/>
              </a:xfrm>
              <a:custGeom>
                <a:avLst/>
                <a:gdLst/>
                <a:ahLst/>
                <a:cxnLst/>
                <a:rect l="l" t="t" r="r" b="b"/>
                <a:pathLst>
                  <a:path w="11302" h="11302" extrusionOk="0">
                    <a:moveTo>
                      <a:pt x="5640" y="1"/>
                    </a:moveTo>
                    <a:cubicBezTo>
                      <a:pt x="2519" y="1"/>
                      <a:pt x="0" y="2520"/>
                      <a:pt x="0" y="5640"/>
                    </a:cubicBezTo>
                    <a:cubicBezTo>
                      <a:pt x="0" y="8783"/>
                      <a:pt x="2519" y="11302"/>
                      <a:pt x="5640" y="11302"/>
                    </a:cubicBezTo>
                    <a:cubicBezTo>
                      <a:pt x="8783" y="11302"/>
                      <a:pt x="11301" y="8783"/>
                      <a:pt x="11301" y="5640"/>
                    </a:cubicBezTo>
                    <a:cubicBezTo>
                      <a:pt x="11301" y="2520"/>
                      <a:pt x="8783" y="1"/>
                      <a:pt x="5640" y="1"/>
                    </a:cubicBezTo>
                    <a:close/>
                  </a:path>
                </a:pathLst>
              </a:custGeom>
              <a:solidFill>
                <a:schemeClr val="l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50" name="Google Shape;650;p14"/>
              <p:cNvSpPr/>
              <p:nvPr/>
            </p:nvSpPr>
            <p:spPr>
              <a:xfrm>
                <a:off x="7353050" y="316275"/>
                <a:ext cx="292025" cy="292575"/>
              </a:xfrm>
              <a:custGeom>
                <a:avLst/>
                <a:gdLst/>
                <a:ahLst/>
                <a:cxnLst/>
                <a:rect l="l" t="t" r="r" b="b"/>
                <a:pathLst>
                  <a:path w="11681" h="11703" extrusionOk="0">
                    <a:moveTo>
                      <a:pt x="5841" y="379"/>
                    </a:moveTo>
                    <a:cubicBezTo>
                      <a:pt x="7356" y="379"/>
                      <a:pt x="8716" y="981"/>
                      <a:pt x="9719" y="1984"/>
                    </a:cubicBezTo>
                    <a:cubicBezTo>
                      <a:pt x="10700" y="2965"/>
                      <a:pt x="11324" y="4347"/>
                      <a:pt x="11324" y="5840"/>
                    </a:cubicBezTo>
                    <a:cubicBezTo>
                      <a:pt x="11324" y="7356"/>
                      <a:pt x="10700" y="8738"/>
                      <a:pt x="9719" y="9719"/>
                    </a:cubicBezTo>
                    <a:cubicBezTo>
                      <a:pt x="8716" y="10699"/>
                      <a:pt x="7356" y="11324"/>
                      <a:pt x="5841" y="11324"/>
                    </a:cubicBezTo>
                    <a:cubicBezTo>
                      <a:pt x="4347" y="11324"/>
                      <a:pt x="2965" y="10699"/>
                      <a:pt x="1984" y="9719"/>
                    </a:cubicBezTo>
                    <a:cubicBezTo>
                      <a:pt x="981" y="8738"/>
                      <a:pt x="380" y="7356"/>
                      <a:pt x="380" y="5840"/>
                    </a:cubicBezTo>
                    <a:cubicBezTo>
                      <a:pt x="380" y="4347"/>
                      <a:pt x="981" y="2965"/>
                      <a:pt x="1984" y="1984"/>
                    </a:cubicBezTo>
                    <a:cubicBezTo>
                      <a:pt x="2965" y="981"/>
                      <a:pt x="4347" y="379"/>
                      <a:pt x="5841" y="379"/>
                    </a:cubicBezTo>
                    <a:close/>
                    <a:moveTo>
                      <a:pt x="5841" y="0"/>
                    </a:moveTo>
                    <a:cubicBezTo>
                      <a:pt x="2631" y="0"/>
                      <a:pt x="1" y="2630"/>
                      <a:pt x="1" y="5840"/>
                    </a:cubicBezTo>
                    <a:cubicBezTo>
                      <a:pt x="1" y="9072"/>
                      <a:pt x="2631" y="11703"/>
                      <a:pt x="5841" y="11703"/>
                    </a:cubicBezTo>
                    <a:cubicBezTo>
                      <a:pt x="9073" y="11703"/>
                      <a:pt x="11681" y="9072"/>
                      <a:pt x="11681" y="5840"/>
                    </a:cubicBezTo>
                    <a:cubicBezTo>
                      <a:pt x="11681" y="2630"/>
                      <a:pt x="9073" y="0"/>
                      <a:pt x="5841"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51" name="Google Shape;651;p14"/>
              <p:cNvSpPr/>
              <p:nvPr/>
            </p:nvSpPr>
            <p:spPr>
              <a:xfrm>
                <a:off x="7419925" y="383125"/>
                <a:ext cx="158275" cy="158300"/>
              </a:xfrm>
              <a:custGeom>
                <a:avLst/>
                <a:gdLst/>
                <a:ahLst/>
                <a:cxnLst/>
                <a:rect l="l" t="t" r="r" b="b"/>
                <a:pathLst>
                  <a:path w="6331" h="6332" extrusionOk="0">
                    <a:moveTo>
                      <a:pt x="3166" y="1"/>
                    </a:moveTo>
                    <a:cubicBezTo>
                      <a:pt x="1427" y="1"/>
                      <a:pt x="0" y="1428"/>
                      <a:pt x="0" y="3166"/>
                    </a:cubicBezTo>
                    <a:cubicBezTo>
                      <a:pt x="0" y="4927"/>
                      <a:pt x="1427" y="6331"/>
                      <a:pt x="3166" y="6331"/>
                    </a:cubicBezTo>
                    <a:cubicBezTo>
                      <a:pt x="4927" y="6331"/>
                      <a:pt x="6331" y="4927"/>
                      <a:pt x="6331" y="3166"/>
                    </a:cubicBezTo>
                    <a:cubicBezTo>
                      <a:pt x="6331" y="1428"/>
                      <a:pt x="4927" y="1"/>
                      <a:pt x="3166"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52" name="Google Shape;652;p14"/>
              <p:cNvSpPr/>
              <p:nvPr/>
            </p:nvSpPr>
            <p:spPr>
              <a:xfrm>
                <a:off x="7415475" y="378675"/>
                <a:ext cx="167750" cy="167775"/>
              </a:xfrm>
              <a:custGeom>
                <a:avLst/>
                <a:gdLst/>
                <a:ahLst/>
                <a:cxnLst/>
                <a:rect l="l" t="t" r="r" b="b"/>
                <a:pathLst>
                  <a:path w="6710" h="6711" extrusionOk="0">
                    <a:moveTo>
                      <a:pt x="3344" y="380"/>
                    </a:moveTo>
                    <a:cubicBezTo>
                      <a:pt x="4168" y="380"/>
                      <a:pt x="4926" y="714"/>
                      <a:pt x="5461" y="1249"/>
                    </a:cubicBezTo>
                    <a:cubicBezTo>
                      <a:pt x="5996" y="1784"/>
                      <a:pt x="6330" y="2519"/>
                      <a:pt x="6330" y="3344"/>
                    </a:cubicBezTo>
                    <a:cubicBezTo>
                      <a:pt x="6330" y="4169"/>
                      <a:pt x="5996" y="4927"/>
                      <a:pt x="5461" y="5462"/>
                    </a:cubicBezTo>
                    <a:cubicBezTo>
                      <a:pt x="4926" y="5997"/>
                      <a:pt x="4168" y="6331"/>
                      <a:pt x="3344" y="6331"/>
                    </a:cubicBezTo>
                    <a:cubicBezTo>
                      <a:pt x="2519" y="6331"/>
                      <a:pt x="1783" y="5997"/>
                      <a:pt x="1248" y="5462"/>
                    </a:cubicBezTo>
                    <a:cubicBezTo>
                      <a:pt x="713" y="4927"/>
                      <a:pt x="379" y="4169"/>
                      <a:pt x="379" y="3344"/>
                    </a:cubicBezTo>
                    <a:cubicBezTo>
                      <a:pt x="379" y="2519"/>
                      <a:pt x="713" y="1784"/>
                      <a:pt x="1248" y="1249"/>
                    </a:cubicBezTo>
                    <a:cubicBezTo>
                      <a:pt x="1783" y="714"/>
                      <a:pt x="2519" y="380"/>
                      <a:pt x="3344" y="380"/>
                    </a:cubicBezTo>
                    <a:close/>
                    <a:moveTo>
                      <a:pt x="3344" y="1"/>
                    </a:moveTo>
                    <a:cubicBezTo>
                      <a:pt x="1494" y="1"/>
                      <a:pt x="0" y="1494"/>
                      <a:pt x="0" y="3344"/>
                    </a:cubicBezTo>
                    <a:cubicBezTo>
                      <a:pt x="0" y="5194"/>
                      <a:pt x="1494" y="6710"/>
                      <a:pt x="3344" y="6710"/>
                    </a:cubicBezTo>
                    <a:cubicBezTo>
                      <a:pt x="5194" y="6710"/>
                      <a:pt x="6709" y="5194"/>
                      <a:pt x="6709" y="3344"/>
                    </a:cubicBezTo>
                    <a:cubicBezTo>
                      <a:pt x="6709" y="1494"/>
                      <a:pt x="5194" y="1"/>
                      <a:pt x="3344"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653" name="Google Shape;653;p14"/>
            <p:cNvGrpSpPr/>
            <p:nvPr/>
          </p:nvGrpSpPr>
          <p:grpSpPr>
            <a:xfrm rot="10800000">
              <a:off x="8520013" y="714742"/>
              <a:ext cx="292025" cy="292575"/>
              <a:chOff x="7353050" y="316275"/>
              <a:chExt cx="292025" cy="292575"/>
            </a:xfrm>
          </p:grpSpPr>
          <p:sp>
            <p:nvSpPr>
              <p:cNvPr id="654" name="Google Shape;654;p14"/>
              <p:cNvSpPr/>
              <p:nvPr/>
            </p:nvSpPr>
            <p:spPr>
              <a:xfrm>
                <a:off x="7358075" y="321275"/>
                <a:ext cx="282550" cy="282550"/>
              </a:xfrm>
              <a:custGeom>
                <a:avLst/>
                <a:gdLst/>
                <a:ahLst/>
                <a:cxnLst/>
                <a:rect l="l" t="t" r="r" b="b"/>
                <a:pathLst>
                  <a:path w="11302" h="11302" extrusionOk="0">
                    <a:moveTo>
                      <a:pt x="5640" y="1"/>
                    </a:moveTo>
                    <a:cubicBezTo>
                      <a:pt x="2519" y="1"/>
                      <a:pt x="0" y="2520"/>
                      <a:pt x="0" y="5640"/>
                    </a:cubicBezTo>
                    <a:cubicBezTo>
                      <a:pt x="0" y="8783"/>
                      <a:pt x="2519" y="11302"/>
                      <a:pt x="5640" y="11302"/>
                    </a:cubicBezTo>
                    <a:cubicBezTo>
                      <a:pt x="8783" y="11302"/>
                      <a:pt x="11301" y="8783"/>
                      <a:pt x="11301" y="5640"/>
                    </a:cubicBezTo>
                    <a:cubicBezTo>
                      <a:pt x="11301" y="2520"/>
                      <a:pt x="8783" y="1"/>
                      <a:pt x="5640" y="1"/>
                    </a:cubicBezTo>
                    <a:close/>
                  </a:path>
                </a:pathLst>
              </a:custGeom>
              <a:solidFill>
                <a:schemeClr val="l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55" name="Google Shape;655;p14"/>
              <p:cNvSpPr/>
              <p:nvPr/>
            </p:nvSpPr>
            <p:spPr>
              <a:xfrm>
                <a:off x="7353050" y="316275"/>
                <a:ext cx="292025" cy="292575"/>
              </a:xfrm>
              <a:custGeom>
                <a:avLst/>
                <a:gdLst/>
                <a:ahLst/>
                <a:cxnLst/>
                <a:rect l="l" t="t" r="r" b="b"/>
                <a:pathLst>
                  <a:path w="11681" h="11703" extrusionOk="0">
                    <a:moveTo>
                      <a:pt x="5841" y="379"/>
                    </a:moveTo>
                    <a:cubicBezTo>
                      <a:pt x="7356" y="379"/>
                      <a:pt x="8716" y="981"/>
                      <a:pt x="9719" y="1984"/>
                    </a:cubicBezTo>
                    <a:cubicBezTo>
                      <a:pt x="10700" y="2965"/>
                      <a:pt x="11324" y="4347"/>
                      <a:pt x="11324" y="5840"/>
                    </a:cubicBezTo>
                    <a:cubicBezTo>
                      <a:pt x="11324" y="7356"/>
                      <a:pt x="10700" y="8738"/>
                      <a:pt x="9719" y="9719"/>
                    </a:cubicBezTo>
                    <a:cubicBezTo>
                      <a:pt x="8716" y="10699"/>
                      <a:pt x="7356" y="11324"/>
                      <a:pt x="5841" y="11324"/>
                    </a:cubicBezTo>
                    <a:cubicBezTo>
                      <a:pt x="4347" y="11324"/>
                      <a:pt x="2965" y="10699"/>
                      <a:pt x="1984" y="9719"/>
                    </a:cubicBezTo>
                    <a:cubicBezTo>
                      <a:pt x="981" y="8738"/>
                      <a:pt x="380" y="7356"/>
                      <a:pt x="380" y="5840"/>
                    </a:cubicBezTo>
                    <a:cubicBezTo>
                      <a:pt x="380" y="4347"/>
                      <a:pt x="981" y="2965"/>
                      <a:pt x="1984" y="1984"/>
                    </a:cubicBezTo>
                    <a:cubicBezTo>
                      <a:pt x="2965" y="981"/>
                      <a:pt x="4347" y="379"/>
                      <a:pt x="5841" y="379"/>
                    </a:cubicBezTo>
                    <a:close/>
                    <a:moveTo>
                      <a:pt x="5841" y="0"/>
                    </a:moveTo>
                    <a:cubicBezTo>
                      <a:pt x="2631" y="0"/>
                      <a:pt x="1" y="2630"/>
                      <a:pt x="1" y="5840"/>
                    </a:cubicBezTo>
                    <a:cubicBezTo>
                      <a:pt x="1" y="9072"/>
                      <a:pt x="2631" y="11703"/>
                      <a:pt x="5841" y="11703"/>
                    </a:cubicBezTo>
                    <a:cubicBezTo>
                      <a:pt x="9073" y="11703"/>
                      <a:pt x="11681" y="9072"/>
                      <a:pt x="11681" y="5840"/>
                    </a:cubicBezTo>
                    <a:cubicBezTo>
                      <a:pt x="11681" y="2630"/>
                      <a:pt x="9073" y="0"/>
                      <a:pt x="5841"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56" name="Google Shape;656;p14"/>
              <p:cNvSpPr/>
              <p:nvPr/>
            </p:nvSpPr>
            <p:spPr>
              <a:xfrm>
                <a:off x="7419925" y="383125"/>
                <a:ext cx="158275" cy="158300"/>
              </a:xfrm>
              <a:custGeom>
                <a:avLst/>
                <a:gdLst/>
                <a:ahLst/>
                <a:cxnLst/>
                <a:rect l="l" t="t" r="r" b="b"/>
                <a:pathLst>
                  <a:path w="6331" h="6332" extrusionOk="0">
                    <a:moveTo>
                      <a:pt x="3166" y="1"/>
                    </a:moveTo>
                    <a:cubicBezTo>
                      <a:pt x="1427" y="1"/>
                      <a:pt x="0" y="1428"/>
                      <a:pt x="0" y="3166"/>
                    </a:cubicBezTo>
                    <a:cubicBezTo>
                      <a:pt x="0" y="4927"/>
                      <a:pt x="1427" y="6331"/>
                      <a:pt x="3166" y="6331"/>
                    </a:cubicBezTo>
                    <a:cubicBezTo>
                      <a:pt x="4927" y="6331"/>
                      <a:pt x="6331" y="4927"/>
                      <a:pt x="6331" y="3166"/>
                    </a:cubicBezTo>
                    <a:cubicBezTo>
                      <a:pt x="6331" y="1428"/>
                      <a:pt x="4927" y="1"/>
                      <a:pt x="3166"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57" name="Google Shape;657;p14"/>
              <p:cNvSpPr/>
              <p:nvPr/>
            </p:nvSpPr>
            <p:spPr>
              <a:xfrm>
                <a:off x="7415475" y="378675"/>
                <a:ext cx="167750" cy="167775"/>
              </a:xfrm>
              <a:custGeom>
                <a:avLst/>
                <a:gdLst/>
                <a:ahLst/>
                <a:cxnLst/>
                <a:rect l="l" t="t" r="r" b="b"/>
                <a:pathLst>
                  <a:path w="6710" h="6711" extrusionOk="0">
                    <a:moveTo>
                      <a:pt x="3344" y="380"/>
                    </a:moveTo>
                    <a:cubicBezTo>
                      <a:pt x="4168" y="380"/>
                      <a:pt x="4926" y="714"/>
                      <a:pt x="5461" y="1249"/>
                    </a:cubicBezTo>
                    <a:cubicBezTo>
                      <a:pt x="5996" y="1784"/>
                      <a:pt x="6330" y="2519"/>
                      <a:pt x="6330" y="3344"/>
                    </a:cubicBezTo>
                    <a:cubicBezTo>
                      <a:pt x="6330" y="4169"/>
                      <a:pt x="5996" y="4927"/>
                      <a:pt x="5461" y="5462"/>
                    </a:cubicBezTo>
                    <a:cubicBezTo>
                      <a:pt x="4926" y="5997"/>
                      <a:pt x="4168" y="6331"/>
                      <a:pt x="3344" y="6331"/>
                    </a:cubicBezTo>
                    <a:cubicBezTo>
                      <a:pt x="2519" y="6331"/>
                      <a:pt x="1783" y="5997"/>
                      <a:pt x="1248" y="5462"/>
                    </a:cubicBezTo>
                    <a:cubicBezTo>
                      <a:pt x="713" y="4927"/>
                      <a:pt x="379" y="4169"/>
                      <a:pt x="379" y="3344"/>
                    </a:cubicBezTo>
                    <a:cubicBezTo>
                      <a:pt x="379" y="2519"/>
                      <a:pt x="713" y="1784"/>
                      <a:pt x="1248" y="1249"/>
                    </a:cubicBezTo>
                    <a:cubicBezTo>
                      <a:pt x="1783" y="714"/>
                      <a:pt x="2519" y="380"/>
                      <a:pt x="3344" y="380"/>
                    </a:cubicBezTo>
                    <a:close/>
                    <a:moveTo>
                      <a:pt x="3344" y="1"/>
                    </a:moveTo>
                    <a:cubicBezTo>
                      <a:pt x="1494" y="1"/>
                      <a:pt x="0" y="1494"/>
                      <a:pt x="0" y="3344"/>
                    </a:cubicBezTo>
                    <a:cubicBezTo>
                      <a:pt x="0" y="5194"/>
                      <a:pt x="1494" y="6710"/>
                      <a:pt x="3344" y="6710"/>
                    </a:cubicBezTo>
                    <a:cubicBezTo>
                      <a:pt x="5194" y="6710"/>
                      <a:pt x="6709" y="5194"/>
                      <a:pt x="6709" y="3344"/>
                    </a:cubicBezTo>
                    <a:cubicBezTo>
                      <a:pt x="6709" y="1494"/>
                      <a:pt x="5194" y="1"/>
                      <a:pt x="3344"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658" name="Google Shape;658;p14"/>
            <p:cNvGrpSpPr/>
            <p:nvPr/>
          </p:nvGrpSpPr>
          <p:grpSpPr>
            <a:xfrm rot="10800000">
              <a:off x="261711" y="465077"/>
              <a:ext cx="507562" cy="507984"/>
              <a:chOff x="8064275" y="887850"/>
              <a:chExt cx="581800" cy="582350"/>
            </a:xfrm>
          </p:grpSpPr>
          <p:sp>
            <p:nvSpPr>
              <p:cNvPr id="659" name="Google Shape;659;p14"/>
              <p:cNvSpPr/>
              <p:nvPr/>
            </p:nvSpPr>
            <p:spPr>
              <a:xfrm>
                <a:off x="8068750" y="892875"/>
                <a:ext cx="572875" cy="572325"/>
              </a:xfrm>
              <a:custGeom>
                <a:avLst/>
                <a:gdLst/>
                <a:ahLst/>
                <a:cxnLst/>
                <a:rect l="l" t="t" r="r" b="b"/>
                <a:pathLst>
                  <a:path w="22915" h="22893" extrusionOk="0">
                    <a:moveTo>
                      <a:pt x="11457" y="0"/>
                    </a:moveTo>
                    <a:cubicBezTo>
                      <a:pt x="5127" y="0"/>
                      <a:pt x="0" y="5127"/>
                      <a:pt x="0" y="11435"/>
                    </a:cubicBezTo>
                    <a:cubicBezTo>
                      <a:pt x="0" y="17766"/>
                      <a:pt x="5127" y="22892"/>
                      <a:pt x="11457" y="22892"/>
                    </a:cubicBezTo>
                    <a:cubicBezTo>
                      <a:pt x="17788" y="22892"/>
                      <a:pt x="22914" y="17766"/>
                      <a:pt x="22914" y="11435"/>
                    </a:cubicBezTo>
                    <a:cubicBezTo>
                      <a:pt x="22914" y="5127"/>
                      <a:pt x="17788" y="0"/>
                      <a:pt x="11457" y="0"/>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60" name="Google Shape;660;p14"/>
              <p:cNvSpPr/>
              <p:nvPr/>
            </p:nvSpPr>
            <p:spPr>
              <a:xfrm>
                <a:off x="8064275" y="887850"/>
                <a:ext cx="581800" cy="582350"/>
              </a:xfrm>
              <a:custGeom>
                <a:avLst/>
                <a:gdLst/>
                <a:ahLst/>
                <a:cxnLst/>
                <a:rect l="l" t="t" r="r" b="b"/>
                <a:pathLst>
                  <a:path w="23272" h="23294" extrusionOk="0">
                    <a:moveTo>
                      <a:pt x="11636" y="380"/>
                    </a:moveTo>
                    <a:cubicBezTo>
                      <a:pt x="14757" y="380"/>
                      <a:pt x="17566" y="1628"/>
                      <a:pt x="19594" y="3679"/>
                    </a:cubicBezTo>
                    <a:cubicBezTo>
                      <a:pt x="21645" y="5707"/>
                      <a:pt x="22893" y="8538"/>
                      <a:pt x="22893" y="11636"/>
                    </a:cubicBezTo>
                    <a:cubicBezTo>
                      <a:pt x="22893" y="14757"/>
                      <a:pt x="21645" y="17565"/>
                      <a:pt x="19594" y="19616"/>
                    </a:cubicBezTo>
                    <a:cubicBezTo>
                      <a:pt x="17566" y="21644"/>
                      <a:pt x="14757" y="22915"/>
                      <a:pt x="11636" y="22915"/>
                    </a:cubicBezTo>
                    <a:cubicBezTo>
                      <a:pt x="8516" y="22915"/>
                      <a:pt x="5707" y="21644"/>
                      <a:pt x="3657" y="19616"/>
                    </a:cubicBezTo>
                    <a:cubicBezTo>
                      <a:pt x="1628" y="17565"/>
                      <a:pt x="358" y="14757"/>
                      <a:pt x="358" y="11636"/>
                    </a:cubicBezTo>
                    <a:cubicBezTo>
                      <a:pt x="358" y="8538"/>
                      <a:pt x="1628" y="5707"/>
                      <a:pt x="3657" y="3679"/>
                    </a:cubicBezTo>
                    <a:cubicBezTo>
                      <a:pt x="5707" y="1628"/>
                      <a:pt x="8516" y="380"/>
                      <a:pt x="11636" y="380"/>
                    </a:cubicBezTo>
                    <a:close/>
                    <a:moveTo>
                      <a:pt x="11636" y="1"/>
                    </a:moveTo>
                    <a:cubicBezTo>
                      <a:pt x="5217" y="1"/>
                      <a:pt x="1" y="5217"/>
                      <a:pt x="1" y="11636"/>
                    </a:cubicBezTo>
                    <a:cubicBezTo>
                      <a:pt x="1" y="18078"/>
                      <a:pt x="5217" y="23294"/>
                      <a:pt x="11636" y="23294"/>
                    </a:cubicBezTo>
                    <a:cubicBezTo>
                      <a:pt x="18056" y="23294"/>
                      <a:pt x="23272" y="18078"/>
                      <a:pt x="23272" y="11636"/>
                    </a:cubicBezTo>
                    <a:cubicBezTo>
                      <a:pt x="23272" y="5217"/>
                      <a:pt x="18056" y="1"/>
                      <a:pt x="11636"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61" name="Google Shape;661;p14"/>
              <p:cNvSpPr/>
              <p:nvPr/>
            </p:nvSpPr>
            <p:spPr>
              <a:xfrm>
                <a:off x="8141175" y="965325"/>
                <a:ext cx="428000" cy="427425"/>
              </a:xfrm>
              <a:custGeom>
                <a:avLst/>
                <a:gdLst/>
                <a:ahLst/>
                <a:cxnLst/>
                <a:rect l="l" t="t" r="r" b="b"/>
                <a:pathLst>
                  <a:path w="17120" h="17097" extrusionOk="0">
                    <a:moveTo>
                      <a:pt x="8560" y="0"/>
                    </a:moveTo>
                    <a:cubicBezTo>
                      <a:pt x="3835" y="0"/>
                      <a:pt x="1" y="3812"/>
                      <a:pt x="1" y="8537"/>
                    </a:cubicBezTo>
                    <a:cubicBezTo>
                      <a:pt x="1" y="13263"/>
                      <a:pt x="3835" y="17097"/>
                      <a:pt x="8560" y="17097"/>
                    </a:cubicBezTo>
                    <a:cubicBezTo>
                      <a:pt x="13286" y="17097"/>
                      <a:pt x="17120" y="13263"/>
                      <a:pt x="17120" y="8537"/>
                    </a:cubicBezTo>
                    <a:cubicBezTo>
                      <a:pt x="17120" y="3812"/>
                      <a:pt x="13286" y="0"/>
                      <a:pt x="8560" y="0"/>
                    </a:cubicBezTo>
                    <a:close/>
                  </a:path>
                </a:pathLst>
              </a:custGeom>
              <a:solidFill>
                <a:schemeClr val="l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62" name="Google Shape;662;p14"/>
              <p:cNvSpPr/>
              <p:nvPr/>
            </p:nvSpPr>
            <p:spPr>
              <a:xfrm>
                <a:off x="8136725" y="960300"/>
                <a:ext cx="436925" cy="437475"/>
              </a:xfrm>
              <a:custGeom>
                <a:avLst/>
                <a:gdLst/>
                <a:ahLst/>
                <a:cxnLst/>
                <a:rect l="l" t="t" r="r" b="b"/>
                <a:pathLst>
                  <a:path w="17477" h="17499" extrusionOk="0">
                    <a:moveTo>
                      <a:pt x="8738" y="379"/>
                    </a:moveTo>
                    <a:cubicBezTo>
                      <a:pt x="11057" y="379"/>
                      <a:pt x="13130" y="1316"/>
                      <a:pt x="14645" y="2831"/>
                    </a:cubicBezTo>
                    <a:cubicBezTo>
                      <a:pt x="16161" y="4347"/>
                      <a:pt x="17097" y="6442"/>
                      <a:pt x="17097" y="8738"/>
                    </a:cubicBezTo>
                    <a:cubicBezTo>
                      <a:pt x="17097" y="11056"/>
                      <a:pt x="16161" y="13152"/>
                      <a:pt x="14645" y="14667"/>
                    </a:cubicBezTo>
                    <a:cubicBezTo>
                      <a:pt x="13130" y="16183"/>
                      <a:pt x="11057" y="17119"/>
                      <a:pt x="8738" y="17119"/>
                    </a:cubicBezTo>
                    <a:cubicBezTo>
                      <a:pt x="6420" y="17119"/>
                      <a:pt x="4325" y="16183"/>
                      <a:pt x="2809" y="14667"/>
                    </a:cubicBezTo>
                    <a:cubicBezTo>
                      <a:pt x="1293" y="13152"/>
                      <a:pt x="357" y="11056"/>
                      <a:pt x="357" y="8738"/>
                    </a:cubicBezTo>
                    <a:cubicBezTo>
                      <a:pt x="357" y="6442"/>
                      <a:pt x="1293" y="4347"/>
                      <a:pt x="2809" y="2831"/>
                    </a:cubicBezTo>
                    <a:cubicBezTo>
                      <a:pt x="4325" y="1316"/>
                      <a:pt x="6420" y="379"/>
                      <a:pt x="8738" y="379"/>
                    </a:cubicBezTo>
                    <a:close/>
                    <a:moveTo>
                      <a:pt x="8738" y="0"/>
                    </a:moveTo>
                    <a:cubicBezTo>
                      <a:pt x="3901" y="0"/>
                      <a:pt x="1" y="3924"/>
                      <a:pt x="1" y="8738"/>
                    </a:cubicBezTo>
                    <a:cubicBezTo>
                      <a:pt x="1" y="13575"/>
                      <a:pt x="3901" y="17498"/>
                      <a:pt x="8738" y="17498"/>
                    </a:cubicBezTo>
                    <a:cubicBezTo>
                      <a:pt x="13553" y="17498"/>
                      <a:pt x="17476" y="13575"/>
                      <a:pt x="17476" y="8738"/>
                    </a:cubicBezTo>
                    <a:cubicBezTo>
                      <a:pt x="17476" y="3924"/>
                      <a:pt x="13553" y="0"/>
                      <a:pt x="8738"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63" name="Google Shape;663;p14"/>
              <p:cNvSpPr/>
              <p:nvPr/>
            </p:nvSpPr>
            <p:spPr>
              <a:xfrm>
                <a:off x="8219750" y="1043875"/>
                <a:ext cx="270300" cy="270300"/>
              </a:xfrm>
              <a:custGeom>
                <a:avLst/>
                <a:gdLst/>
                <a:ahLst/>
                <a:cxnLst/>
                <a:rect l="l" t="t" r="r" b="b"/>
                <a:pathLst>
                  <a:path w="10812" h="10812" extrusionOk="0">
                    <a:moveTo>
                      <a:pt x="5417" y="1"/>
                    </a:moveTo>
                    <a:cubicBezTo>
                      <a:pt x="2430" y="1"/>
                      <a:pt x="1" y="2431"/>
                      <a:pt x="1" y="5395"/>
                    </a:cubicBezTo>
                    <a:cubicBezTo>
                      <a:pt x="1" y="8382"/>
                      <a:pt x="2430" y="10812"/>
                      <a:pt x="5417" y="10812"/>
                    </a:cubicBezTo>
                    <a:cubicBezTo>
                      <a:pt x="8404" y="10812"/>
                      <a:pt x="10812" y="8382"/>
                      <a:pt x="10812" y="5395"/>
                    </a:cubicBezTo>
                    <a:cubicBezTo>
                      <a:pt x="10812" y="2431"/>
                      <a:pt x="8404" y="1"/>
                      <a:pt x="5417"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64" name="Google Shape;664;p14"/>
              <p:cNvSpPr/>
              <p:nvPr/>
            </p:nvSpPr>
            <p:spPr>
              <a:xfrm>
                <a:off x="8215300" y="1039425"/>
                <a:ext cx="279775" cy="279225"/>
              </a:xfrm>
              <a:custGeom>
                <a:avLst/>
                <a:gdLst/>
                <a:ahLst/>
                <a:cxnLst/>
                <a:rect l="l" t="t" r="r" b="b"/>
                <a:pathLst>
                  <a:path w="11191" h="11169" extrusionOk="0">
                    <a:moveTo>
                      <a:pt x="5595" y="357"/>
                    </a:moveTo>
                    <a:cubicBezTo>
                      <a:pt x="7044" y="357"/>
                      <a:pt x="8337" y="937"/>
                      <a:pt x="9273" y="1895"/>
                    </a:cubicBezTo>
                    <a:cubicBezTo>
                      <a:pt x="10232" y="2832"/>
                      <a:pt x="10811" y="4147"/>
                      <a:pt x="10811" y="5573"/>
                    </a:cubicBezTo>
                    <a:cubicBezTo>
                      <a:pt x="10811" y="7022"/>
                      <a:pt x="10232" y="8337"/>
                      <a:pt x="9273" y="9273"/>
                    </a:cubicBezTo>
                    <a:cubicBezTo>
                      <a:pt x="8337" y="10210"/>
                      <a:pt x="7044" y="10789"/>
                      <a:pt x="5595" y="10789"/>
                    </a:cubicBezTo>
                    <a:cubicBezTo>
                      <a:pt x="4147" y="10789"/>
                      <a:pt x="2854" y="10210"/>
                      <a:pt x="1895" y="9273"/>
                    </a:cubicBezTo>
                    <a:cubicBezTo>
                      <a:pt x="959" y="8337"/>
                      <a:pt x="379" y="7022"/>
                      <a:pt x="379" y="5573"/>
                    </a:cubicBezTo>
                    <a:cubicBezTo>
                      <a:pt x="379" y="4147"/>
                      <a:pt x="959" y="2832"/>
                      <a:pt x="1895" y="1895"/>
                    </a:cubicBezTo>
                    <a:cubicBezTo>
                      <a:pt x="2854" y="937"/>
                      <a:pt x="4147" y="357"/>
                      <a:pt x="5595" y="357"/>
                    </a:cubicBezTo>
                    <a:close/>
                    <a:moveTo>
                      <a:pt x="5595" y="1"/>
                    </a:moveTo>
                    <a:cubicBezTo>
                      <a:pt x="2497" y="1"/>
                      <a:pt x="1" y="2497"/>
                      <a:pt x="1" y="5573"/>
                    </a:cubicBezTo>
                    <a:cubicBezTo>
                      <a:pt x="1" y="8672"/>
                      <a:pt x="2497" y="11168"/>
                      <a:pt x="5595" y="11168"/>
                    </a:cubicBezTo>
                    <a:cubicBezTo>
                      <a:pt x="8671" y="11168"/>
                      <a:pt x="11190" y="8672"/>
                      <a:pt x="11190" y="5573"/>
                    </a:cubicBezTo>
                    <a:cubicBezTo>
                      <a:pt x="11190" y="2497"/>
                      <a:pt x="8671" y="1"/>
                      <a:pt x="5595"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spTree>
    <p:extLst>
      <p:ext uri="{BB962C8B-B14F-4D97-AF65-F5344CB8AC3E}">
        <p14:creationId xmlns:p14="http://schemas.microsoft.com/office/powerpoint/2010/main" val="1306348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Four columns of text">
  <p:cSld name="Four columns of text">
    <p:spTree>
      <p:nvGrpSpPr>
        <p:cNvPr id="1" name="Shape 665"/>
        <p:cNvGrpSpPr/>
        <p:nvPr/>
      </p:nvGrpSpPr>
      <p:grpSpPr>
        <a:xfrm>
          <a:off x="0" y="0"/>
          <a:ext cx="0" cy="0"/>
          <a:chOff x="0" y="0"/>
          <a:chExt cx="0" cy="0"/>
        </a:xfrm>
      </p:grpSpPr>
      <p:sp>
        <p:nvSpPr>
          <p:cNvPr id="666" name="Google Shape;666;p15"/>
          <p:cNvSpPr txBox="1">
            <a:spLocks noGrp="1"/>
          </p:cNvSpPr>
          <p:nvPr>
            <p:ph type="title"/>
          </p:nvPr>
        </p:nvSpPr>
        <p:spPr>
          <a:xfrm>
            <a:off x="1568775" y="442350"/>
            <a:ext cx="6006300" cy="595800"/>
          </a:xfrm>
          <a:prstGeom prst="rect">
            <a:avLst/>
          </a:prstGeom>
        </p:spPr>
        <p:txBody>
          <a:bodyPr spcFirstLastPara="1" wrap="square" lIns="121897" tIns="121897" rIns="121897" bIns="121897" anchor="t" anchorCtr="0">
            <a:noAutofit/>
          </a:bodyPr>
          <a:lstStyle>
            <a:lvl1pPr lvl="0" algn="ctr" rtl="0">
              <a:spcBef>
                <a:spcPts val="0"/>
              </a:spcBef>
              <a:spcAft>
                <a:spcPts val="0"/>
              </a:spcAft>
              <a:buSzPts val="2800"/>
              <a:buNone/>
              <a:defRPr/>
            </a:lvl1pPr>
            <a:lvl2pPr lvl="1" algn="ctr" rtl="0">
              <a:spcBef>
                <a:spcPts val="0"/>
              </a:spcBef>
              <a:spcAft>
                <a:spcPts val="0"/>
              </a:spcAft>
              <a:buSzPts val="2800"/>
              <a:buNone/>
              <a:defRPr/>
            </a:lvl2pPr>
            <a:lvl3pPr lvl="2" algn="ctr" rtl="0">
              <a:spcBef>
                <a:spcPts val="0"/>
              </a:spcBef>
              <a:spcAft>
                <a:spcPts val="0"/>
              </a:spcAft>
              <a:buSzPts val="2800"/>
              <a:buNone/>
              <a:defRPr/>
            </a:lvl3pPr>
            <a:lvl4pPr lvl="3" algn="ctr" rtl="0">
              <a:spcBef>
                <a:spcPts val="0"/>
              </a:spcBef>
              <a:spcAft>
                <a:spcPts val="0"/>
              </a:spcAft>
              <a:buSzPts val="2800"/>
              <a:buNone/>
              <a:defRPr/>
            </a:lvl4pPr>
            <a:lvl5pPr lvl="4" algn="ctr" rtl="0">
              <a:spcBef>
                <a:spcPts val="0"/>
              </a:spcBef>
              <a:spcAft>
                <a:spcPts val="0"/>
              </a:spcAft>
              <a:buSzPts val="2800"/>
              <a:buNone/>
              <a:defRPr/>
            </a:lvl5pPr>
            <a:lvl6pPr lvl="5" algn="ctr" rtl="0">
              <a:spcBef>
                <a:spcPts val="0"/>
              </a:spcBef>
              <a:spcAft>
                <a:spcPts val="0"/>
              </a:spcAft>
              <a:buSzPts val="2800"/>
              <a:buNone/>
              <a:defRPr/>
            </a:lvl6pPr>
            <a:lvl7pPr lvl="6" algn="ctr" rtl="0">
              <a:spcBef>
                <a:spcPts val="0"/>
              </a:spcBef>
              <a:spcAft>
                <a:spcPts val="0"/>
              </a:spcAft>
              <a:buSzPts val="2800"/>
              <a:buNone/>
              <a:defRPr/>
            </a:lvl7pPr>
            <a:lvl8pPr lvl="7" algn="ctr" rtl="0">
              <a:spcBef>
                <a:spcPts val="0"/>
              </a:spcBef>
              <a:spcAft>
                <a:spcPts val="0"/>
              </a:spcAft>
              <a:buSzPts val="2800"/>
              <a:buNone/>
              <a:defRPr/>
            </a:lvl8pPr>
            <a:lvl9pPr lvl="8" algn="ctr" rtl="0">
              <a:spcBef>
                <a:spcPts val="0"/>
              </a:spcBef>
              <a:spcAft>
                <a:spcPts val="0"/>
              </a:spcAft>
              <a:buSzPts val="2800"/>
              <a:buNone/>
              <a:defRPr/>
            </a:lvl9pPr>
          </a:lstStyle>
          <a:p>
            <a:endParaRPr/>
          </a:p>
        </p:txBody>
      </p:sp>
      <p:sp>
        <p:nvSpPr>
          <p:cNvPr id="667" name="Google Shape;667;p15"/>
          <p:cNvSpPr txBox="1">
            <a:spLocks noGrp="1"/>
          </p:cNvSpPr>
          <p:nvPr>
            <p:ph type="subTitle" idx="1"/>
          </p:nvPr>
        </p:nvSpPr>
        <p:spPr>
          <a:xfrm>
            <a:off x="1709928" y="1545336"/>
            <a:ext cx="1945200" cy="375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1pPr>
            <a:lvl2pPr lvl="1"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2pPr>
            <a:lvl3pPr lvl="2"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3pPr>
            <a:lvl4pPr lvl="3"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4pPr>
            <a:lvl5pPr lvl="4"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5pPr>
            <a:lvl6pPr lvl="5"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6pPr>
            <a:lvl7pPr lvl="6"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7pPr>
            <a:lvl8pPr lvl="7"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8pPr>
            <a:lvl9pPr lvl="8"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68" name="Google Shape;668;p15"/>
          <p:cNvSpPr txBox="1">
            <a:spLocks noGrp="1"/>
          </p:cNvSpPr>
          <p:nvPr>
            <p:ph type="subTitle" idx="2"/>
          </p:nvPr>
        </p:nvSpPr>
        <p:spPr>
          <a:xfrm>
            <a:off x="1709928" y="1938528"/>
            <a:ext cx="1945200" cy="759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200">
                <a:solidFill>
                  <a:schemeClr val="dk2"/>
                </a:solidFill>
                <a:latin typeface="Barlow Semi Condensed"/>
                <a:ea typeface="Barlow Semi Condensed"/>
                <a:cs typeface="Barlow Semi Condensed"/>
                <a:sym typeface="Barlow Semi Condensed"/>
              </a:defRPr>
            </a:lvl1pPr>
            <a:lvl2pPr lvl="1" rtl="0">
              <a:spcBef>
                <a:spcPts val="0"/>
              </a:spcBef>
              <a:spcAft>
                <a:spcPts val="0"/>
              </a:spcAft>
              <a:buNone/>
              <a:defRPr sz="1200">
                <a:solidFill>
                  <a:schemeClr val="dk2"/>
                </a:solidFill>
                <a:latin typeface="Barlow Semi Condensed"/>
                <a:ea typeface="Barlow Semi Condensed"/>
                <a:cs typeface="Barlow Semi Condensed"/>
                <a:sym typeface="Barlow Semi Condensed"/>
              </a:defRPr>
            </a:lvl2pPr>
            <a:lvl3pPr lvl="2" rtl="0">
              <a:spcBef>
                <a:spcPts val="0"/>
              </a:spcBef>
              <a:spcAft>
                <a:spcPts val="0"/>
              </a:spcAft>
              <a:buNone/>
              <a:defRPr sz="1200">
                <a:solidFill>
                  <a:schemeClr val="dk2"/>
                </a:solidFill>
                <a:latin typeface="Barlow Semi Condensed"/>
                <a:ea typeface="Barlow Semi Condensed"/>
                <a:cs typeface="Barlow Semi Condensed"/>
                <a:sym typeface="Barlow Semi Condensed"/>
              </a:defRPr>
            </a:lvl3pPr>
            <a:lvl4pPr lvl="3" rtl="0">
              <a:spcBef>
                <a:spcPts val="0"/>
              </a:spcBef>
              <a:spcAft>
                <a:spcPts val="0"/>
              </a:spcAft>
              <a:buNone/>
              <a:defRPr sz="1200">
                <a:solidFill>
                  <a:schemeClr val="dk2"/>
                </a:solidFill>
                <a:latin typeface="Barlow Semi Condensed"/>
                <a:ea typeface="Barlow Semi Condensed"/>
                <a:cs typeface="Barlow Semi Condensed"/>
                <a:sym typeface="Barlow Semi Condensed"/>
              </a:defRPr>
            </a:lvl4pPr>
            <a:lvl5pPr lvl="4" rtl="0">
              <a:spcBef>
                <a:spcPts val="0"/>
              </a:spcBef>
              <a:spcAft>
                <a:spcPts val="0"/>
              </a:spcAft>
              <a:buNone/>
              <a:defRPr sz="1200">
                <a:solidFill>
                  <a:schemeClr val="dk2"/>
                </a:solidFill>
                <a:latin typeface="Barlow Semi Condensed"/>
                <a:ea typeface="Barlow Semi Condensed"/>
                <a:cs typeface="Barlow Semi Condensed"/>
                <a:sym typeface="Barlow Semi Condensed"/>
              </a:defRPr>
            </a:lvl5pPr>
            <a:lvl6pPr lvl="5" rtl="0">
              <a:spcBef>
                <a:spcPts val="0"/>
              </a:spcBef>
              <a:spcAft>
                <a:spcPts val="0"/>
              </a:spcAft>
              <a:buNone/>
              <a:defRPr sz="1200">
                <a:solidFill>
                  <a:schemeClr val="dk2"/>
                </a:solidFill>
                <a:latin typeface="Barlow Semi Condensed"/>
                <a:ea typeface="Barlow Semi Condensed"/>
                <a:cs typeface="Barlow Semi Condensed"/>
                <a:sym typeface="Barlow Semi Condensed"/>
              </a:defRPr>
            </a:lvl6pPr>
            <a:lvl7pPr lvl="6" rtl="0">
              <a:spcBef>
                <a:spcPts val="0"/>
              </a:spcBef>
              <a:spcAft>
                <a:spcPts val="0"/>
              </a:spcAft>
              <a:buNone/>
              <a:defRPr sz="1200">
                <a:solidFill>
                  <a:schemeClr val="dk2"/>
                </a:solidFill>
                <a:latin typeface="Barlow Semi Condensed"/>
                <a:ea typeface="Barlow Semi Condensed"/>
                <a:cs typeface="Barlow Semi Condensed"/>
                <a:sym typeface="Barlow Semi Condensed"/>
              </a:defRPr>
            </a:lvl7pPr>
            <a:lvl8pPr lvl="7" rtl="0">
              <a:spcBef>
                <a:spcPts val="0"/>
              </a:spcBef>
              <a:spcAft>
                <a:spcPts val="0"/>
              </a:spcAft>
              <a:buNone/>
              <a:defRPr sz="1200">
                <a:solidFill>
                  <a:schemeClr val="dk2"/>
                </a:solidFill>
                <a:latin typeface="Barlow Semi Condensed"/>
                <a:ea typeface="Barlow Semi Condensed"/>
                <a:cs typeface="Barlow Semi Condensed"/>
                <a:sym typeface="Barlow Semi Condensed"/>
              </a:defRPr>
            </a:lvl8pPr>
            <a:lvl9pPr lvl="8" rtl="0">
              <a:spcBef>
                <a:spcPts val="0"/>
              </a:spcBef>
              <a:spcAft>
                <a:spcPts val="0"/>
              </a:spcAft>
              <a:buNone/>
              <a:defRPr sz="1200">
                <a:solidFill>
                  <a:schemeClr val="dk2"/>
                </a:solidFill>
                <a:latin typeface="Barlow Semi Condensed"/>
                <a:ea typeface="Barlow Semi Condensed"/>
                <a:cs typeface="Barlow Semi Condensed"/>
                <a:sym typeface="Barlow Semi Condensed"/>
              </a:defRPr>
            </a:lvl9pPr>
          </a:lstStyle>
          <a:p>
            <a:endParaRPr/>
          </a:p>
        </p:txBody>
      </p:sp>
      <p:sp>
        <p:nvSpPr>
          <p:cNvPr id="669" name="Google Shape;669;p15"/>
          <p:cNvSpPr txBox="1">
            <a:spLocks noGrp="1"/>
          </p:cNvSpPr>
          <p:nvPr>
            <p:ph type="subTitle" idx="3"/>
          </p:nvPr>
        </p:nvSpPr>
        <p:spPr>
          <a:xfrm>
            <a:off x="5468112" y="1545336"/>
            <a:ext cx="1947600" cy="375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1pPr>
            <a:lvl2pPr lvl="1"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2pPr>
            <a:lvl3pPr lvl="2"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3pPr>
            <a:lvl4pPr lvl="3"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4pPr>
            <a:lvl5pPr lvl="4"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5pPr>
            <a:lvl6pPr lvl="5"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6pPr>
            <a:lvl7pPr lvl="6"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7pPr>
            <a:lvl8pPr lvl="7"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8pPr>
            <a:lvl9pPr lvl="8"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70" name="Google Shape;670;p15"/>
          <p:cNvSpPr txBox="1">
            <a:spLocks noGrp="1"/>
          </p:cNvSpPr>
          <p:nvPr>
            <p:ph type="subTitle" idx="4"/>
          </p:nvPr>
        </p:nvSpPr>
        <p:spPr>
          <a:xfrm>
            <a:off x="5468112" y="1938528"/>
            <a:ext cx="1947600" cy="759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200">
                <a:solidFill>
                  <a:schemeClr val="dk2"/>
                </a:solidFill>
                <a:latin typeface="Barlow Semi Condensed"/>
                <a:ea typeface="Barlow Semi Condensed"/>
                <a:cs typeface="Barlow Semi Condensed"/>
                <a:sym typeface="Barlow Semi Condensed"/>
              </a:defRPr>
            </a:lvl1pPr>
            <a:lvl2pPr lvl="1" rtl="0">
              <a:spcBef>
                <a:spcPts val="0"/>
              </a:spcBef>
              <a:spcAft>
                <a:spcPts val="0"/>
              </a:spcAft>
              <a:buNone/>
              <a:defRPr sz="1200">
                <a:solidFill>
                  <a:schemeClr val="dk2"/>
                </a:solidFill>
                <a:latin typeface="Barlow Semi Condensed"/>
                <a:ea typeface="Barlow Semi Condensed"/>
                <a:cs typeface="Barlow Semi Condensed"/>
                <a:sym typeface="Barlow Semi Condensed"/>
              </a:defRPr>
            </a:lvl2pPr>
            <a:lvl3pPr lvl="2" rtl="0">
              <a:spcBef>
                <a:spcPts val="0"/>
              </a:spcBef>
              <a:spcAft>
                <a:spcPts val="0"/>
              </a:spcAft>
              <a:buNone/>
              <a:defRPr sz="1200">
                <a:solidFill>
                  <a:schemeClr val="dk2"/>
                </a:solidFill>
                <a:latin typeface="Barlow Semi Condensed"/>
                <a:ea typeface="Barlow Semi Condensed"/>
                <a:cs typeface="Barlow Semi Condensed"/>
                <a:sym typeface="Barlow Semi Condensed"/>
              </a:defRPr>
            </a:lvl3pPr>
            <a:lvl4pPr lvl="3" rtl="0">
              <a:spcBef>
                <a:spcPts val="0"/>
              </a:spcBef>
              <a:spcAft>
                <a:spcPts val="0"/>
              </a:spcAft>
              <a:buNone/>
              <a:defRPr sz="1200">
                <a:solidFill>
                  <a:schemeClr val="dk2"/>
                </a:solidFill>
                <a:latin typeface="Barlow Semi Condensed"/>
                <a:ea typeface="Barlow Semi Condensed"/>
                <a:cs typeface="Barlow Semi Condensed"/>
                <a:sym typeface="Barlow Semi Condensed"/>
              </a:defRPr>
            </a:lvl4pPr>
            <a:lvl5pPr lvl="4" rtl="0">
              <a:spcBef>
                <a:spcPts val="0"/>
              </a:spcBef>
              <a:spcAft>
                <a:spcPts val="0"/>
              </a:spcAft>
              <a:buNone/>
              <a:defRPr sz="1200">
                <a:solidFill>
                  <a:schemeClr val="dk2"/>
                </a:solidFill>
                <a:latin typeface="Barlow Semi Condensed"/>
                <a:ea typeface="Barlow Semi Condensed"/>
                <a:cs typeface="Barlow Semi Condensed"/>
                <a:sym typeface="Barlow Semi Condensed"/>
              </a:defRPr>
            </a:lvl5pPr>
            <a:lvl6pPr lvl="5" rtl="0">
              <a:spcBef>
                <a:spcPts val="0"/>
              </a:spcBef>
              <a:spcAft>
                <a:spcPts val="0"/>
              </a:spcAft>
              <a:buNone/>
              <a:defRPr sz="1200">
                <a:solidFill>
                  <a:schemeClr val="dk2"/>
                </a:solidFill>
                <a:latin typeface="Barlow Semi Condensed"/>
                <a:ea typeface="Barlow Semi Condensed"/>
                <a:cs typeface="Barlow Semi Condensed"/>
                <a:sym typeface="Barlow Semi Condensed"/>
              </a:defRPr>
            </a:lvl6pPr>
            <a:lvl7pPr lvl="6" rtl="0">
              <a:spcBef>
                <a:spcPts val="0"/>
              </a:spcBef>
              <a:spcAft>
                <a:spcPts val="0"/>
              </a:spcAft>
              <a:buNone/>
              <a:defRPr sz="1200">
                <a:solidFill>
                  <a:schemeClr val="dk2"/>
                </a:solidFill>
                <a:latin typeface="Barlow Semi Condensed"/>
                <a:ea typeface="Barlow Semi Condensed"/>
                <a:cs typeface="Barlow Semi Condensed"/>
                <a:sym typeface="Barlow Semi Condensed"/>
              </a:defRPr>
            </a:lvl7pPr>
            <a:lvl8pPr lvl="7" rtl="0">
              <a:spcBef>
                <a:spcPts val="0"/>
              </a:spcBef>
              <a:spcAft>
                <a:spcPts val="0"/>
              </a:spcAft>
              <a:buNone/>
              <a:defRPr sz="1200">
                <a:solidFill>
                  <a:schemeClr val="dk2"/>
                </a:solidFill>
                <a:latin typeface="Barlow Semi Condensed"/>
                <a:ea typeface="Barlow Semi Condensed"/>
                <a:cs typeface="Barlow Semi Condensed"/>
                <a:sym typeface="Barlow Semi Condensed"/>
              </a:defRPr>
            </a:lvl8pPr>
            <a:lvl9pPr lvl="8" rtl="0">
              <a:spcBef>
                <a:spcPts val="0"/>
              </a:spcBef>
              <a:spcAft>
                <a:spcPts val="0"/>
              </a:spcAft>
              <a:buNone/>
              <a:defRPr sz="1200">
                <a:solidFill>
                  <a:schemeClr val="dk2"/>
                </a:solidFill>
                <a:latin typeface="Barlow Semi Condensed"/>
                <a:ea typeface="Barlow Semi Condensed"/>
                <a:cs typeface="Barlow Semi Condensed"/>
                <a:sym typeface="Barlow Semi Condensed"/>
              </a:defRPr>
            </a:lvl9pPr>
          </a:lstStyle>
          <a:p>
            <a:endParaRPr/>
          </a:p>
        </p:txBody>
      </p:sp>
      <p:sp>
        <p:nvSpPr>
          <p:cNvPr id="671" name="Google Shape;671;p15"/>
          <p:cNvSpPr txBox="1">
            <a:spLocks noGrp="1"/>
          </p:cNvSpPr>
          <p:nvPr>
            <p:ph type="subTitle" idx="5"/>
          </p:nvPr>
        </p:nvSpPr>
        <p:spPr>
          <a:xfrm>
            <a:off x="2825496" y="3200400"/>
            <a:ext cx="1945200" cy="375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1pPr>
            <a:lvl2pPr lvl="1"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2pPr>
            <a:lvl3pPr lvl="2"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3pPr>
            <a:lvl4pPr lvl="3"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4pPr>
            <a:lvl5pPr lvl="4"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5pPr>
            <a:lvl6pPr lvl="5"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6pPr>
            <a:lvl7pPr lvl="6"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7pPr>
            <a:lvl8pPr lvl="7"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8pPr>
            <a:lvl9pPr lvl="8"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72" name="Google Shape;672;p15"/>
          <p:cNvSpPr txBox="1">
            <a:spLocks noGrp="1"/>
          </p:cNvSpPr>
          <p:nvPr>
            <p:ph type="subTitle" idx="6"/>
          </p:nvPr>
        </p:nvSpPr>
        <p:spPr>
          <a:xfrm>
            <a:off x="2825496" y="3593592"/>
            <a:ext cx="1945200" cy="759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200">
                <a:solidFill>
                  <a:schemeClr val="dk2"/>
                </a:solidFill>
                <a:latin typeface="Barlow Semi Condensed"/>
                <a:ea typeface="Barlow Semi Condensed"/>
                <a:cs typeface="Barlow Semi Condensed"/>
                <a:sym typeface="Barlow Semi Condensed"/>
              </a:defRPr>
            </a:lvl1pPr>
            <a:lvl2pPr lvl="1" rtl="0">
              <a:spcBef>
                <a:spcPts val="0"/>
              </a:spcBef>
              <a:spcAft>
                <a:spcPts val="0"/>
              </a:spcAft>
              <a:buNone/>
              <a:defRPr sz="1200">
                <a:solidFill>
                  <a:schemeClr val="dk2"/>
                </a:solidFill>
                <a:latin typeface="Barlow Semi Condensed"/>
                <a:ea typeface="Barlow Semi Condensed"/>
                <a:cs typeface="Barlow Semi Condensed"/>
                <a:sym typeface="Barlow Semi Condensed"/>
              </a:defRPr>
            </a:lvl2pPr>
            <a:lvl3pPr lvl="2" rtl="0">
              <a:spcBef>
                <a:spcPts val="0"/>
              </a:spcBef>
              <a:spcAft>
                <a:spcPts val="0"/>
              </a:spcAft>
              <a:buNone/>
              <a:defRPr sz="1200">
                <a:solidFill>
                  <a:schemeClr val="dk2"/>
                </a:solidFill>
                <a:latin typeface="Barlow Semi Condensed"/>
                <a:ea typeface="Barlow Semi Condensed"/>
                <a:cs typeface="Barlow Semi Condensed"/>
                <a:sym typeface="Barlow Semi Condensed"/>
              </a:defRPr>
            </a:lvl3pPr>
            <a:lvl4pPr lvl="3" rtl="0">
              <a:spcBef>
                <a:spcPts val="0"/>
              </a:spcBef>
              <a:spcAft>
                <a:spcPts val="0"/>
              </a:spcAft>
              <a:buNone/>
              <a:defRPr sz="1200">
                <a:solidFill>
                  <a:schemeClr val="dk2"/>
                </a:solidFill>
                <a:latin typeface="Barlow Semi Condensed"/>
                <a:ea typeface="Barlow Semi Condensed"/>
                <a:cs typeface="Barlow Semi Condensed"/>
                <a:sym typeface="Barlow Semi Condensed"/>
              </a:defRPr>
            </a:lvl4pPr>
            <a:lvl5pPr lvl="4" rtl="0">
              <a:spcBef>
                <a:spcPts val="0"/>
              </a:spcBef>
              <a:spcAft>
                <a:spcPts val="0"/>
              </a:spcAft>
              <a:buNone/>
              <a:defRPr sz="1200">
                <a:solidFill>
                  <a:schemeClr val="dk2"/>
                </a:solidFill>
                <a:latin typeface="Barlow Semi Condensed"/>
                <a:ea typeface="Barlow Semi Condensed"/>
                <a:cs typeface="Barlow Semi Condensed"/>
                <a:sym typeface="Barlow Semi Condensed"/>
              </a:defRPr>
            </a:lvl5pPr>
            <a:lvl6pPr lvl="5" rtl="0">
              <a:spcBef>
                <a:spcPts val="0"/>
              </a:spcBef>
              <a:spcAft>
                <a:spcPts val="0"/>
              </a:spcAft>
              <a:buNone/>
              <a:defRPr sz="1200">
                <a:solidFill>
                  <a:schemeClr val="dk2"/>
                </a:solidFill>
                <a:latin typeface="Barlow Semi Condensed"/>
                <a:ea typeface="Barlow Semi Condensed"/>
                <a:cs typeface="Barlow Semi Condensed"/>
                <a:sym typeface="Barlow Semi Condensed"/>
              </a:defRPr>
            </a:lvl6pPr>
            <a:lvl7pPr lvl="6" rtl="0">
              <a:spcBef>
                <a:spcPts val="0"/>
              </a:spcBef>
              <a:spcAft>
                <a:spcPts val="0"/>
              </a:spcAft>
              <a:buNone/>
              <a:defRPr sz="1200">
                <a:solidFill>
                  <a:schemeClr val="dk2"/>
                </a:solidFill>
                <a:latin typeface="Barlow Semi Condensed"/>
                <a:ea typeface="Barlow Semi Condensed"/>
                <a:cs typeface="Barlow Semi Condensed"/>
                <a:sym typeface="Barlow Semi Condensed"/>
              </a:defRPr>
            </a:lvl7pPr>
            <a:lvl8pPr lvl="7" rtl="0">
              <a:spcBef>
                <a:spcPts val="0"/>
              </a:spcBef>
              <a:spcAft>
                <a:spcPts val="0"/>
              </a:spcAft>
              <a:buNone/>
              <a:defRPr sz="1200">
                <a:solidFill>
                  <a:schemeClr val="dk2"/>
                </a:solidFill>
                <a:latin typeface="Barlow Semi Condensed"/>
                <a:ea typeface="Barlow Semi Condensed"/>
                <a:cs typeface="Barlow Semi Condensed"/>
                <a:sym typeface="Barlow Semi Condensed"/>
              </a:defRPr>
            </a:lvl8pPr>
            <a:lvl9pPr lvl="8" rtl="0">
              <a:spcBef>
                <a:spcPts val="0"/>
              </a:spcBef>
              <a:spcAft>
                <a:spcPts val="0"/>
              </a:spcAft>
              <a:buNone/>
              <a:defRPr sz="1200">
                <a:solidFill>
                  <a:schemeClr val="dk2"/>
                </a:solidFill>
                <a:latin typeface="Barlow Semi Condensed"/>
                <a:ea typeface="Barlow Semi Condensed"/>
                <a:cs typeface="Barlow Semi Condensed"/>
                <a:sym typeface="Barlow Semi Condensed"/>
              </a:defRPr>
            </a:lvl9pPr>
          </a:lstStyle>
          <a:p>
            <a:endParaRPr/>
          </a:p>
        </p:txBody>
      </p:sp>
      <p:sp>
        <p:nvSpPr>
          <p:cNvPr id="673" name="Google Shape;673;p15"/>
          <p:cNvSpPr txBox="1">
            <a:spLocks noGrp="1"/>
          </p:cNvSpPr>
          <p:nvPr>
            <p:ph type="subTitle" idx="7"/>
          </p:nvPr>
        </p:nvSpPr>
        <p:spPr>
          <a:xfrm>
            <a:off x="6464808" y="3200400"/>
            <a:ext cx="1993500" cy="375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1pPr>
            <a:lvl2pPr lvl="1"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2pPr>
            <a:lvl3pPr lvl="2"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3pPr>
            <a:lvl4pPr lvl="3"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4pPr>
            <a:lvl5pPr lvl="4"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5pPr>
            <a:lvl6pPr lvl="5"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6pPr>
            <a:lvl7pPr lvl="6"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7pPr>
            <a:lvl8pPr lvl="7"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8pPr>
            <a:lvl9pPr lvl="8" rtl="0">
              <a:spcBef>
                <a:spcPts val="0"/>
              </a:spcBef>
              <a:spcAft>
                <a:spcPts val="0"/>
              </a:spcAft>
              <a:buNone/>
              <a:defRPr sz="1425">
                <a:solidFill>
                  <a:schemeClr val="accent1"/>
                </a:solidFill>
                <a:latin typeface="Barlow Semi Condensed Medium"/>
                <a:ea typeface="Barlow Semi Condensed Medium"/>
                <a:cs typeface="Barlow Semi Condensed Medium"/>
                <a:sym typeface="Barlow Semi Condensed Medium"/>
              </a:defRPr>
            </a:lvl9pPr>
          </a:lstStyle>
          <a:p>
            <a:endParaRPr/>
          </a:p>
        </p:txBody>
      </p:sp>
      <p:sp>
        <p:nvSpPr>
          <p:cNvPr id="674" name="Google Shape;674;p15"/>
          <p:cNvSpPr txBox="1">
            <a:spLocks noGrp="1"/>
          </p:cNvSpPr>
          <p:nvPr>
            <p:ph type="subTitle" idx="8"/>
          </p:nvPr>
        </p:nvSpPr>
        <p:spPr>
          <a:xfrm>
            <a:off x="6464808" y="3593592"/>
            <a:ext cx="1993500" cy="759000"/>
          </a:xfrm>
          <a:prstGeom prst="rect">
            <a:avLst/>
          </a:prstGeom>
          <a:noFill/>
          <a:ln>
            <a:noFill/>
          </a:ln>
        </p:spPr>
        <p:txBody>
          <a:bodyPr spcFirstLastPara="1" wrap="square" lIns="121897" tIns="121897" rIns="121897" bIns="121897" anchor="t" anchorCtr="0">
            <a:noAutofit/>
          </a:bodyPr>
          <a:lstStyle>
            <a:lvl1pPr lvl="0" rtl="0">
              <a:spcBef>
                <a:spcPts val="0"/>
              </a:spcBef>
              <a:spcAft>
                <a:spcPts val="0"/>
              </a:spcAft>
              <a:buNone/>
              <a:defRPr sz="1200">
                <a:solidFill>
                  <a:schemeClr val="dk2"/>
                </a:solidFill>
                <a:latin typeface="Barlow Semi Condensed"/>
                <a:ea typeface="Barlow Semi Condensed"/>
                <a:cs typeface="Barlow Semi Condensed"/>
                <a:sym typeface="Barlow Semi Condensed"/>
              </a:defRPr>
            </a:lvl1pPr>
            <a:lvl2pPr lvl="1" rtl="0">
              <a:spcBef>
                <a:spcPts val="0"/>
              </a:spcBef>
              <a:spcAft>
                <a:spcPts val="0"/>
              </a:spcAft>
              <a:buNone/>
              <a:defRPr sz="1200">
                <a:solidFill>
                  <a:schemeClr val="dk2"/>
                </a:solidFill>
                <a:latin typeface="Barlow Semi Condensed"/>
                <a:ea typeface="Barlow Semi Condensed"/>
                <a:cs typeface="Barlow Semi Condensed"/>
                <a:sym typeface="Barlow Semi Condensed"/>
              </a:defRPr>
            </a:lvl2pPr>
            <a:lvl3pPr lvl="2" rtl="0">
              <a:spcBef>
                <a:spcPts val="0"/>
              </a:spcBef>
              <a:spcAft>
                <a:spcPts val="0"/>
              </a:spcAft>
              <a:buNone/>
              <a:defRPr sz="1200">
                <a:solidFill>
                  <a:schemeClr val="dk2"/>
                </a:solidFill>
                <a:latin typeface="Barlow Semi Condensed"/>
                <a:ea typeface="Barlow Semi Condensed"/>
                <a:cs typeface="Barlow Semi Condensed"/>
                <a:sym typeface="Barlow Semi Condensed"/>
              </a:defRPr>
            </a:lvl3pPr>
            <a:lvl4pPr lvl="3" rtl="0">
              <a:spcBef>
                <a:spcPts val="0"/>
              </a:spcBef>
              <a:spcAft>
                <a:spcPts val="0"/>
              </a:spcAft>
              <a:buNone/>
              <a:defRPr sz="1200">
                <a:solidFill>
                  <a:schemeClr val="dk2"/>
                </a:solidFill>
                <a:latin typeface="Barlow Semi Condensed"/>
                <a:ea typeface="Barlow Semi Condensed"/>
                <a:cs typeface="Barlow Semi Condensed"/>
                <a:sym typeface="Barlow Semi Condensed"/>
              </a:defRPr>
            </a:lvl4pPr>
            <a:lvl5pPr lvl="4" rtl="0">
              <a:spcBef>
                <a:spcPts val="0"/>
              </a:spcBef>
              <a:spcAft>
                <a:spcPts val="0"/>
              </a:spcAft>
              <a:buNone/>
              <a:defRPr sz="1200">
                <a:solidFill>
                  <a:schemeClr val="dk2"/>
                </a:solidFill>
                <a:latin typeface="Barlow Semi Condensed"/>
                <a:ea typeface="Barlow Semi Condensed"/>
                <a:cs typeface="Barlow Semi Condensed"/>
                <a:sym typeface="Barlow Semi Condensed"/>
              </a:defRPr>
            </a:lvl5pPr>
            <a:lvl6pPr lvl="5" rtl="0">
              <a:spcBef>
                <a:spcPts val="0"/>
              </a:spcBef>
              <a:spcAft>
                <a:spcPts val="0"/>
              </a:spcAft>
              <a:buNone/>
              <a:defRPr sz="1200">
                <a:solidFill>
                  <a:schemeClr val="dk2"/>
                </a:solidFill>
                <a:latin typeface="Barlow Semi Condensed"/>
                <a:ea typeface="Barlow Semi Condensed"/>
                <a:cs typeface="Barlow Semi Condensed"/>
                <a:sym typeface="Barlow Semi Condensed"/>
              </a:defRPr>
            </a:lvl6pPr>
            <a:lvl7pPr lvl="6" rtl="0">
              <a:spcBef>
                <a:spcPts val="0"/>
              </a:spcBef>
              <a:spcAft>
                <a:spcPts val="0"/>
              </a:spcAft>
              <a:buNone/>
              <a:defRPr sz="1200">
                <a:solidFill>
                  <a:schemeClr val="dk2"/>
                </a:solidFill>
                <a:latin typeface="Barlow Semi Condensed"/>
                <a:ea typeface="Barlow Semi Condensed"/>
                <a:cs typeface="Barlow Semi Condensed"/>
                <a:sym typeface="Barlow Semi Condensed"/>
              </a:defRPr>
            </a:lvl7pPr>
            <a:lvl8pPr lvl="7" rtl="0">
              <a:spcBef>
                <a:spcPts val="0"/>
              </a:spcBef>
              <a:spcAft>
                <a:spcPts val="0"/>
              </a:spcAft>
              <a:buNone/>
              <a:defRPr sz="1200">
                <a:solidFill>
                  <a:schemeClr val="dk2"/>
                </a:solidFill>
                <a:latin typeface="Barlow Semi Condensed"/>
                <a:ea typeface="Barlow Semi Condensed"/>
                <a:cs typeface="Barlow Semi Condensed"/>
                <a:sym typeface="Barlow Semi Condensed"/>
              </a:defRPr>
            </a:lvl8pPr>
            <a:lvl9pPr lvl="8" rtl="0">
              <a:spcBef>
                <a:spcPts val="0"/>
              </a:spcBef>
              <a:spcAft>
                <a:spcPts val="0"/>
              </a:spcAft>
              <a:buNone/>
              <a:defRPr sz="1200">
                <a:solidFill>
                  <a:schemeClr val="dk2"/>
                </a:solidFill>
                <a:latin typeface="Barlow Semi Condensed"/>
                <a:ea typeface="Barlow Semi Condensed"/>
                <a:cs typeface="Barlow Semi Condensed"/>
                <a:sym typeface="Barlow Semi Condensed"/>
              </a:defRPr>
            </a:lvl9pPr>
          </a:lstStyle>
          <a:p>
            <a:endParaRPr/>
          </a:p>
        </p:txBody>
      </p:sp>
      <p:cxnSp>
        <p:nvCxnSpPr>
          <p:cNvPr id="675" name="Google Shape;675;p15"/>
          <p:cNvCxnSpPr/>
          <p:nvPr/>
        </p:nvCxnSpPr>
        <p:spPr>
          <a:xfrm rot="10800000">
            <a:off x="8109000" y="501275"/>
            <a:ext cx="737700" cy="737700"/>
          </a:xfrm>
          <a:prstGeom prst="straightConnector1">
            <a:avLst/>
          </a:prstGeom>
          <a:noFill/>
          <a:ln w="9525" cap="flat" cmpd="sng">
            <a:solidFill>
              <a:schemeClr val="dk1"/>
            </a:solidFill>
            <a:prstDash val="solid"/>
            <a:round/>
            <a:headEnd type="none" w="med" len="med"/>
            <a:tailEnd type="none" w="med" len="med"/>
          </a:ln>
        </p:spPr>
      </p:cxnSp>
      <p:cxnSp>
        <p:nvCxnSpPr>
          <p:cNvPr id="676" name="Google Shape;676;p15"/>
          <p:cNvCxnSpPr/>
          <p:nvPr/>
        </p:nvCxnSpPr>
        <p:spPr>
          <a:xfrm>
            <a:off x="582475" y="282188"/>
            <a:ext cx="1212900" cy="422700"/>
          </a:xfrm>
          <a:prstGeom prst="straightConnector1">
            <a:avLst/>
          </a:prstGeom>
          <a:noFill/>
          <a:ln w="9525" cap="flat" cmpd="sng">
            <a:solidFill>
              <a:schemeClr val="dk1"/>
            </a:solidFill>
            <a:prstDash val="solid"/>
            <a:round/>
            <a:headEnd type="none" w="med" len="med"/>
            <a:tailEnd type="none" w="med" len="med"/>
          </a:ln>
        </p:spPr>
      </p:cxnSp>
      <p:cxnSp>
        <p:nvCxnSpPr>
          <p:cNvPr id="677" name="Google Shape;677;p15"/>
          <p:cNvCxnSpPr/>
          <p:nvPr/>
        </p:nvCxnSpPr>
        <p:spPr>
          <a:xfrm rot="10800000" flipH="1">
            <a:off x="0" y="274188"/>
            <a:ext cx="582600" cy="654300"/>
          </a:xfrm>
          <a:prstGeom prst="straightConnector1">
            <a:avLst/>
          </a:prstGeom>
          <a:noFill/>
          <a:ln w="9525" cap="flat" cmpd="sng">
            <a:solidFill>
              <a:schemeClr val="dk1"/>
            </a:solidFill>
            <a:prstDash val="solid"/>
            <a:round/>
            <a:headEnd type="none" w="med" len="med"/>
            <a:tailEnd type="none" w="med" len="med"/>
          </a:ln>
        </p:spPr>
      </p:cxnSp>
      <p:grpSp>
        <p:nvGrpSpPr>
          <p:cNvPr id="678" name="Google Shape;678;p15"/>
          <p:cNvGrpSpPr/>
          <p:nvPr/>
        </p:nvGrpSpPr>
        <p:grpSpPr>
          <a:xfrm flipH="1">
            <a:off x="423751" y="125363"/>
            <a:ext cx="292025" cy="292575"/>
            <a:chOff x="7353050" y="316275"/>
            <a:chExt cx="292025" cy="292575"/>
          </a:xfrm>
        </p:grpSpPr>
        <p:sp>
          <p:nvSpPr>
            <p:cNvPr id="679" name="Google Shape;679;p15"/>
            <p:cNvSpPr/>
            <p:nvPr/>
          </p:nvSpPr>
          <p:spPr>
            <a:xfrm>
              <a:off x="7358075" y="321275"/>
              <a:ext cx="282550" cy="282550"/>
            </a:xfrm>
            <a:custGeom>
              <a:avLst/>
              <a:gdLst/>
              <a:ahLst/>
              <a:cxnLst/>
              <a:rect l="l" t="t" r="r" b="b"/>
              <a:pathLst>
                <a:path w="11302" h="11302" extrusionOk="0">
                  <a:moveTo>
                    <a:pt x="5640" y="1"/>
                  </a:moveTo>
                  <a:cubicBezTo>
                    <a:pt x="2519" y="1"/>
                    <a:pt x="0" y="2520"/>
                    <a:pt x="0" y="5640"/>
                  </a:cubicBezTo>
                  <a:cubicBezTo>
                    <a:pt x="0" y="8783"/>
                    <a:pt x="2519" y="11302"/>
                    <a:pt x="5640" y="11302"/>
                  </a:cubicBezTo>
                  <a:cubicBezTo>
                    <a:pt x="8783" y="11302"/>
                    <a:pt x="11301" y="8783"/>
                    <a:pt x="11301" y="5640"/>
                  </a:cubicBezTo>
                  <a:cubicBezTo>
                    <a:pt x="11301" y="2520"/>
                    <a:pt x="8783" y="1"/>
                    <a:pt x="5640" y="1"/>
                  </a:cubicBezTo>
                  <a:close/>
                </a:path>
              </a:pathLst>
            </a:custGeom>
            <a:solidFill>
              <a:schemeClr val="l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80" name="Google Shape;680;p15"/>
            <p:cNvSpPr/>
            <p:nvPr/>
          </p:nvSpPr>
          <p:spPr>
            <a:xfrm>
              <a:off x="7353050" y="316275"/>
              <a:ext cx="292025" cy="292575"/>
            </a:xfrm>
            <a:custGeom>
              <a:avLst/>
              <a:gdLst/>
              <a:ahLst/>
              <a:cxnLst/>
              <a:rect l="l" t="t" r="r" b="b"/>
              <a:pathLst>
                <a:path w="11681" h="11703" extrusionOk="0">
                  <a:moveTo>
                    <a:pt x="5841" y="379"/>
                  </a:moveTo>
                  <a:cubicBezTo>
                    <a:pt x="7356" y="379"/>
                    <a:pt x="8716" y="981"/>
                    <a:pt x="9719" y="1984"/>
                  </a:cubicBezTo>
                  <a:cubicBezTo>
                    <a:pt x="10700" y="2965"/>
                    <a:pt x="11324" y="4347"/>
                    <a:pt x="11324" y="5840"/>
                  </a:cubicBezTo>
                  <a:cubicBezTo>
                    <a:pt x="11324" y="7356"/>
                    <a:pt x="10700" y="8738"/>
                    <a:pt x="9719" y="9719"/>
                  </a:cubicBezTo>
                  <a:cubicBezTo>
                    <a:pt x="8716" y="10699"/>
                    <a:pt x="7356" y="11324"/>
                    <a:pt x="5841" y="11324"/>
                  </a:cubicBezTo>
                  <a:cubicBezTo>
                    <a:pt x="4347" y="11324"/>
                    <a:pt x="2965" y="10699"/>
                    <a:pt x="1984" y="9719"/>
                  </a:cubicBezTo>
                  <a:cubicBezTo>
                    <a:pt x="981" y="8738"/>
                    <a:pt x="380" y="7356"/>
                    <a:pt x="380" y="5840"/>
                  </a:cubicBezTo>
                  <a:cubicBezTo>
                    <a:pt x="380" y="4347"/>
                    <a:pt x="981" y="2965"/>
                    <a:pt x="1984" y="1984"/>
                  </a:cubicBezTo>
                  <a:cubicBezTo>
                    <a:pt x="2965" y="981"/>
                    <a:pt x="4347" y="379"/>
                    <a:pt x="5841" y="379"/>
                  </a:cubicBezTo>
                  <a:close/>
                  <a:moveTo>
                    <a:pt x="5841" y="0"/>
                  </a:moveTo>
                  <a:cubicBezTo>
                    <a:pt x="2631" y="0"/>
                    <a:pt x="1" y="2630"/>
                    <a:pt x="1" y="5840"/>
                  </a:cubicBezTo>
                  <a:cubicBezTo>
                    <a:pt x="1" y="9072"/>
                    <a:pt x="2631" y="11703"/>
                    <a:pt x="5841" y="11703"/>
                  </a:cubicBezTo>
                  <a:cubicBezTo>
                    <a:pt x="9073" y="11703"/>
                    <a:pt x="11681" y="9072"/>
                    <a:pt x="11681" y="5840"/>
                  </a:cubicBezTo>
                  <a:cubicBezTo>
                    <a:pt x="11681" y="2630"/>
                    <a:pt x="9073" y="0"/>
                    <a:pt x="5841"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81" name="Google Shape;681;p15"/>
            <p:cNvSpPr/>
            <p:nvPr/>
          </p:nvSpPr>
          <p:spPr>
            <a:xfrm>
              <a:off x="7419925" y="383125"/>
              <a:ext cx="158275" cy="158300"/>
            </a:xfrm>
            <a:custGeom>
              <a:avLst/>
              <a:gdLst/>
              <a:ahLst/>
              <a:cxnLst/>
              <a:rect l="l" t="t" r="r" b="b"/>
              <a:pathLst>
                <a:path w="6331" h="6332" extrusionOk="0">
                  <a:moveTo>
                    <a:pt x="3166" y="1"/>
                  </a:moveTo>
                  <a:cubicBezTo>
                    <a:pt x="1427" y="1"/>
                    <a:pt x="0" y="1428"/>
                    <a:pt x="0" y="3166"/>
                  </a:cubicBezTo>
                  <a:cubicBezTo>
                    <a:pt x="0" y="4927"/>
                    <a:pt x="1427" y="6331"/>
                    <a:pt x="3166" y="6331"/>
                  </a:cubicBezTo>
                  <a:cubicBezTo>
                    <a:pt x="4927" y="6331"/>
                    <a:pt x="6331" y="4927"/>
                    <a:pt x="6331" y="3166"/>
                  </a:cubicBezTo>
                  <a:cubicBezTo>
                    <a:pt x="6331" y="1428"/>
                    <a:pt x="4927" y="1"/>
                    <a:pt x="3166"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82" name="Google Shape;682;p15"/>
            <p:cNvSpPr/>
            <p:nvPr/>
          </p:nvSpPr>
          <p:spPr>
            <a:xfrm>
              <a:off x="7415475" y="378675"/>
              <a:ext cx="167750" cy="167775"/>
            </a:xfrm>
            <a:custGeom>
              <a:avLst/>
              <a:gdLst/>
              <a:ahLst/>
              <a:cxnLst/>
              <a:rect l="l" t="t" r="r" b="b"/>
              <a:pathLst>
                <a:path w="6710" h="6711" extrusionOk="0">
                  <a:moveTo>
                    <a:pt x="3344" y="380"/>
                  </a:moveTo>
                  <a:cubicBezTo>
                    <a:pt x="4168" y="380"/>
                    <a:pt x="4926" y="714"/>
                    <a:pt x="5461" y="1249"/>
                  </a:cubicBezTo>
                  <a:cubicBezTo>
                    <a:pt x="5996" y="1784"/>
                    <a:pt x="6330" y="2519"/>
                    <a:pt x="6330" y="3344"/>
                  </a:cubicBezTo>
                  <a:cubicBezTo>
                    <a:pt x="6330" y="4169"/>
                    <a:pt x="5996" y="4927"/>
                    <a:pt x="5461" y="5462"/>
                  </a:cubicBezTo>
                  <a:cubicBezTo>
                    <a:pt x="4926" y="5997"/>
                    <a:pt x="4168" y="6331"/>
                    <a:pt x="3344" y="6331"/>
                  </a:cubicBezTo>
                  <a:cubicBezTo>
                    <a:pt x="2519" y="6331"/>
                    <a:pt x="1783" y="5997"/>
                    <a:pt x="1248" y="5462"/>
                  </a:cubicBezTo>
                  <a:cubicBezTo>
                    <a:pt x="713" y="4927"/>
                    <a:pt x="379" y="4169"/>
                    <a:pt x="379" y="3344"/>
                  </a:cubicBezTo>
                  <a:cubicBezTo>
                    <a:pt x="379" y="2519"/>
                    <a:pt x="713" y="1784"/>
                    <a:pt x="1248" y="1249"/>
                  </a:cubicBezTo>
                  <a:cubicBezTo>
                    <a:pt x="1783" y="714"/>
                    <a:pt x="2519" y="380"/>
                    <a:pt x="3344" y="380"/>
                  </a:cubicBezTo>
                  <a:close/>
                  <a:moveTo>
                    <a:pt x="3344" y="1"/>
                  </a:moveTo>
                  <a:cubicBezTo>
                    <a:pt x="1494" y="1"/>
                    <a:pt x="0" y="1494"/>
                    <a:pt x="0" y="3344"/>
                  </a:cubicBezTo>
                  <a:cubicBezTo>
                    <a:pt x="0" y="5194"/>
                    <a:pt x="1494" y="6710"/>
                    <a:pt x="3344" y="6710"/>
                  </a:cubicBezTo>
                  <a:cubicBezTo>
                    <a:pt x="5194" y="6710"/>
                    <a:pt x="6709" y="5194"/>
                    <a:pt x="6709" y="3344"/>
                  </a:cubicBezTo>
                  <a:cubicBezTo>
                    <a:pt x="6709" y="1494"/>
                    <a:pt x="5194" y="1"/>
                    <a:pt x="3344"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683" name="Google Shape;683;p15"/>
          <p:cNvGrpSpPr/>
          <p:nvPr/>
        </p:nvGrpSpPr>
        <p:grpSpPr>
          <a:xfrm>
            <a:off x="1638740" y="558163"/>
            <a:ext cx="293111" cy="293388"/>
            <a:chOff x="3164039" y="430875"/>
            <a:chExt cx="293111" cy="293388"/>
          </a:xfrm>
        </p:grpSpPr>
        <p:sp>
          <p:nvSpPr>
            <p:cNvPr id="684" name="Google Shape;684;p15"/>
            <p:cNvSpPr/>
            <p:nvPr/>
          </p:nvSpPr>
          <p:spPr>
            <a:xfrm flipH="1">
              <a:off x="3166281" y="433407"/>
              <a:ext cx="288614" cy="288337"/>
            </a:xfrm>
            <a:custGeom>
              <a:avLst/>
              <a:gdLst/>
              <a:ahLst/>
              <a:cxnLst/>
              <a:rect l="l" t="t" r="r" b="b"/>
              <a:pathLst>
                <a:path w="22915" h="22893" extrusionOk="0">
                  <a:moveTo>
                    <a:pt x="11457" y="0"/>
                  </a:moveTo>
                  <a:cubicBezTo>
                    <a:pt x="5127" y="0"/>
                    <a:pt x="0" y="5127"/>
                    <a:pt x="0" y="11435"/>
                  </a:cubicBezTo>
                  <a:cubicBezTo>
                    <a:pt x="0" y="17766"/>
                    <a:pt x="5127" y="22892"/>
                    <a:pt x="11457" y="22892"/>
                  </a:cubicBezTo>
                  <a:cubicBezTo>
                    <a:pt x="17788" y="22892"/>
                    <a:pt x="22914" y="17766"/>
                    <a:pt x="22914" y="11435"/>
                  </a:cubicBezTo>
                  <a:cubicBezTo>
                    <a:pt x="22914" y="5127"/>
                    <a:pt x="17788" y="0"/>
                    <a:pt x="11457" y="0"/>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85" name="Google Shape;685;p15"/>
            <p:cNvSpPr/>
            <p:nvPr/>
          </p:nvSpPr>
          <p:spPr>
            <a:xfrm flipH="1">
              <a:off x="3164039" y="430875"/>
              <a:ext cx="293111" cy="293388"/>
            </a:xfrm>
            <a:custGeom>
              <a:avLst/>
              <a:gdLst/>
              <a:ahLst/>
              <a:cxnLst/>
              <a:rect l="l" t="t" r="r" b="b"/>
              <a:pathLst>
                <a:path w="23272" h="23294" extrusionOk="0">
                  <a:moveTo>
                    <a:pt x="11636" y="380"/>
                  </a:moveTo>
                  <a:cubicBezTo>
                    <a:pt x="14757" y="380"/>
                    <a:pt x="17566" y="1628"/>
                    <a:pt x="19594" y="3679"/>
                  </a:cubicBezTo>
                  <a:cubicBezTo>
                    <a:pt x="21645" y="5707"/>
                    <a:pt x="22893" y="8538"/>
                    <a:pt x="22893" y="11636"/>
                  </a:cubicBezTo>
                  <a:cubicBezTo>
                    <a:pt x="22893" y="14757"/>
                    <a:pt x="21645" y="17565"/>
                    <a:pt x="19594" y="19616"/>
                  </a:cubicBezTo>
                  <a:cubicBezTo>
                    <a:pt x="17566" y="21644"/>
                    <a:pt x="14757" y="22915"/>
                    <a:pt x="11636" y="22915"/>
                  </a:cubicBezTo>
                  <a:cubicBezTo>
                    <a:pt x="8516" y="22915"/>
                    <a:pt x="5707" y="21644"/>
                    <a:pt x="3657" y="19616"/>
                  </a:cubicBezTo>
                  <a:cubicBezTo>
                    <a:pt x="1628" y="17565"/>
                    <a:pt x="358" y="14757"/>
                    <a:pt x="358" y="11636"/>
                  </a:cubicBezTo>
                  <a:cubicBezTo>
                    <a:pt x="358" y="8538"/>
                    <a:pt x="1628" y="5707"/>
                    <a:pt x="3657" y="3679"/>
                  </a:cubicBezTo>
                  <a:cubicBezTo>
                    <a:pt x="5707" y="1628"/>
                    <a:pt x="8516" y="380"/>
                    <a:pt x="11636" y="380"/>
                  </a:cubicBezTo>
                  <a:close/>
                  <a:moveTo>
                    <a:pt x="11636" y="1"/>
                  </a:moveTo>
                  <a:cubicBezTo>
                    <a:pt x="5217" y="1"/>
                    <a:pt x="1" y="5217"/>
                    <a:pt x="1" y="11636"/>
                  </a:cubicBezTo>
                  <a:cubicBezTo>
                    <a:pt x="1" y="18078"/>
                    <a:pt x="5217" y="23294"/>
                    <a:pt x="11636" y="23294"/>
                  </a:cubicBezTo>
                  <a:cubicBezTo>
                    <a:pt x="18056" y="23294"/>
                    <a:pt x="23272" y="18078"/>
                    <a:pt x="23272" y="11636"/>
                  </a:cubicBezTo>
                  <a:cubicBezTo>
                    <a:pt x="23272" y="5217"/>
                    <a:pt x="18056" y="1"/>
                    <a:pt x="11636"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86" name="Google Shape;686;p15"/>
            <p:cNvSpPr/>
            <p:nvPr/>
          </p:nvSpPr>
          <p:spPr>
            <a:xfrm flipH="1">
              <a:off x="3202780" y="469909"/>
              <a:ext cx="215626" cy="215337"/>
            </a:xfrm>
            <a:custGeom>
              <a:avLst/>
              <a:gdLst/>
              <a:ahLst/>
              <a:cxnLst/>
              <a:rect l="l" t="t" r="r" b="b"/>
              <a:pathLst>
                <a:path w="17120" h="17097" extrusionOk="0">
                  <a:moveTo>
                    <a:pt x="8560" y="0"/>
                  </a:moveTo>
                  <a:cubicBezTo>
                    <a:pt x="3835" y="0"/>
                    <a:pt x="1" y="3812"/>
                    <a:pt x="1" y="8537"/>
                  </a:cubicBezTo>
                  <a:cubicBezTo>
                    <a:pt x="1" y="13263"/>
                    <a:pt x="3835" y="17097"/>
                    <a:pt x="8560" y="17097"/>
                  </a:cubicBezTo>
                  <a:cubicBezTo>
                    <a:pt x="13286" y="17097"/>
                    <a:pt x="17120" y="13263"/>
                    <a:pt x="17120" y="8537"/>
                  </a:cubicBezTo>
                  <a:cubicBezTo>
                    <a:pt x="17120" y="3812"/>
                    <a:pt x="13286" y="0"/>
                    <a:pt x="8560" y="0"/>
                  </a:cubicBezTo>
                  <a:close/>
                </a:path>
              </a:pathLst>
            </a:custGeom>
            <a:solidFill>
              <a:schemeClr val="l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87" name="Google Shape;687;p15"/>
            <p:cNvSpPr/>
            <p:nvPr/>
          </p:nvSpPr>
          <p:spPr>
            <a:xfrm flipH="1">
              <a:off x="3200525" y="467377"/>
              <a:ext cx="220123" cy="220400"/>
            </a:xfrm>
            <a:custGeom>
              <a:avLst/>
              <a:gdLst/>
              <a:ahLst/>
              <a:cxnLst/>
              <a:rect l="l" t="t" r="r" b="b"/>
              <a:pathLst>
                <a:path w="17477" h="17499" extrusionOk="0">
                  <a:moveTo>
                    <a:pt x="8738" y="379"/>
                  </a:moveTo>
                  <a:cubicBezTo>
                    <a:pt x="11057" y="379"/>
                    <a:pt x="13130" y="1316"/>
                    <a:pt x="14645" y="2831"/>
                  </a:cubicBezTo>
                  <a:cubicBezTo>
                    <a:pt x="16161" y="4347"/>
                    <a:pt x="17097" y="6442"/>
                    <a:pt x="17097" y="8738"/>
                  </a:cubicBezTo>
                  <a:cubicBezTo>
                    <a:pt x="17097" y="11056"/>
                    <a:pt x="16161" y="13152"/>
                    <a:pt x="14645" y="14667"/>
                  </a:cubicBezTo>
                  <a:cubicBezTo>
                    <a:pt x="13130" y="16183"/>
                    <a:pt x="11057" y="17119"/>
                    <a:pt x="8738" y="17119"/>
                  </a:cubicBezTo>
                  <a:cubicBezTo>
                    <a:pt x="6420" y="17119"/>
                    <a:pt x="4325" y="16183"/>
                    <a:pt x="2809" y="14667"/>
                  </a:cubicBezTo>
                  <a:cubicBezTo>
                    <a:pt x="1293" y="13152"/>
                    <a:pt x="357" y="11056"/>
                    <a:pt x="357" y="8738"/>
                  </a:cubicBezTo>
                  <a:cubicBezTo>
                    <a:pt x="357" y="6442"/>
                    <a:pt x="1293" y="4347"/>
                    <a:pt x="2809" y="2831"/>
                  </a:cubicBezTo>
                  <a:cubicBezTo>
                    <a:pt x="4325" y="1316"/>
                    <a:pt x="6420" y="379"/>
                    <a:pt x="8738" y="379"/>
                  </a:cubicBezTo>
                  <a:close/>
                  <a:moveTo>
                    <a:pt x="8738" y="0"/>
                  </a:moveTo>
                  <a:cubicBezTo>
                    <a:pt x="3901" y="0"/>
                    <a:pt x="1" y="3924"/>
                    <a:pt x="1" y="8738"/>
                  </a:cubicBezTo>
                  <a:cubicBezTo>
                    <a:pt x="1" y="13575"/>
                    <a:pt x="3901" y="17498"/>
                    <a:pt x="8738" y="17498"/>
                  </a:cubicBezTo>
                  <a:cubicBezTo>
                    <a:pt x="13553" y="17498"/>
                    <a:pt x="17476" y="13575"/>
                    <a:pt x="17476" y="8738"/>
                  </a:cubicBezTo>
                  <a:cubicBezTo>
                    <a:pt x="17476" y="3924"/>
                    <a:pt x="13553" y="0"/>
                    <a:pt x="8738"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88" name="Google Shape;688;p15"/>
            <p:cNvSpPr/>
            <p:nvPr/>
          </p:nvSpPr>
          <p:spPr>
            <a:xfrm flipH="1">
              <a:off x="3242641" y="509484"/>
              <a:ext cx="136177" cy="136177"/>
            </a:xfrm>
            <a:custGeom>
              <a:avLst/>
              <a:gdLst/>
              <a:ahLst/>
              <a:cxnLst/>
              <a:rect l="l" t="t" r="r" b="b"/>
              <a:pathLst>
                <a:path w="10812" h="10812" extrusionOk="0">
                  <a:moveTo>
                    <a:pt x="5417" y="1"/>
                  </a:moveTo>
                  <a:cubicBezTo>
                    <a:pt x="2430" y="1"/>
                    <a:pt x="1" y="2431"/>
                    <a:pt x="1" y="5395"/>
                  </a:cubicBezTo>
                  <a:cubicBezTo>
                    <a:pt x="1" y="8382"/>
                    <a:pt x="2430" y="10812"/>
                    <a:pt x="5417" y="10812"/>
                  </a:cubicBezTo>
                  <a:cubicBezTo>
                    <a:pt x="8404" y="10812"/>
                    <a:pt x="10812" y="8382"/>
                    <a:pt x="10812" y="5395"/>
                  </a:cubicBezTo>
                  <a:cubicBezTo>
                    <a:pt x="10812" y="2431"/>
                    <a:pt x="8404" y="1"/>
                    <a:pt x="5417"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89" name="Google Shape;689;p15"/>
            <p:cNvSpPr/>
            <p:nvPr/>
          </p:nvSpPr>
          <p:spPr>
            <a:xfrm flipH="1">
              <a:off x="3240109" y="507242"/>
              <a:ext cx="140951" cy="140674"/>
            </a:xfrm>
            <a:custGeom>
              <a:avLst/>
              <a:gdLst/>
              <a:ahLst/>
              <a:cxnLst/>
              <a:rect l="l" t="t" r="r" b="b"/>
              <a:pathLst>
                <a:path w="11191" h="11169" extrusionOk="0">
                  <a:moveTo>
                    <a:pt x="5595" y="357"/>
                  </a:moveTo>
                  <a:cubicBezTo>
                    <a:pt x="7044" y="357"/>
                    <a:pt x="8337" y="937"/>
                    <a:pt x="9273" y="1895"/>
                  </a:cubicBezTo>
                  <a:cubicBezTo>
                    <a:pt x="10232" y="2832"/>
                    <a:pt x="10811" y="4147"/>
                    <a:pt x="10811" y="5573"/>
                  </a:cubicBezTo>
                  <a:cubicBezTo>
                    <a:pt x="10811" y="7022"/>
                    <a:pt x="10232" y="8337"/>
                    <a:pt x="9273" y="9273"/>
                  </a:cubicBezTo>
                  <a:cubicBezTo>
                    <a:pt x="8337" y="10210"/>
                    <a:pt x="7044" y="10789"/>
                    <a:pt x="5595" y="10789"/>
                  </a:cubicBezTo>
                  <a:cubicBezTo>
                    <a:pt x="4147" y="10789"/>
                    <a:pt x="2854" y="10210"/>
                    <a:pt x="1895" y="9273"/>
                  </a:cubicBezTo>
                  <a:cubicBezTo>
                    <a:pt x="959" y="8337"/>
                    <a:pt x="379" y="7022"/>
                    <a:pt x="379" y="5573"/>
                  </a:cubicBezTo>
                  <a:cubicBezTo>
                    <a:pt x="379" y="4147"/>
                    <a:pt x="959" y="2832"/>
                    <a:pt x="1895" y="1895"/>
                  </a:cubicBezTo>
                  <a:cubicBezTo>
                    <a:pt x="2854" y="937"/>
                    <a:pt x="4147" y="357"/>
                    <a:pt x="5595" y="357"/>
                  </a:cubicBezTo>
                  <a:close/>
                  <a:moveTo>
                    <a:pt x="5595" y="1"/>
                  </a:moveTo>
                  <a:cubicBezTo>
                    <a:pt x="2497" y="1"/>
                    <a:pt x="1" y="2497"/>
                    <a:pt x="1" y="5573"/>
                  </a:cubicBezTo>
                  <a:cubicBezTo>
                    <a:pt x="1" y="8672"/>
                    <a:pt x="2497" y="11168"/>
                    <a:pt x="5595" y="11168"/>
                  </a:cubicBezTo>
                  <a:cubicBezTo>
                    <a:pt x="8671" y="11168"/>
                    <a:pt x="11190" y="8672"/>
                    <a:pt x="11190" y="5573"/>
                  </a:cubicBezTo>
                  <a:cubicBezTo>
                    <a:pt x="11190" y="2497"/>
                    <a:pt x="8671" y="1"/>
                    <a:pt x="5595"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690" name="Google Shape;690;p15"/>
          <p:cNvGrpSpPr/>
          <p:nvPr/>
        </p:nvGrpSpPr>
        <p:grpSpPr>
          <a:xfrm>
            <a:off x="1591751" y="362600"/>
            <a:ext cx="175013" cy="27000"/>
            <a:chOff x="5662375" y="212375"/>
            <a:chExt cx="175013" cy="27000"/>
          </a:xfrm>
        </p:grpSpPr>
        <p:sp>
          <p:nvSpPr>
            <p:cNvPr id="691" name="Google Shape;691;p15"/>
            <p:cNvSpPr/>
            <p:nvPr/>
          </p:nvSpPr>
          <p:spPr>
            <a:xfrm>
              <a:off x="5662375" y="212375"/>
              <a:ext cx="27000" cy="27000"/>
            </a:xfrm>
            <a:prstGeom prst="ellipse">
              <a:avLst/>
            </a:pr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92" name="Google Shape;692;p15"/>
            <p:cNvSpPr/>
            <p:nvPr/>
          </p:nvSpPr>
          <p:spPr>
            <a:xfrm>
              <a:off x="5736381" y="212375"/>
              <a:ext cx="27000" cy="27000"/>
            </a:xfrm>
            <a:prstGeom prst="ellipse">
              <a:avLst/>
            </a:pr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93" name="Google Shape;693;p15"/>
            <p:cNvSpPr/>
            <p:nvPr/>
          </p:nvSpPr>
          <p:spPr>
            <a:xfrm>
              <a:off x="5810388" y="212375"/>
              <a:ext cx="27000" cy="27000"/>
            </a:xfrm>
            <a:prstGeom prst="ellipse">
              <a:avLst/>
            </a:pr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cxnSp>
        <p:nvCxnSpPr>
          <p:cNvPr id="694" name="Google Shape;694;p15"/>
          <p:cNvCxnSpPr/>
          <p:nvPr/>
        </p:nvCxnSpPr>
        <p:spPr>
          <a:xfrm flipH="1">
            <a:off x="8151325" y="6875"/>
            <a:ext cx="1002600" cy="494400"/>
          </a:xfrm>
          <a:prstGeom prst="straightConnector1">
            <a:avLst/>
          </a:prstGeom>
          <a:noFill/>
          <a:ln w="9525" cap="flat" cmpd="sng">
            <a:solidFill>
              <a:schemeClr val="dk1"/>
            </a:solidFill>
            <a:prstDash val="solid"/>
            <a:round/>
            <a:headEnd type="none" w="med" len="med"/>
            <a:tailEnd type="none" w="med" len="med"/>
          </a:ln>
        </p:spPr>
      </p:cxnSp>
      <p:grpSp>
        <p:nvGrpSpPr>
          <p:cNvPr id="695" name="Google Shape;695;p15"/>
          <p:cNvGrpSpPr/>
          <p:nvPr/>
        </p:nvGrpSpPr>
        <p:grpSpPr>
          <a:xfrm>
            <a:off x="7823876" y="202375"/>
            <a:ext cx="581800" cy="582350"/>
            <a:chOff x="8064275" y="887850"/>
            <a:chExt cx="581800" cy="582350"/>
          </a:xfrm>
        </p:grpSpPr>
        <p:sp>
          <p:nvSpPr>
            <p:cNvPr id="696" name="Google Shape;696;p15"/>
            <p:cNvSpPr/>
            <p:nvPr/>
          </p:nvSpPr>
          <p:spPr>
            <a:xfrm>
              <a:off x="8068750" y="892875"/>
              <a:ext cx="572875" cy="572325"/>
            </a:xfrm>
            <a:custGeom>
              <a:avLst/>
              <a:gdLst/>
              <a:ahLst/>
              <a:cxnLst/>
              <a:rect l="l" t="t" r="r" b="b"/>
              <a:pathLst>
                <a:path w="22915" h="22893" extrusionOk="0">
                  <a:moveTo>
                    <a:pt x="11457" y="0"/>
                  </a:moveTo>
                  <a:cubicBezTo>
                    <a:pt x="5127" y="0"/>
                    <a:pt x="0" y="5127"/>
                    <a:pt x="0" y="11435"/>
                  </a:cubicBezTo>
                  <a:cubicBezTo>
                    <a:pt x="0" y="17766"/>
                    <a:pt x="5127" y="22892"/>
                    <a:pt x="11457" y="22892"/>
                  </a:cubicBezTo>
                  <a:cubicBezTo>
                    <a:pt x="17788" y="22892"/>
                    <a:pt x="22914" y="17766"/>
                    <a:pt x="22914" y="11435"/>
                  </a:cubicBezTo>
                  <a:cubicBezTo>
                    <a:pt x="22914" y="5127"/>
                    <a:pt x="17788" y="0"/>
                    <a:pt x="11457" y="0"/>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97" name="Google Shape;697;p15"/>
            <p:cNvSpPr/>
            <p:nvPr/>
          </p:nvSpPr>
          <p:spPr>
            <a:xfrm>
              <a:off x="8064275" y="887850"/>
              <a:ext cx="581800" cy="582350"/>
            </a:xfrm>
            <a:custGeom>
              <a:avLst/>
              <a:gdLst/>
              <a:ahLst/>
              <a:cxnLst/>
              <a:rect l="l" t="t" r="r" b="b"/>
              <a:pathLst>
                <a:path w="23272" h="23294" extrusionOk="0">
                  <a:moveTo>
                    <a:pt x="11636" y="380"/>
                  </a:moveTo>
                  <a:cubicBezTo>
                    <a:pt x="14757" y="380"/>
                    <a:pt x="17566" y="1628"/>
                    <a:pt x="19594" y="3679"/>
                  </a:cubicBezTo>
                  <a:cubicBezTo>
                    <a:pt x="21645" y="5707"/>
                    <a:pt x="22893" y="8538"/>
                    <a:pt x="22893" y="11636"/>
                  </a:cubicBezTo>
                  <a:cubicBezTo>
                    <a:pt x="22893" y="14757"/>
                    <a:pt x="21645" y="17565"/>
                    <a:pt x="19594" y="19616"/>
                  </a:cubicBezTo>
                  <a:cubicBezTo>
                    <a:pt x="17566" y="21644"/>
                    <a:pt x="14757" y="22915"/>
                    <a:pt x="11636" y="22915"/>
                  </a:cubicBezTo>
                  <a:cubicBezTo>
                    <a:pt x="8516" y="22915"/>
                    <a:pt x="5707" y="21644"/>
                    <a:pt x="3657" y="19616"/>
                  </a:cubicBezTo>
                  <a:cubicBezTo>
                    <a:pt x="1628" y="17565"/>
                    <a:pt x="358" y="14757"/>
                    <a:pt x="358" y="11636"/>
                  </a:cubicBezTo>
                  <a:cubicBezTo>
                    <a:pt x="358" y="8538"/>
                    <a:pt x="1628" y="5707"/>
                    <a:pt x="3657" y="3679"/>
                  </a:cubicBezTo>
                  <a:cubicBezTo>
                    <a:pt x="5707" y="1628"/>
                    <a:pt x="8516" y="380"/>
                    <a:pt x="11636" y="380"/>
                  </a:cubicBezTo>
                  <a:close/>
                  <a:moveTo>
                    <a:pt x="11636" y="1"/>
                  </a:moveTo>
                  <a:cubicBezTo>
                    <a:pt x="5217" y="1"/>
                    <a:pt x="1" y="5217"/>
                    <a:pt x="1" y="11636"/>
                  </a:cubicBezTo>
                  <a:cubicBezTo>
                    <a:pt x="1" y="18078"/>
                    <a:pt x="5217" y="23294"/>
                    <a:pt x="11636" y="23294"/>
                  </a:cubicBezTo>
                  <a:cubicBezTo>
                    <a:pt x="18056" y="23294"/>
                    <a:pt x="23272" y="18078"/>
                    <a:pt x="23272" y="11636"/>
                  </a:cubicBezTo>
                  <a:cubicBezTo>
                    <a:pt x="23272" y="5217"/>
                    <a:pt x="18056" y="1"/>
                    <a:pt x="11636"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98" name="Google Shape;698;p15"/>
            <p:cNvSpPr/>
            <p:nvPr/>
          </p:nvSpPr>
          <p:spPr>
            <a:xfrm>
              <a:off x="8141175" y="965325"/>
              <a:ext cx="428000" cy="427425"/>
            </a:xfrm>
            <a:custGeom>
              <a:avLst/>
              <a:gdLst/>
              <a:ahLst/>
              <a:cxnLst/>
              <a:rect l="l" t="t" r="r" b="b"/>
              <a:pathLst>
                <a:path w="17120" h="17097" extrusionOk="0">
                  <a:moveTo>
                    <a:pt x="8560" y="0"/>
                  </a:moveTo>
                  <a:cubicBezTo>
                    <a:pt x="3835" y="0"/>
                    <a:pt x="1" y="3812"/>
                    <a:pt x="1" y="8537"/>
                  </a:cubicBezTo>
                  <a:cubicBezTo>
                    <a:pt x="1" y="13263"/>
                    <a:pt x="3835" y="17097"/>
                    <a:pt x="8560" y="17097"/>
                  </a:cubicBezTo>
                  <a:cubicBezTo>
                    <a:pt x="13286" y="17097"/>
                    <a:pt x="17120" y="13263"/>
                    <a:pt x="17120" y="8537"/>
                  </a:cubicBezTo>
                  <a:cubicBezTo>
                    <a:pt x="17120" y="3812"/>
                    <a:pt x="13286" y="0"/>
                    <a:pt x="8560" y="0"/>
                  </a:cubicBezTo>
                  <a:close/>
                </a:path>
              </a:pathLst>
            </a:custGeom>
            <a:solidFill>
              <a:schemeClr val="l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699" name="Google Shape;699;p15"/>
            <p:cNvSpPr/>
            <p:nvPr/>
          </p:nvSpPr>
          <p:spPr>
            <a:xfrm>
              <a:off x="8136725" y="960300"/>
              <a:ext cx="436925" cy="437475"/>
            </a:xfrm>
            <a:custGeom>
              <a:avLst/>
              <a:gdLst/>
              <a:ahLst/>
              <a:cxnLst/>
              <a:rect l="l" t="t" r="r" b="b"/>
              <a:pathLst>
                <a:path w="17477" h="17499" extrusionOk="0">
                  <a:moveTo>
                    <a:pt x="8738" y="379"/>
                  </a:moveTo>
                  <a:cubicBezTo>
                    <a:pt x="11057" y="379"/>
                    <a:pt x="13130" y="1316"/>
                    <a:pt x="14645" y="2831"/>
                  </a:cubicBezTo>
                  <a:cubicBezTo>
                    <a:pt x="16161" y="4347"/>
                    <a:pt x="17097" y="6442"/>
                    <a:pt x="17097" y="8738"/>
                  </a:cubicBezTo>
                  <a:cubicBezTo>
                    <a:pt x="17097" y="11056"/>
                    <a:pt x="16161" y="13152"/>
                    <a:pt x="14645" y="14667"/>
                  </a:cubicBezTo>
                  <a:cubicBezTo>
                    <a:pt x="13130" y="16183"/>
                    <a:pt x="11057" y="17119"/>
                    <a:pt x="8738" y="17119"/>
                  </a:cubicBezTo>
                  <a:cubicBezTo>
                    <a:pt x="6420" y="17119"/>
                    <a:pt x="4325" y="16183"/>
                    <a:pt x="2809" y="14667"/>
                  </a:cubicBezTo>
                  <a:cubicBezTo>
                    <a:pt x="1293" y="13152"/>
                    <a:pt x="357" y="11056"/>
                    <a:pt x="357" y="8738"/>
                  </a:cubicBezTo>
                  <a:cubicBezTo>
                    <a:pt x="357" y="6442"/>
                    <a:pt x="1293" y="4347"/>
                    <a:pt x="2809" y="2831"/>
                  </a:cubicBezTo>
                  <a:cubicBezTo>
                    <a:pt x="4325" y="1316"/>
                    <a:pt x="6420" y="379"/>
                    <a:pt x="8738" y="379"/>
                  </a:cubicBezTo>
                  <a:close/>
                  <a:moveTo>
                    <a:pt x="8738" y="0"/>
                  </a:moveTo>
                  <a:cubicBezTo>
                    <a:pt x="3901" y="0"/>
                    <a:pt x="1" y="3924"/>
                    <a:pt x="1" y="8738"/>
                  </a:cubicBezTo>
                  <a:cubicBezTo>
                    <a:pt x="1" y="13575"/>
                    <a:pt x="3901" y="17498"/>
                    <a:pt x="8738" y="17498"/>
                  </a:cubicBezTo>
                  <a:cubicBezTo>
                    <a:pt x="13553" y="17498"/>
                    <a:pt x="17476" y="13575"/>
                    <a:pt x="17476" y="8738"/>
                  </a:cubicBezTo>
                  <a:cubicBezTo>
                    <a:pt x="17476" y="3924"/>
                    <a:pt x="13553" y="0"/>
                    <a:pt x="8738"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700" name="Google Shape;700;p15"/>
            <p:cNvSpPr/>
            <p:nvPr/>
          </p:nvSpPr>
          <p:spPr>
            <a:xfrm>
              <a:off x="8219750" y="1043875"/>
              <a:ext cx="270300" cy="270300"/>
            </a:xfrm>
            <a:custGeom>
              <a:avLst/>
              <a:gdLst/>
              <a:ahLst/>
              <a:cxnLst/>
              <a:rect l="l" t="t" r="r" b="b"/>
              <a:pathLst>
                <a:path w="10812" h="10812" extrusionOk="0">
                  <a:moveTo>
                    <a:pt x="5417" y="1"/>
                  </a:moveTo>
                  <a:cubicBezTo>
                    <a:pt x="2430" y="1"/>
                    <a:pt x="1" y="2431"/>
                    <a:pt x="1" y="5395"/>
                  </a:cubicBezTo>
                  <a:cubicBezTo>
                    <a:pt x="1" y="8382"/>
                    <a:pt x="2430" y="10812"/>
                    <a:pt x="5417" y="10812"/>
                  </a:cubicBezTo>
                  <a:cubicBezTo>
                    <a:pt x="8404" y="10812"/>
                    <a:pt x="10812" y="8382"/>
                    <a:pt x="10812" y="5395"/>
                  </a:cubicBezTo>
                  <a:cubicBezTo>
                    <a:pt x="10812" y="2431"/>
                    <a:pt x="8404" y="1"/>
                    <a:pt x="5417"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701" name="Google Shape;701;p15"/>
            <p:cNvSpPr/>
            <p:nvPr/>
          </p:nvSpPr>
          <p:spPr>
            <a:xfrm>
              <a:off x="8215300" y="1039425"/>
              <a:ext cx="279775" cy="279225"/>
            </a:xfrm>
            <a:custGeom>
              <a:avLst/>
              <a:gdLst/>
              <a:ahLst/>
              <a:cxnLst/>
              <a:rect l="l" t="t" r="r" b="b"/>
              <a:pathLst>
                <a:path w="11191" h="11169" extrusionOk="0">
                  <a:moveTo>
                    <a:pt x="5595" y="357"/>
                  </a:moveTo>
                  <a:cubicBezTo>
                    <a:pt x="7044" y="357"/>
                    <a:pt x="8337" y="937"/>
                    <a:pt x="9273" y="1895"/>
                  </a:cubicBezTo>
                  <a:cubicBezTo>
                    <a:pt x="10232" y="2832"/>
                    <a:pt x="10811" y="4147"/>
                    <a:pt x="10811" y="5573"/>
                  </a:cubicBezTo>
                  <a:cubicBezTo>
                    <a:pt x="10811" y="7022"/>
                    <a:pt x="10232" y="8337"/>
                    <a:pt x="9273" y="9273"/>
                  </a:cubicBezTo>
                  <a:cubicBezTo>
                    <a:pt x="8337" y="10210"/>
                    <a:pt x="7044" y="10789"/>
                    <a:pt x="5595" y="10789"/>
                  </a:cubicBezTo>
                  <a:cubicBezTo>
                    <a:pt x="4147" y="10789"/>
                    <a:pt x="2854" y="10210"/>
                    <a:pt x="1895" y="9273"/>
                  </a:cubicBezTo>
                  <a:cubicBezTo>
                    <a:pt x="959" y="8337"/>
                    <a:pt x="379" y="7022"/>
                    <a:pt x="379" y="5573"/>
                  </a:cubicBezTo>
                  <a:cubicBezTo>
                    <a:pt x="379" y="4147"/>
                    <a:pt x="959" y="2832"/>
                    <a:pt x="1895" y="1895"/>
                  </a:cubicBezTo>
                  <a:cubicBezTo>
                    <a:pt x="2854" y="937"/>
                    <a:pt x="4147" y="357"/>
                    <a:pt x="5595" y="357"/>
                  </a:cubicBezTo>
                  <a:close/>
                  <a:moveTo>
                    <a:pt x="5595" y="1"/>
                  </a:moveTo>
                  <a:cubicBezTo>
                    <a:pt x="2497" y="1"/>
                    <a:pt x="1" y="2497"/>
                    <a:pt x="1" y="5573"/>
                  </a:cubicBezTo>
                  <a:cubicBezTo>
                    <a:pt x="1" y="8672"/>
                    <a:pt x="2497" y="11168"/>
                    <a:pt x="5595" y="11168"/>
                  </a:cubicBezTo>
                  <a:cubicBezTo>
                    <a:pt x="8671" y="11168"/>
                    <a:pt x="11190" y="8672"/>
                    <a:pt x="11190" y="5573"/>
                  </a:cubicBezTo>
                  <a:cubicBezTo>
                    <a:pt x="11190" y="2497"/>
                    <a:pt x="8671" y="1"/>
                    <a:pt x="5595"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702" name="Google Shape;702;p15"/>
          <p:cNvGrpSpPr/>
          <p:nvPr/>
        </p:nvGrpSpPr>
        <p:grpSpPr>
          <a:xfrm flipH="1">
            <a:off x="8698651" y="1117489"/>
            <a:ext cx="292025" cy="292575"/>
            <a:chOff x="7353050" y="316275"/>
            <a:chExt cx="292025" cy="292575"/>
          </a:xfrm>
        </p:grpSpPr>
        <p:sp>
          <p:nvSpPr>
            <p:cNvPr id="703" name="Google Shape;703;p15"/>
            <p:cNvSpPr/>
            <p:nvPr/>
          </p:nvSpPr>
          <p:spPr>
            <a:xfrm>
              <a:off x="7358075" y="321275"/>
              <a:ext cx="282550" cy="282550"/>
            </a:xfrm>
            <a:custGeom>
              <a:avLst/>
              <a:gdLst/>
              <a:ahLst/>
              <a:cxnLst/>
              <a:rect l="l" t="t" r="r" b="b"/>
              <a:pathLst>
                <a:path w="11302" h="11302" extrusionOk="0">
                  <a:moveTo>
                    <a:pt x="5640" y="1"/>
                  </a:moveTo>
                  <a:cubicBezTo>
                    <a:pt x="2519" y="1"/>
                    <a:pt x="0" y="2520"/>
                    <a:pt x="0" y="5640"/>
                  </a:cubicBezTo>
                  <a:cubicBezTo>
                    <a:pt x="0" y="8783"/>
                    <a:pt x="2519" y="11302"/>
                    <a:pt x="5640" y="11302"/>
                  </a:cubicBezTo>
                  <a:cubicBezTo>
                    <a:pt x="8783" y="11302"/>
                    <a:pt x="11301" y="8783"/>
                    <a:pt x="11301" y="5640"/>
                  </a:cubicBezTo>
                  <a:cubicBezTo>
                    <a:pt x="11301" y="2520"/>
                    <a:pt x="8783" y="1"/>
                    <a:pt x="5640" y="1"/>
                  </a:cubicBezTo>
                  <a:close/>
                </a:path>
              </a:pathLst>
            </a:custGeom>
            <a:solidFill>
              <a:schemeClr val="l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704" name="Google Shape;704;p15"/>
            <p:cNvSpPr/>
            <p:nvPr/>
          </p:nvSpPr>
          <p:spPr>
            <a:xfrm>
              <a:off x="7353050" y="316275"/>
              <a:ext cx="292025" cy="292575"/>
            </a:xfrm>
            <a:custGeom>
              <a:avLst/>
              <a:gdLst/>
              <a:ahLst/>
              <a:cxnLst/>
              <a:rect l="l" t="t" r="r" b="b"/>
              <a:pathLst>
                <a:path w="11681" h="11703" extrusionOk="0">
                  <a:moveTo>
                    <a:pt x="5841" y="379"/>
                  </a:moveTo>
                  <a:cubicBezTo>
                    <a:pt x="7356" y="379"/>
                    <a:pt x="8716" y="981"/>
                    <a:pt x="9719" y="1984"/>
                  </a:cubicBezTo>
                  <a:cubicBezTo>
                    <a:pt x="10700" y="2965"/>
                    <a:pt x="11324" y="4347"/>
                    <a:pt x="11324" y="5840"/>
                  </a:cubicBezTo>
                  <a:cubicBezTo>
                    <a:pt x="11324" y="7356"/>
                    <a:pt x="10700" y="8738"/>
                    <a:pt x="9719" y="9719"/>
                  </a:cubicBezTo>
                  <a:cubicBezTo>
                    <a:pt x="8716" y="10699"/>
                    <a:pt x="7356" y="11324"/>
                    <a:pt x="5841" y="11324"/>
                  </a:cubicBezTo>
                  <a:cubicBezTo>
                    <a:pt x="4347" y="11324"/>
                    <a:pt x="2965" y="10699"/>
                    <a:pt x="1984" y="9719"/>
                  </a:cubicBezTo>
                  <a:cubicBezTo>
                    <a:pt x="981" y="8738"/>
                    <a:pt x="380" y="7356"/>
                    <a:pt x="380" y="5840"/>
                  </a:cubicBezTo>
                  <a:cubicBezTo>
                    <a:pt x="380" y="4347"/>
                    <a:pt x="981" y="2965"/>
                    <a:pt x="1984" y="1984"/>
                  </a:cubicBezTo>
                  <a:cubicBezTo>
                    <a:pt x="2965" y="981"/>
                    <a:pt x="4347" y="379"/>
                    <a:pt x="5841" y="379"/>
                  </a:cubicBezTo>
                  <a:close/>
                  <a:moveTo>
                    <a:pt x="5841" y="0"/>
                  </a:moveTo>
                  <a:cubicBezTo>
                    <a:pt x="2631" y="0"/>
                    <a:pt x="1" y="2630"/>
                    <a:pt x="1" y="5840"/>
                  </a:cubicBezTo>
                  <a:cubicBezTo>
                    <a:pt x="1" y="9072"/>
                    <a:pt x="2631" y="11703"/>
                    <a:pt x="5841" y="11703"/>
                  </a:cubicBezTo>
                  <a:cubicBezTo>
                    <a:pt x="9073" y="11703"/>
                    <a:pt x="11681" y="9072"/>
                    <a:pt x="11681" y="5840"/>
                  </a:cubicBezTo>
                  <a:cubicBezTo>
                    <a:pt x="11681" y="2630"/>
                    <a:pt x="9073" y="0"/>
                    <a:pt x="5841"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705" name="Google Shape;705;p15"/>
            <p:cNvSpPr/>
            <p:nvPr/>
          </p:nvSpPr>
          <p:spPr>
            <a:xfrm>
              <a:off x="7419925" y="383125"/>
              <a:ext cx="158275" cy="158300"/>
            </a:xfrm>
            <a:custGeom>
              <a:avLst/>
              <a:gdLst/>
              <a:ahLst/>
              <a:cxnLst/>
              <a:rect l="l" t="t" r="r" b="b"/>
              <a:pathLst>
                <a:path w="6331" h="6332" extrusionOk="0">
                  <a:moveTo>
                    <a:pt x="3166" y="1"/>
                  </a:moveTo>
                  <a:cubicBezTo>
                    <a:pt x="1427" y="1"/>
                    <a:pt x="0" y="1428"/>
                    <a:pt x="0" y="3166"/>
                  </a:cubicBezTo>
                  <a:cubicBezTo>
                    <a:pt x="0" y="4927"/>
                    <a:pt x="1427" y="6331"/>
                    <a:pt x="3166" y="6331"/>
                  </a:cubicBezTo>
                  <a:cubicBezTo>
                    <a:pt x="4927" y="6331"/>
                    <a:pt x="6331" y="4927"/>
                    <a:pt x="6331" y="3166"/>
                  </a:cubicBezTo>
                  <a:cubicBezTo>
                    <a:pt x="6331" y="1428"/>
                    <a:pt x="4927" y="1"/>
                    <a:pt x="3166"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706" name="Google Shape;706;p15"/>
            <p:cNvSpPr/>
            <p:nvPr/>
          </p:nvSpPr>
          <p:spPr>
            <a:xfrm>
              <a:off x="7415475" y="378675"/>
              <a:ext cx="167750" cy="167775"/>
            </a:xfrm>
            <a:custGeom>
              <a:avLst/>
              <a:gdLst/>
              <a:ahLst/>
              <a:cxnLst/>
              <a:rect l="l" t="t" r="r" b="b"/>
              <a:pathLst>
                <a:path w="6710" h="6711" extrusionOk="0">
                  <a:moveTo>
                    <a:pt x="3344" y="380"/>
                  </a:moveTo>
                  <a:cubicBezTo>
                    <a:pt x="4168" y="380"/>
                    <a:pt x="4926" y="714"/>
                    <a:pt x="5461" y="1249"/>
                  </a:cubicBezTo>
                  <a:cubicBezTo>
                    <a:pt x="5996" y="1784"/>
                    <a:pt x="6330" y="2519"/>
                    <a:pt x="6330" y="3344"/>
                  </a:cubicBezTo>
                  <a:cubicBezTo>
                    <a:pt x="6330" y="4169"/>
                    <a:pt x="5996" y="4927"/>
                    <a:pt x="5461" y="5462"/>
                  </a:cubicBezTo>
                  <a:cubicBezTo>
                    <a:pt x="4926" y="5997"/>
                    <a:pt x="4168" y="6331"/>
                    <a:pt x="3344" y="6331"/>
                  </a:cubicBezTo>
                  <a:cubicBezTo>
                    <a:pt x="2519" y="6331"/>
                    <a:pt x="1783" y="5997"/>
                    <a:pt x="1248" y="5462"/>
                  </a:cubicBezTo>
                  <a:cubicBezTo>
                    <a:pt x="713" y="4927"/>
                    <a:pt x="379" y="4169"/>
                    <a:pt x="379" y="3344"/>
                  </a:cubicBezTo>
                  <a:cubicBezTo>
                    <a:pt x="379" y="2519"/>
                    <a:pt x="713" y="1784"/>
                    <a:pt x="1248" y="1249"/>
                  </a:cubicBezTo>
                  <a:cubicBezTo>
                    <a:pt x="1783" y="714"/>
                    <a:pt x="2519" y="380"/>
                    <a:pt x="3344" y="380"/>
                  </a:cubicBezTo>
                  <a:close/>
                  <a:moveTo>
                    <a:pt x="3344" y="1"/>
                  </a:moveTo>
                  <a:cubicBezTo>
                    <a:pt x="1494" y="1"/>
                    <a:pt x="0" y="1494"/>
                    <a:pt x="0" y="3344"/>
                  </a:cubicBezTo>
                  <a:cubicBezTo>
                    <a:pt x="0" y="5194"/>
                    <a:pt x="1494" y="6710"/>
                    <a:pt x="3344" y="6710"/>
                  </a:cubicBezTo>
                  <a:cubicBezTo>
                    <a:pt x="5194" y="6710"/>
                    <a:pt x="6709" y="5194"/>
                    <a:pt x="6709" y="3344"/>
                  </a:cubicBezTo>
                  <a:cubicBezTo>
                    <a:pt x="6709" y="1494"/>
                    <a:pt x="5194" y="1"/>
                    <a:pt x="3344"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707" name="Google Shape;707;p15"/>
          <p:cNvGrpSpPr/>
          <p:nvPr/>
        </p:nvGrpSpPr>
        <p:grpSpPr>
          <a:xfrm>
            <a:off x="8678351" y="1581800"/>
            <a:ext cx="175013" cy="27000"/>
            <a:chOff x="5662375" y="212375"/>
            <a:chExt cx="175013" cy="27000"/>
          </a:xfrm>
        </p:grpSpPr>
        <p:sp>
          <p:nvSpPr>
            <p:cNvPr id="708" name="Google Shape;708;p15"/>
            <p:cNvSpPr/>
            <p:nvPr/>
          </p:nvSpPr>
          <p:spPr>
            <a:xfrm>
              <a:off x="5662375" y="212375"/>
              <a:ext cx="27000" cy="27000"/>
            </a:xfrm>
            <a:prstGeom prst="ellipse">
              <a:avLst/>
            </a:pr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709" name="Google Shape;709;p15"/>
            <p:cNvSpPr/>
            <p:nvPr/>
          </p:nvSpPr>
          <p:spPr>
            <a:xfrm>
              <a:off x="5736381" y="212375"/>
              <a:ext cx="27000" cy="27000"/>
            </a:xfrm>
            <a:prstGeom prst="ellipse">
              <a:avLst/>
            </a:pr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710" name="Google Shape;710;p15"/>
            <p:cNvSpPr/>
            <p:nvPr/>
          </p:nvSpPr>
          <p:spPr>
            <a:xfrm>
              <a:off x="5810388" y="212375"/>
              <a:ext cx="27000" cy="27000"/>
            </a:xfrm>
            <a:prstGeom prst="ellipse">
              <a:avLst/>
            </a:pr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spTree>
    <p:extLst>
      <p:ext uri="{BB962C8B-B14F-4D97-AF65-F5344CB8AC3E}">
        <p14:creationId xmlns:p14="http://schemas.microsoft.com/office/powerpoint/2010/main" val="3935206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97"/>
        <p:cNvGrpSpPr/>
        <p:nvPr/>
      </p:nvGrpSpPr>
      <p:grpSpPr>
        <a:xfrm>
          <a:off x="0" y="0"/>
          <a:ext cx="0" cy="0"/>
          <a:chOff x="0" y="0"/>
          <a:chExt cx="0" cy="0"/>
        </a:xfrm>
      </p:grpSpPr>
      <p:sp>
        <p:nvSpPr>
          <p:cNvPr id="98" name="Google Shape;98;p4"/>
          <p:cNvSpPr txBox="1">
            <a:spLocks noGrp="1"/>
          </p:cNvSpPr>
          <p:nvPr>
            <p:ph type="title"/>
          </p:nvPr>
        </p:nvSpPr>
        <p:spPr>
          <a:xfrm>
            <a:off x="713250" y="539400"/>
            <a:ext cx="7717500" cy="685800"/>
          </a:xfrm>
          <a:prstGeom prst="rect">
            <a:avLst/>
          </a:prstGeom>
        </p:spPr>
        <p:txBody>
          <a:bodyPr spcFirstLastPara="1" wrap="square" lIns="91425" tIns="91425" rIns="91425" bIns="91425" anchor="t" anchorCtr="0">
            <a:noAutofit/>
          </a:bodyPr>
          <a:lstStyle>
            <a:lvl1pPr lvl="0" algn="ctr">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sp>
        <p:nvSpPr>
          <p:cNvPr id="99" name="Google Shape;99;p4"/>
          <p:cNvSpPr txBox="1">
            <a:spLocks noGrp="1"/>
          </p:cNvSpPr>
          <p:nvPr>
            <p:ph type="body" idx="1"/>
          </p:nvPr>
        </p:nvSpPr>
        <p:spPr>
          <a:xfrm>
            <a:off x="713250" y="1408175"/>
            <a:ext cx="7717500" cy="3195900"/>
          </a:xfrm>
          <a:prstGeom prst="rect">
            <a:avLst/>
          </a:prstGeom>
        </p:spPr>
        <p:txBody>
          <a:bodyPr spcFirstLastPara="1" wrap="square" lIns="91425" tIns="91425" rIns="91425" bIns="91425" anchor="t" anchorCtr="0">
            <a:noAutofit/>
          </a:bodyPr>
          <a:lstStyle>
            <a:lvl1pPr marL="457200" lvl="0" indent="-317500">
              <a:spcBef>
                <a:spcPts val="0"/>
              </a:spcBef>
              <a:spcAft>
                <a:spcPts val="0"/>
              </a:spcAft>
              <a:buSzPts val="14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grpSp>
        <p:nvGrpSpPr>
          <p:cNvPr id="100" name="Google Shape;100;p4"/>
          <p:cNvGrpSpPr/>
          <p:nvPr/>
        </p:nvGrpSpPr>
        <p:grpSpPr>
          <a:xfrm>
            <a:off x="-1054946" y="-275767"/>
            <a:ext cx="11356622" cy="5934311"/>
            <a:chOff x="-1054946" y="-275767"/>
            <a:chExt cx="11356622" cy="5934311"/>
          </a:xfrm>
        </p:grpSpPr>
        <p:grpSp>
          <p:nvGrpSpPr>
            <p:cNvPr id="101" name="Google Shape;101;p4"/>
            <p:cNvGrpSpPr/>
            <p:nvPr/>
          </p:nvGrpSpPr>
          <p:grpSpPr>
            <a:xfrm>
              <a:off x="7346241" y="1780665"/>
              <a:ext cx="2955435" cy="3877878"/>
              <a:chOff x="7346241" y="1780665"/>
              <a:chExt cx="2955435" cy="3877878"/>
            </a:xfrm>
          </p:grpSpPr>
          <p:grpSp>
            <p:nvGrpSpPr>
              <p:cNvPr id="102" name="Google Shape;102;p4"/>
              <p:cNvGrpSpPr/>
              <p:nvPr/>
            </p:nvGrpSpPr>
            <p:grpSpPr>
              <a:xfrm rot="-2486011" flipH="1">
                <a:off x="8548878" y="2003470"/>
                <a:ext cx="1338507" cy="1758092"/>
                <a:chOff x="3255967" y="2507600"/>
                <a:chExt cx="1305465" cy="1715179"/>
              </a:xfrm>
            </p:grpSpPr>
            <p:sp>
              <p:nvSpPr>
                <p:cNvPr id="103" name="Google Shape;103;p4"/>
                <p:cNvSpPr/>
                <p:nvPr/>
              </p:nvSpPr>
              <p:spPr>
                <a:xfrm>
                  <a:off x="4191774" y="3356698"/>
                  <a:ext cx="369658" cy="519086"/>
                </a:xfrm>
                <a:custGeom>
                  <a:avLst/>
                  <a:gdLst/>
                  <a:ahLst/>
                  <a:cxnLst/>
                  <a:rect l="l" t="t" r="r" b="b"/>
                  <a:pathLst>
                    <a:path w="11711" h="16445" extrusionOk="0">
                      <a:moveTo>
                        <a:pt x="10695" y="0"/>
                      </a:moveTo>
                      <a:cubicBezTo>
                        <a:pt x="10695" y="0"/>
                        <a:pt x="8962" y="777"/>
                        <a:pt x="7394" y="3032"/>
                      </a:cubicBezTo>
                      <a:lnTo>
                        <a:pt x="7290" y="2256"/>
                      </a:lnTo>
                      <a:cubicBezTo>
                        <a:pt x="7290" y="2256"/>
                        <a:pt x="4691" y="4735"/>
                        <a:pt x="3660" y="6841"/>
                      </a:cubicBezTo>
                      <a:lnTo>
                        <a:pt x="3660" y="5945"/>
                      </a:lnTo>
                      <a:cubicBezTo>
                        <a:pt x="3660" y="5945"/>
                        <a:pt x="1" y="10635"/>
                        <a:pt x="2674" y="16445"/>
                      </a:cubicBezTo>
                      <a:cubicBezTo>
                        <a:pt x="2674" y="16445"/>
                        <a:pt x="5423" y="16370"/>
                        <a:pt x="9067" y="13249"/>
                      </a:cubicBezTo>
                      <a:lnTo>
                        <a:pt x="8529" y="13174"/>
                      </a:lnTo>
                      <a:cubicBezTo>
                        <a:pt x="8529" y="13174"/>
                        <a:pt x="11053" y="9559"/>
                        <a:pt x="11666" y="5930"/>
                      </a:cubicBezTo>
                      <a:lnTo>
                        <a:pt x="11666" y="5930"/>
                      </a:lnTo>
                      <a:lnTo>
                        <a:pt x="11009" y="6184"/>
                      </a:lnTo>
                      <a:cubicBezTo>
                        <a:pt x="11009" y="6184"/>
                        <a:pt x="11711" y="2659"/>
                        <a:pt x="1069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104;p4"/>
                <p:cNvSpPr/>
                <p:nvPr/>
              </p:nvSpPr>
              <p:spPr>
                <a:xfrm>
                  <a:off x="3567576" y="2507600"/>
                  <a:ext cx="429537" cy="595474"/>
                </a:xfrm>
                <a:custGeom>
                  <a:avLst/>
                  <a:gdLst/>
                  <a:ahLst/>
                  <a:cxnLst/>
                  <a:rect l="l" t="t" r="r" b="b"/>
                  <a:pathLst>
                    <a:path w="13608" h="18865" extrusionOk="0">
                      <a:moveTo>
                        <a:pt x="1300" y="1"/>
                      </a:moveTo>
                      <a:lnTo>
                        <a:pt x="1315" y="31"/>
                      </a:lnTo>
                      <a:lnTo>
                        <a:pt x="1300" y="16"/>
                      </a:lnTo>
                      <a:cubicBezTo>
                        <a:pt x="1106" y="554"/>
                        <a:pt x="1211" y="2779"/>
                        <a:pt x="1211" y="2779"/>
                      </a:cubicBezTo>
                      <a:lnTo>
                        <a:pt x="539" y="2421"/>
                      </a:lnTo>
                      <a:lnTo>
                        <a:pt x="539" y="2421"/>
                      </a:lnTo>
                      <a:cubicBezTo>
                        <a:pt x="434" y="3317"/>
                        <a:pt x="1255" y="6408"/>
                        <a:pt x="1270" y="6513"/>
                      </a:cubicBezTo>
                      <a:lnTo>
                        <a:pt x="1" y="6080"/>
                      </a:lnTo>
                      <a:lnTo>
                        <a:pt x="1" y="6080"/>
                      </a:lnTo>
                      <a:cubicBezTo>
                        <a:pt x="583" y="8783"/>
                        <a:pt x="4332" y="13309"/>
                        <a:pt x="4332" y="13309"/>
                      </a:cubicBezTo>
                      <a:lnTo>
                        <a:pt x="3152" y="13488"/>
                      </a:lnTo>
                      <a:cubicBezTo>
                        <a:pt x="6677" y="17924"/>
                        <a:pt x="12995" y="18865"/>
                        <a:pt x="12995" y="18865"/>
                      </a:cubicBezTo>
                      <a:cubicBezTo>
                        <a:pt x="13010" y="18820"/>
                        <a:pt x="13040" y="18775"/>
                        <a:pt x="13055" y="18731"/>
                      </a:cubicBezTo>
                      <a:cubicBezTo>
                        <a:pt x="13085" y="18686"/>
                        <a:pt x="13100" y="18641"/>
                        <a:pt x="13115" y="18596"/>
                      </a:cubicBezTo>
                      <a:cubicBezTo>
                        <a:pt x="13144" y="18536"/>
                        <a:pt x="13159" y="18492"/>
                        <a:pt x="13174" y="18447"/>
                      </a:cubicBezTo>
                      <a:cubicBezTo>
                        <a:pt x="13189" y="18402"/>
                        <a:pt x="13204" y="18342"/>
                        <a:pt x="13219" y="18297"/>
                      </a:cubicBezTo>
                      <a:cubicBezTo>
                        <a:pt x="13249" y="18238"/>
                        <a:pt x="13264" y="18193"/>
                        <a:pt x="13279" y="18148"/>
                      </a:cubicBezTo>
                      <a:cubicBezTo>
                        <a:pt x="13294" y="18088"/>
                        <a:pt x="13309" y="18029"/>
                        <a:pt x="13324" y="17984"/>
                      </a:cubicBezTo>
                      <a:cubicBezTo>
                        <a:pt x="13339" y="17924"/>
                        <a:pt x="13353" y="17864"/>
                        <a:pt x="13353" y="17819"/>
                      </a:cubicBezTo>
                      <a:cubicBezTo>
                        <a:pt x="13368" y="17760"/>
                        <a:pt x="13383" y="17700"/>
                        <a:pt x="13398" y="17640"/>
                      </a:cubicBezTo>
                      <a:cubicBezTo>
                        <a:pt x="13413" y="17595"/>
                        <a:pt x="13413" y="17536"/>
                        <a:pt x="13428" y="17476"/>
                      </a:cubicBezTo>
                      <a:cubicBezTo>
                        <a:pt x="13443" y="17416"/>
                        <a:pt x="13458" y="17356"/>
                        <a:pt x="13458" y="17297"/>
                      </a:cubicBezTo>
                      <a:cubicBezTo>
                        <a:pt x="13473" y="17237"/>
                        <a:pt x="13488" y="17177"/>
                        <a:pt x="13488" y="17117"/>
                      </a:cubicBezTo>
                      <a:cubicBezTo>
                        <a:pt x="13503" y="17058"/>
                        <a:pt x="13503" y="16983"/>
                        <a:pt x="13518" y="16923"/>
                      </a:cubicBezTo>
                      <a:cubicBezTo>
                        <a:pt x="13518" y="16864"/>
                        <a:pt x="13533" y="16804"/>
                        <a:pt x="13533" y="16744"/>
                      </a:cubicBezTo>
                      <a:cubicBezTo>
                        <a:pt x="13548" y="16669"/>
                        <a:pt x="13548" y="16610"/>
                        <a:pt x="13548" y="16550"/>
                      </a:cubicBezTo>
                      <a:cubicBezTo>
                        <a:pt x="13563" y="16490"/>
                        <a:pt x="13563" y="16415"/>
                        <a:pt x="13578" y="16356"/>
                      </a:cubicBezTo>
                      <a:cubicBezTo>
                        <a:pt x="13578" y="16281"/>
                        <a:pt x="13578" y="16221"/>
                        <a:pt x="13578" y="16162"/>
                      </a:cubicBezTo>
                      <a:cubicBezTo>
                        <a:pt x="13592" y="16087"/>
                        <a:pt x="13592" y="16027"/>
                        <a:pt x="13592" y="15952"/>
                      </a:cubicBezTo>
                      <a:cubicBezTo>
                        <a:pt x="13592" y="15893"/>
                        <a:pt x="13607" y="15818"/>
                        <a:pt x="13607" y="15758"/>
                      </a:cubicBezTo>
                      <a:cubicBezTo>
                        <a:pt x="13607" y="15684"/>
                        <a:pt x="13607" y="15624"/>
                        <a:pt x="13607" y="15549"/>
                      </a:cubicBezTo>
                      <a:cubicBezTo>
                        <a:pt x="13607" y="15489"/>
                        <a:pt x="13607" y="15415"/>
                        <a:pt x="13607" y="15355"/>
                      </a:cubicBezTo>
                      <a:cubicBezTo>
                        <a:pt x="13607" y="15280"/>
                        <a:pt x="13607" y="15206"/>
                        <a:pt x="13607" y="15146"/>
                      </a:cubicBezTo>
                      <a:cubicBezTo>
                        <a:pt x="13607" y="15071"/>
                        <a:pt x="13607" y="15012"/>
                        <a:pt x="13607" y="14937"/>
                      </a:cubicBezTo>
                      <a:cubicBezTo>
                        <a:pt x="13607" y="14862"/>
                        <a:pt x="13607" y="14802"/>
                        <a:pt x="13607" y="14728"/>
                      </a:cubicBezTo>
                      <a:cubicBezTo>
                        <a:pt x="13607" y="14668"/>
                        <a:pt x="13607" y="14593"/>
                        <a:pt x="13607" y="14519"/>
                      </a:cubicBezTo>
                      <a:cubicBezTo>
                        <a:pt x="13607" y="14459"/>
                        <a:pt x="13607" y="14384"/>
                        <a:pt x="13592" y="14310"/>
                      </a:cubicBezTo>
                      <a:cubicBezTo>
                        <a:pt x="13592" y="14250"/>
                        <a:pt x="13592" y="14175"/>
                        <a:pt x="13592" y="14115"/>
                      </a:cubicBezTo>
                      <a:cubicBezTo>
                        <a:pt x="13592" y="14041"/>
                        <a:pt x="13592" y="13966"/>
                        <a:pt x="13578" y="13906"/>
                      </a:cubicBezTo>
                      <a:cubicBezTo>
                        <a:pt x="13578" y="13832"/>
                        <a:pt x="13578" y="13772"/>
                        <a:pt x="13578" y="13697"/>
                      </a:cubicBezTo>
                      <a:cubicBezTo>
                        <a:pt x="13428" y="11233"/>
                        <a:pt x="12980" y="8962"/>
                        <a:pt x="12980" y="8962"/>
                      </a:cubicBezTo>
                      <a:lnTo>
                        <a:pt x="12547" y="9754"/>
                      </a:lnTo>
                      <a:cubicBezTo>
                        <a:pt x="11755" y="6737"/>
                        <a:pt x="8425" y="3138"/>
                        <a:pt x="8425" y="3138"/>
                      </a:cubicBezTo>
                      <a:lnTo>
                        <a:pt x="8425" y="3152"/>
                      </a:lnTo>
                      <a:lnTo>
                        <a:pt x="8440" y="4064"/>
                      </a:lnTo>
                      <a:cubicBezTo>
                        <a:pt x="7439" y="2630"/>
                        <a:pt x="5094" y="1285"/>
                        <a:pt x="5094" y="1285"/>
                      </a:cubicBezTo>
                      <a:lnTo>
                        <a:pt x="5094" y="1300"/>
                      </a:lnTo>
                      <a:lnTo>
                        <a:pt x="5109" y="1883"/>
                      </a:lnTo>
                      <a:cubicBezTo>
                        <a:pt x="4034" y="1002"/>
                        <a:pt x="1390" y="31"/>
                        <a:pt x="130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4"/>
                <p:cNvSpPr/>
                <p:nvPr/>
              </p:nvSpPr>
              <p:spPr>
                <a:xfrm>
                  <a:off x="4137577" y="3199694"/>
                  <a:ext cx="207445" cy="272059"/>
                </a:xfrm>
                <a:custGeom>
                  <a:avLst/>
                  <a:gdLst/>
                  <a:ahLst/>
                  <a:cxnLst/>
                  <a:rect l="l" t="t" r="r" b="b"/>
                  <a:pathLst>
                    <a:path w="6572" h="8619" extrusionOk="0">
                      <a:moveTo>
                        <a:pt x="6199" y="1"/>
                      </a:moveTo>
                      <a:lnTo>
                        <a:pt x="6199" y="1"/>
                      </a:lnTo>
                      <a:cubicBezTo>
                        <a:pt x="4630" y="300"/>
                        <a:pt x="3555" y="1420"/>
                        <a:pt x="3555" y="1420"/>
                      </a:cubicBezTo>
                      <a:lnTo>
                        <a:pt x="3316" y="807"/>
                      </a:lnTo>
                      <a:cubicBezTo>
                        <a:pt x="2241" y="1509"/>
                        <a:pt x="1583" y="4078"/>
                        <a:pt x="1583" y="4078"/>
                      </a:cubicBezTo>
                      <a:lnTo>
                        <a:pt x="1285" y="3660"/>
                      </a:lnTo>
                      <a:lnTo>
                        <a:pt x="1285" y="3660"/>
                      </a:lnTo>
                      <a:cubicBezTo>
                        <a:pt x="0" y="6020"/>
                        <a:pt x="1389" y="8619"/>
                        <a:pt x="1389" y="8619"/>
                      </a:cubicBezTo>
                      <a:cubicBezTo>
                        <a:pt x="3540" y="8365"/>
                        <a:pt x="5228" y="6408"/>
                        <a:pt x="5228" y="6408"/>
                      </a:cubicBezTo>
                      <a:lnTo>
                        <a:pt x="5228" y="6408"/>
                      </a:lnTo>
                      <a:lnTo>
                        <a:pt x="4436" y="6573"/>
                      </a:lnTo>
                      <a:cubicBezTo>
                        <a:pt x="5691" y="5736"/>
                        <a:pt x="6527" y="3302"/>
                        <a:pt x="6572" y="3197"/>
                      </a:cubicBezTo>
                      <a:lnTo>
                        <a:pt x="6572" y="3197"/>
                      </a:lnTo>
                      <a:lnTo>
                        <a:pt x="5945" y="3451"/>
                      </a:lnTo>
                      <a:cubicBezTo>
                        <a:pt x="6467" y="2286"/>
                        <a:pt x="6199" y="1"/>
                        <a:pt x="619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106;p4"/>
                <p:cNvSpPr/>
                <p:nvPr/>
              </p:nvSpPr>
              <p:spPr>
                <a:xfrm>
                  <a:off x="3255967" y="2989439"/>
                  <a:ext cx="652512" cy="337619"/>
                </a:xfrm>
                <a:custGeom>
                  <a:avLst/>
                  <a:gdLst/>
                  <a:ahLst/>
                  <a:cxnLst/>
                  <a:rect l="l" t="t" r="r" b="b"/>
                  <a:pathLst>
                    <a:path w="20672" h="10696" extrusionOk="0">
                      <a:moveTo>
                        <a:pt x="12427" y="0"/>
                      </a:moveTo>
                      <a:lnTo>
                        <a:pt x="12427" y="15"/>
                      </a:lnTo>
                      <a:lnTo>
                        <a:pt x="12681" y="658"/>
                      </a:lnTo>
                      <a:cubicBezTo>
                        <a:pt x="12576" y="629"/>
                        <a:pt x="11042" y="273"/>
                        <a:pt x="9055" y="273"/>
                      </a:cubicBezTo>
                      <a:cubicBezTo>
                        <a:pt x="7921" y="273"/>
                        <a:pt x="6640" y="389"/>
                        <a:pt x="5392" y="747"/>
                      </a:cubicBezTo>
                      <a:lnTo>
                        <a:pt x="5407" y="762"/>
                      </a:lnTo>
                      <a:lnTo>
                        <a:pt x="5392" y="762"/>
                      </a:lnTo>
                      <a:lnTo>
                        <a:pt x="6109" y="1330"/>
                      </a:lnTo>
                      <a:cubicBezTo>
                        <a:pt x="5870" y="1434"/>
                        <a:pt x="2286" y="2943"/>
                        <a:pt x="0" y="5796"/>
                      </a:cubicBezTo>
                      <a:cubicBezTo>
                        <a:pt x="165" y="5945"/>
                        <a:pt x="1972" y="7588"/>
                        <a:pt x="4466" y="8155"/>
                      </a:cubicBezTo>
                      <a:lnTo>
                        <a:pt x="3689" y="8514"/>
                      </a:lnTo>
                      <a:cubicBezTo>
                        <a:pt x="3689" y="8514"/>
                        <a:pt x="7041" y="10001"/>
                        <a:pt x="10015" y="10001"/>
                      </a:cubicBezTo>
                      <a:cubicBezTo>
                        <a:pt x="10224" y="10001"/>
                        <a:pt x="10431" y="9993"/>
                        <a:pt x="10635" y="9978"/>
                      </a:cubicBezTo>
                      <a:lnTo>
                        <a:pt x="10635" y="9978"/>
                      </a:lnTo>
                      <a:lnTo>
                        <a:pt x="9604" y="10575"/>
                      </a:lnTo>
                      <a:cubicBezTo>
                        <a:pt x="9604" y="10575"/>
                        <a:pt x="10408" y="10695"/>
                        <a:pt x="11654" y="10695"/>
                      </a:cubicBezTo>
                      <a:cubicBezTo>
                        <a:pt x="13921" y="10695"/>
                        <a:pt x="17654" y="10297"/>
                        <a:pt x="20671" y="8051"/>
                      </a:cubicBezTo>
                      <a:lnTo>
                        <a:pt x="20671" y="8036"/>
                      </a:lnTo>
                      <a:lnTo>
                        <a:pt x="20657" y="8021"/>
                      </a:lnTo>
                      <a:lnTo>
                        <a:pt x="20642" y="7991"/>
                      </a:lnTo>
                      <a:lnTo>
                        <a:pt x="20627" y="7946"/>
                      </a:lnTo>
                      <a:lnTo>
                        <a:pt x="20612" y="7901"/>
                      </a:lnTo>
                      <a:lnTo>
                        <a:pt x="20582" y="7857"/>
                      </a:lnTo>
                      <a:lnTo>
                        <a:pt x="20567" y="7797"/>
                      </a:lnTo>
                      <a:lnTo>
                        <a:pt x="20537" y="7722"/>
                      </a:lnTo>
                      <a:lnTo>
                        <a:pt x="20507" y="7648"/>
                      </a:lnTo>
                      <a:lnTo>
                        <a:pt x="20462" y="7573"/>
                      </a:lnTo>
                      <a:lnTo>
                        <a:pt x="20418" y="7483"/>
                      </a:lnTo>
                      <a:lnTo>
                        <a:pt x="20373" y="7394"/>
                      </a:lnTo>
                      <a:lnTo>
                        <a:pt x="20328" y="7304"/>
                      </a:lnTo>
                      <a:cubicBezTo>
                        <a:pt x="20313" y="7274"/>
                        <a:pt x="20298" y="7229"/>
                        <a:pt x="20283" y="7200"/>
                      </a:cubicBezTo>
                      <a:cubicBezTo>
                        <a:pt x="19402" y="5467"/>
                        <a:pt x="17012" y="1613"/>
                        <a:pt x="124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107;p4"/>
                <p:cNvSpPr/>
                <p:nvPr/>
              </p:nvSpPr>
              <p:spPr>
                <a:xfrm>
                  <a:off x="3675560" y="3494669"/>
                  <a:ext cx="490331" cy="341123"/>
                </a:xfrm>
                <a:custGeom>
                  <a:avLst/>
                  <a:gdLst/>
                  <a:ahLst/>
                  <a:cxnLst/>
                  <a:rect l="l" t="t" r="r" b="b"/>
                  <a:pathLst>
                    <a:path w="15534" h="10807" extrusionOk="0">
                      <a:moveTo>
                        <a:pt x="1855" y="1"/>
                      </a:moveTo>
                      <a:cubicBezTo>
                        <a:pt x="1234" y="1"/>
                        <a:pt x="602" y="57"/>
                        <a:pt x="0" y="200"/>
                      </a:cubicBezTo>
                      <a:cubicBezTo>
                        <a:pt x="0" y="200"/>
                        <a:pt x="553" y="2022"/>
                        <a:pt x="2569" y="3874"/>
                      </a:cubicBezTo>
                      <a:lnTo>
                        <a:pt x="1778" y="3874"/>
                      </a:lnTo>
                      <a:cubicBezTo>
                        <a:pt x="1778" y="3874"/>
                        <a:pt x="3898" y="6787"/>
                        <a:pt x="5855" y="8071"/>
                      </a:cubicBezTo>
                      <a:lnTo>
                        <a:pt x="4959" y="7952"/>
                      </a:lnTo>
                      <a:lnTo>
                        <a:pt x="4959" y="7952"/>
                      </a:lnTo>
                      <a:cubicBezTo>
                        <a:pt x="4959" y="7952"/>
                        <a:pt x="7764" y="10807"/>
                        <a:pt x="12135" y="10807"/>
                      </a:cubicBezTo>
                      <a:cubicBezTo>
                        <a:pt x="13101" y="10807"/>
                        <a:pt x="14144" y="10667"/>
                        <a:pt x="15250" y="10326"/>
                      </a:cubicBezTo>
                      <a:cubicBezTo>
                        <a:pt x="15250" y="10326"/>
                        <a:pt x="15533" y="7593"/>
                        <a:pt x="12935" y="3575"/>
                      </a:cubicBezTo>
                      <a:lnTo>
                        <a:pt x="12785" y="4083"/>
                      </a:lnTo>
                      <a:cubicBezTo>
                        <a:pt x="12785" y="4083"/>
                        <a:pt x="9529" y="1096"/>
                        <a:pt x="6004" y="36"/>
                      </a:cubicBezTo>
                      <a:lnTo>
                        <a:pt x="6004" y="36"/>
                      </a:lnTo>
                      <a:lnTo>
                        <a:pt x="6169" y="723"/>
                      </a:lnTo>
                      <a:cubicBezTo>
                        <a:pt x="6169" y="723"/>
                        <a:pt x="4085" y="1"/>
                        <a:pt x="18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108;p4"/>
                <p:cNvSpPr/>
                <p:nvPr/>
              </p:nvSpPr>
              <p:spPr>
                <a:xfrm>
                  <a:off x="3688281" y="2611322"/>
                  <a:ext cx="602544" cy="1611456"/>
                </a:xfrm>
                <a:custGeom>
                  <a:avLst/>
                  <a:gdLst/>
                  <a:ahLst/>
                  <a:cxnLst/>
                  <a:rect l="l" t="t" r="r" b="b"/>
                  <a:pathLst>
                    <a:path w="19089" h="51052" extrusionOk="0">
                      <a:moveTo>
                        <a:pt x="120" y="1"/>
                      </a:moveTo>
                      <a:lnTo>
                        <a:pt x="0" y="76"/>
                      </a:lnTo>
                      <a:cubicBezTo>
                        <a:pt x="717" y="972"/>
                        <a:pt x="1375" y="1913"/>
                        <a:pt x="2017" y="2854"/>
                      </a:cubicBezTo>
                      <a:cubicBezTo>
                        <a:pt x="2674" y="3795"/>
                        <a:pt x="3286" y="4780"/>
                        <a:pt x="3869" y="5751"/>
                      </a:cubicBezTo>
                      <a:cubicBezTo>
                        <a:pt x="5064" y="7693"/>
                        <a:pt x="6184" y="9694"/>
                        <a:pt x="7229" y="11740"/>
                      </a:cubicBezTo>
                      <a:cubicBezTo>
                        <a:pt x="9291" y="15818"/>
                        <a:pt x="11098" y="20045"/>
                        <a:pt x="12636" y="24361"/>
                      </a:cubicBezTo>
                      <a:cubicBezTo>
                        <a:pt x="12830" y="24884"/>
                        <a:pt x="13010" y="25437"/>
                        <a:pt x="13204" y="25974"/>
                      </a:cubicBezTo>
                      <a:cubicBezTo>
                        <a:pt x="13398" y="26527"/>
                        <a:pt x="13592" y="27065"/>
                        <a:pt x="13756" y="27602"/>
                      </a:cubicBezTo>
                      <a:lnTo>
                        <a:pt x="14279" y="29245"/>
                      </a:lnTo>
                      <a:lnTo>
                        <a:pt x="14772" y="30888"/>
                      </a:lnTo>
                      <a:lnTo>
                        <a:pt x="15011" y="31710"/>
                      </a:lnTo>
                      <a:lnTo>
                        <a:pt x="15250" y="32531"/>
                      </a:lnTo>
                      <a:lnTo>
                        <a:pt x="15698" y="34189"/>
                      </a:lnTo>
                      <a:lnTo>
                        <a:pt x="16116" y="35847"/>
                      </a:lnTo>
                      <a:lnTo>
                        <a:pt x="16325" y="36683"/>
                      </a:lnTo>
                      <a:lnTo>
                        <a:pt x="16505" y="37520"/>
                      </a:lnTo>
                      <a:cubicBezTo>
                        <a:pt x="17535" y="41986"/>
                        <a:pt x="18342" y="46511"/>
                        <a:pt x="18879" y="51052"/>
                      </a:cubicBezTo>
                      <a:lnTo>
                        <a:pt x="19088" y="51022"/>
                      </a:lnTo>
                      <a:cubicBezTo>
                        <a:pt x="18536" y="46466"/>
                        <a:pt x="17729" y="41941"/>
                        <a:pt x="16684" y="37490"/>
                      </a:cubicBezTo>
                      <a:lnTo>
                        <a:pt x="16505" y="36653"/>
                      </a:lnTo>
                      <a:lnTo>
                        <a:pt x="16295" y="35817"/>
                      </a:lnTo>
                      <a:lnTo>
                        <a:pt x="15862" y="34144"/>
                      </a:lnTo>
                      <a:lnTo>
                        <a:pt x="15414" y="32471"/>
                      </a:lnTo>
                      <a:lnTo>
                        <a:pt x="15175" y="31650"/>
                      </a:lnTo>
                      <a:lnTo>
                        <a:pt x="14936" y="30828"/>
                      </a:lnTo>
                      <a:lnTo>
                        <a:pt x="14443" y="29186"/>
                      </a:lnTo>
                      <a:lnTo>
                        <a:pt x="13921" y="27558"/>
                      </a:lnTo>
                      <a:cubicBezTo>
                        <a:pt x="13741" y="27005"/>
                        <a:pt x="13562" y="26452"/>
                        <a:pt x="13368" y="25915"/>
                      </a:cubicBezTo>
                      <a:cubicBezTo>
                        <a:pt x="13189" y="25377"/>
                        <a:pt x="13010" y="24839"/>
                        <a:pt x="12800" y="24302"/>
                      </a:cubicBezTo>
                      <a:cubicBezTo>
                        <a:pt x="11247" y="19985"/>
                        <a:pt x="9425" y="15758"/>
                        <a:pt x="7349" y="11681"/>
                      </a:cubicBezTo>
                      <a:cubicBezTo>
                        <a:pt x="6303" y="9649"/>
                        <a:pt x="5183" y="7648"/>
                        <a:pt x="3988" y="5676"/>
                      </a:cubicBezTo>
                      <a:cubicBezTo>
                        <a:pt x="3391" y="4706"/>
                        <a:pt x="2779" y="3735"/>
                        <a:pt x="2136" y="2779"/>
                      </a:cubicBezTo>
                      <a:cubicBezTo>
                        <a:pt x="1494" y="1838"/>
                        <a:pt x="822" y="897"/>
                        <a:pt x="120" y="1"/>
                      </a:cubicBez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109;p4"/>
                <p:cNvSpPr/>
                <p:nvPr/>
              </p:nvSpPr>
              <p:spPr>
                <a:xfrm>
                  <a:off x="3347884" y="3087985"/>
                  <a:ext cx="723722" cy="239515"/>
                </a:xfrm>
                <a:custGeom>
                  <a:avLst/>
                  <a:gdLst/>
                  <a:ahLst/>
                  <a:cxnLst/>
                  <a:rect l="l" t="t" r="r" b="b"/>
                  <a:pathLst>
                    <a:path w="22928" h="7588" fill="none" extrusionOk="0">
                      <a:moveTo>
                        <a:pt x="22927" y="7587"/>
                      </a:moveTo>
                      <a:cubicBezTo>
                        <a:pt x="22927" y="7587"/>
                        <a:pt x="11785" y="0"/>
                        <a:pt x="1" y="227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110;p4"/>
                <p:cNvSpPr/>
                <p:nvPr/>
              </p:nvSpPr>
              <p:spPr>
                <a:xfrm>
                  <a:off x="4023470" y="2831962"/>
                  <a:ext cx="318270" cy="431430"/>
                </a:xfrm>
                <a:custGeom>
                  <a:avLst/>
                  <a:gdLst/>
                  <a:ahLst/>
                  <a:cxnLst/>
                  <a:rect l="l" t="t" r="r" b="b"/>
                  <a:pathLst>
                    <a:path w="10083" h="13668" extrusionOk="0">
                      <a:moveTo>
                        <a:pt x="9933" y="3376"/>
                      </a:moveTo>
                      <a:cubicBezTo>
                        <a:pt x="9933" y="3376"/>
                        <a:pt x="9933" y="3376"/>
                        <a:pt x="9933" y="3376"/>
                      </a:cubicBezTo>
                      <a:lnTo>
                        <a:pt x="9933" y="3376"/>
                      </a:lnTo>
                      <a:lnTo>
                        <a:pt x="9933" y="3376"/>
                      </a:lnTo>
                      <a:close/>
                      <a:moveTo>
                        <a:pt x="9739" y="1"/>
                      </a:moveTo>
                      <a:lnTo>
                        <a:pt x="9739" y="1"/>
                      </a:lnTo>
                      <a:cubicBezTo>
                        <a:pt x="6976" y="270"/>
                        <a:pt x="4526" y="1987"/>
                        <a:pt x="4526" y="1987"/>
                      </a:cubicBezTo>
                      <a:lnTo>
                        <a:pt x="4467" y="1300"/>
                      </a:lnTo>
                      <a:cubicBezTo>
                        <a:pt x="2420" y="3048"/>
                        <a:pt x="1450" y="5751"/>
                        <a:pt x="1450" y="5751"/>
                      </a:cubicBezTo>
                      <a:lnTo>
                        <a:pt x="1151" y="5333"/>
                      </a:lnTo>
                      <a:lnTo>
                        <a:pt x="1151" y="5333"/>
                      </a:lnTo>
                      <a:cubicBezTo>
                        <a:pt x="1" y="9859"/>
                        <a:pt x="2764" y="13667"/>
                        <a:pt x="2764" y="13667"/>
                      </a:cubicBezTo>
                      <a:cubicBezTo>
                        <a:pt x="6811" y="12174"/>
                        <a:pt x="8798" y="7858"/>
                        <a:pt x="8798" y="7857"/>
                      </a:cubicBezTo>
                      <a:lnTo>
                        <a:pt x="8798" y="7857"/>
                      </a:lnTo>
                      <a:lnTo>
                        <a:pt x="8006" y="8260"/>
                      </a:lnTo>
                      <a:cubicBezTo>
                        <a:pt x="9406" y="6444"/>
                        <a:pt x="9915" y="3397"/>
                        <a:pt x="9933" y="3376"/>
                      </a:cubicBezTo>
                      <a:lnTo>
                        <a:pt x="9933" y="3376"/>
                      </a:lnTo>
                      <a:lnTo>
                        <a:pt x="9395" y="3705"/>
                      </a:lnTo>
                      <a:cubicBezTo>
                        <a:pt x="10082" y="1853"/>
                        <a:pt x="9739" y="1"/>
                        <a:pt x="973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111;p4"/>
                <p:cNvSpPr/>
                <p:nvPr/>
              </p:nvSpPr>
              <p:spPr>
                <a:xfrm>
                  <a:off x="4090893" y="2884296"/>
                  <a:ext cx="194756" cy="513436"/>
                </a:xfrm>
                <a:custGeom>
                  <a:avLst/>
                  <a:gdLst/>
                  <a:ahLst/>
                  <a:cxnLst/>
                  <a:rect l="l" t="t" r="r" b="b"/>
                  <a:pathLst>
                    <a:path w="6170" h="16266" fill="none" extrusionOk="0">
                      <a:moveTo>
                        <a:pt x="180" y="16266"/>
                      </a:moveTo>
                      <a:cubicBezTo>
                        <a:pt x="180" y="16266"/>
                        <a:pt x="1" y="6334"/>
                        <a:pt x="616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12;p4"/>
                <p:cNvSpPr/>
                <p:nvPr/>
              </p:nvSpPr>
              <p:spPr>
                <a:xfrm>
                  <a:off x="3751443" y="3534914"/>
                  <a:ext cx="495065" cy="419625"/>
                </a:xfrm>
                <a:custGeom>
                  <a:avLst/>
                  <a:gdLst/>
                  <a:ahLst/>
                  <a:cxnLst/>
                  <a:rect l="l" t="t" r="r" b="b"/>
                  <a:pathLst>
                    <a:path w="15684" h="13294" fill="none" extrusionOk="0">
                      <a:moveTo>
                        <a:pt x="1" y="0"/>
                      </a:moveTo>
                      <a:cubicBezTo>
                        <a:pt x="1" y="0"/>
                        <a:pt x="13368" y="6781"/>
                        <a:pt x="15683" y="1329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113;p4"/>
                <p:cNvSpPr/>
                <p:nvPr/>
              </p:nvSpPr>
              <p:spPr>
                <a:xfrm>
                  <a:off x="4225265" y="3427404"/>
                  <a:ext cx="260727" cy="608699"/>
                </a:xfrm>
                <a:custGeom>
                  <a:avLst/>
                  <a:gdLst/>
                  <a:ahLst/>
                  <a:cxnLst/>
                  <a:rect l="l" t="t" r="r" b="b"/>
                  <a:pathLst>
                    <a:path w="8260" h="19284" fill="none" extrusionOk="0">
                      <a:moveTo>
                        <a:pt x="8260" y="1"/>
                      </a:moveTo>
                      <a:cubicBezTo>
                        <a:pt x="8260" y="1"/>
                        <a:pt x="0" y="12502"/>
                        <a:pt x="1180" y="1928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114;p4"/>
                <p:cNvSpPr/>
                <p:nvPr/>
              </p:nvSpPr>
              <p:spPr>
                <a:xfrm>
                  <a:off x="3786827" y="3358119"/>
                  <a:ext cx="384714" cy="273479"/>
                </a:xfrm>
                <a:custGeom>
                  <a:avLst/>
                  <a:gdLst/>
                  <a:ahLst/>
                  <a:cxnLst/>
                  <a:rect l="l" t="t" r="r" b="b"/>
                  <a:pathLst>
                    <a:path w="12188" h="8664" fill="none" extrusionOk="0">
                      <a:moveTo>
                        <a:pt x="12188" y="8663"/>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4"/>
                <p:cNvSpPr/>
                <p:nvPr/>
              </p:nvSpPr>
              <p:spPr>
                <a:xfrm>
                  <a:off x="3934835" y="3380751"/>
                  <a:ext cx="22664" cy="98546"/>
                </a:xfrm>
                <a:custGeom>
                  <a:avLst/>
                  <a:gdLst/>
                  <a:ahLst/>
                  <a:cxnLst/>
                  <a:rect l="l" t="t" r="r" b="b"/>
                  <a:pathLst>
                    <a:path w="718" h="3122" fill="none" extrusionOk="0">
                      <a:moveTo>
                        <a:pt x="1" y="0"/>
                      </a:moveTo>
                      <a:lnTo>
                        <a:pt x="718" y="312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4"/>
                <p:cNvSpPr/>
                <p:nvPr/>
              </p:nvSpPr>
              <p:spPr>
                <a:xfrm>
                  <a:off x="4149824" y="3259099"/>
                  <a:ext cx="148545" cy="298479"/>
                </a:xfrm>
                <a:custGeom>
                  <a:avLst/>
                  <a:gdLst/>
                  <a:ahLst/>
                  <a:cxnLst/>
                  <a:rect l="l" t="t" r="r" b="b"/>
                  <a:pathLst>
                    <a:path w="4706" h="9456" fill="none" extrusionOk="0">
                      <a:moveTo>
                        <a:pt x="1" y="9455"/>
                      </a:moveTo>
                      <a:cubicBezTo>
                        <a:pt x="1" y="9455"/>
                        <a:pt x="2286" y="2420"/>
                        <a:pt x="4705"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4"/>
                <p:cNvSpPr/>
                <p:nvPr/>
              </p:nvSpPr>
              <p:spPr>
                <a:xfrm>
                  <a:off x="4182841" y="3523582"/>
                  <a:ext cx="68370" cy="149965"/>
                </a:xfrm>
                <a:custGeom>
                  <a:avLst/>
                  <a:gdLst/>
                  <a:ahLst/>
                  <a:cxnLst/>
                  <a:rect l="l" t="t" r="r" b="b"/>
                  <a:pathLst>
                    <a:path w="2166" h="4751" fill="none" extrusionOk="0">
                      <a:moveTo>
                        <a:pt x="0" y="4750"/>
                      </a:moveTo>
                      <a:lnTo>
                        <a:pt x="2166"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118;p4"/>
                <p:cNvSpPr/>
                <p:nvPr/>
              </p:nvSpPr>
              <p:spPr>
                <a:xfrm>
                  <a:off x="4212071" y="3533494"/>
                  <a:ext cx="11805" cy="50472"/>
                </a:xfrm>
                <a:custGeom>
                  <a:avLst/>
                  <a:gdLst/>
                  <a:ahLst/>
                  <a:cxnLst/>
                  <a:rect l="l" t="t" r="r" b="b"/>
                  <a:pathLst>
                    <a:path w="374" h="1599" fill="none" extrusionOk="0">
                      <a:moveTo>
                        <a:pt x="0" y="0"/>
                      </a:moveTo>
                      <a:lnTo>
                        <a:pt x="374"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119;p4"/>
                <p:cNvSpPr/>
                <p:nvPr/>
              </p:nvSpPr>
              <p:spPr>
                <a:xfrm>
                  <a:off x="3668963" y="3201588"/>
                  <a:ext cx="138160" cy="48137"/>
                </a:xfrm>
                <a:custGeom>
                  <a:avLst/>
                  <a:gdLst/>
                  <a:ahLst/>
                  <a:cxnLst/>
                  <a:rect l="l" t="t" r="r" b="b"/>
                  <a:pathLst>
                    <a:path w="4377" h="1525" fill="none" extrusionOk="0">
                      <a:moveTo>
                        <a:pt x="4376" y="1"/>
                      </a:moveTo>
                      <a:lnTo>
                        <a:pt x="0"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120;p4"/>
                <p:cNvSpPr/>
                <p:nvPr/>
              </p:nvSpPr>
              <p:spPr>
                <a:xfrm>
                  <a:off x="4101751" y="3068636"/>
                  <a:ext cx="28314" cy="98577"/>
                </a:xfrm>
                <a:custGeom>
                  <a:avLst/>
                  <a:gdLst/>
                  <a:ahLst/>
                  <a:cxnLst/>
                  <a:rect l="l" t="t" r="r" b="b"/>
                  <a:pathLst>
                    <a:path w="897" h="3123" fill="none" extrusionOk="0">
                      <a:moveTo>
                        <a:pt x="896" y="312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121;p4"/>
                <p:cNvSpPr/>
                <p:nvPr/>
              </p:nvSpPr>
              <p:spPr>
                <a:xfrm>
                  <a:off x="4178580" y="3003107"/>
                  <a:ext cx="91033" cy="35384"/>
                </a:xfrm>
                <a:custGeom>
                  <a:avLst/>
                  <a:gdLst/>
                  <a:ahLst/>
                  <a:cxnLst/>
                  <a:rect l="l" t="t" r="r" b="b"/>
                  <a:pathLst>
                    <a:path w="2884" h="1121" fill="none" extrusionOk="0">
                      <a:moveTo>
                        <a:pt x="2883" y="1"/>
                      </a:moveTo>
                      <a:lnTo>
                        <a:pt x="1" y="112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122;p4"/>
                <p:cNvSpPr/>
                <p:nvPr/>
              </p:nvSpPr>
              <p:spPr>
                <a:xfrm>
                  <a:off x="4309638" y="3719727"/>
                  <a:ext cx="96210" cy="48105"/>
                </a:xfrm>
                <a:custGeom>
                  <a:avLst/>
                  <a:gdLst/>
                  <a:ahLst/>
                  <a:cxnLst/>
                  <a:rect l="l" t="t" r="r" b="b"/>
                  <a:pathLst>
                    <a:path w="3048" h="1524" fill="none" extrusionOk="0">
                      <a:moveTo>
                        <a:pt x="3048" y="0"/>
                      </a:moveTo>
                      <a:lnTo>
                        <a:pt x="1"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123;p4"/>
                <p:cNvSpPr/>
                <p:nvPr/>
              </p:nvSpPr>
              <p:spPr>
                <a:xfrm>
                  <a:off x="4368570" y="3540091"/>
                  <a:ext cx="14173" cy="66034"/>
                </a:xfrm>
                <a:custGeom>
                  <a:avLst/>
                  <a:gdLst/>
                  <a:ahLst/>
                  <a:cxnLst/>
                  <a:rect l="l" t="t" r="r" b="b"/>
                  <a:pathLst>
                    <a:path w="449" h="2092" fill="none" extrusionOk="0">
                      <a:moveTo>
                        <a:pt x="1" y="1"/>
                      </a:moveTo>
                      <a:lnTo>
                        <a:pt x="449" y="20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124;p4"/>
                <p:cNvSpPr/>
                <p:nvPr/>
              </p:nvSpPr>
              <p:spPr>
                <a:xfrm>
                  <a:off x="3969746" y="3756500"/>
                  <a:ext cx="130616" cy="10385"/>
                </a:xfrm>
                <a:custGeom>
                  <a:avLst/>
                  <a:gdLst/>
                  <a:ahLst/>
                  <a:cxnLst/>
                  <a:rect l="l" t="t" r="r" b="b"/>
                  <a:pathLst>
                    <a:path w="4138" h="329" fill="none" extrusionOk="0">
                      <a:moveTo>
                        <a:pt x="4137" y="329"/>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125;p4"/>
                <p:cNvSpPr/>
                <p:nvPr/>
              </p:nvSpPr>
              <p:spPr>
                <a:xfrm>
                  <a:off x="3956994" y="3585355"/>
                  <a:ext cx="19854" cy="86299"/>
                </a:xfrm>
                <a:custGeom>
                  <a:avLst/>
                  <a:gdLst/>
                  <a:ahLst/>
                  <a:cxnLst/>
                  <a:rect l="l" t="t" r="r" b="b"/>
                  <a:pathLst>
                    <a:path w="629" h="2734" fill="none" extrusionOk="0">
                      <a:moveTo>
                        <a:pt x="1" y="0"/>
                      </a:moveTo>
                      <a:lnTo>
                        <a:pt x="628" y="273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 name="Google Shape;126;p4"/>
                <p:cNvSpPr/>
                <p:nvPr/>
              </p:nvSpPr>
              <p:spPr>
                <a:xfrm>
                  <a:off x="3783513" y="2922490"/>
                  <a:ext cx="124966" cy="38225"/>
                </a:xfrm>
                <a:custGeom>
                  <a:avLst/>
                  <a:gdLst/>
                  <a:ahLst/>
                  <a:cxnLst/>
                  <a:rect l="l" t="t" r="r" b="b"/>
                  <a:pathLst>
                    <a:path w="3959" h="1211" fill="none" extrusionOk="0">
                      <a:moveTo>
                        <a:pt x="3958" y="1210"/>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4"/>
                <p:cNvSpPr/>
                <p:nvPr/>
              </p:nvSpPr>
              <p:spPr>
                <a:xfrm>
                  <a:off x="3824042" y="2697621"/>
                  <a:ext cx="32102" cy="111740"/>
                </a:xfrm>
                <a:custGeom>
                  <a:avLst/>
                  <a:gdLst/>
                  <a:ahLst/>
                  <a:cxnLst/>
                  <a:rect l="l" t="t" r="r" b="b"/>
                  <a:pathLst>
                    <a:path w="1017" h="3540" fill="none" extrusionOk="0">
                      <a:moveTo>
                        <a:pt x="1017" y="0"/>
                      </a:moveTo>
                      <a:lnTo>
                        <a:pt x="1" y="354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8" name="Google Shape;128;p4"/>
              <p:cNvGrpSpPr/>
              <p:nvPr/>
            </p:nvGrpSpPr>
            <p:grpSpPr>
              <a:xfrm rot="-7356716" flipH="1">
                <a:off x="7674260" y="4572155"/>
                <a:ext cx="578272" cy="1095344"/>
                <a:chOff x="7176425" y="4828100"/>
                <a:chExt cx="188975" cy="357950"/>
              </a:xfrm>
            </p:grpSpPr>
            <p:sp>
              <p:nvSpPr>
                <p:cNvPr id="129" name="Google Shape;129;p4"/>
                <p:cNvSpPr/>
                <p:nvPr/>
              </p:nvSpPr>
              <p:spPr>
                <a:xfrm>
                  <a:off x="7176425" y="4828100"/>
                  <a:ext cx="145300" cy="259750"/>
                </a:xfrm>
                <a:custGeom>
                  <a:avLst/>
                  <a:gdLst/>
                  <a:ahLst/>
                  <a:cxnLst/>
                  <a:rect l="l" t="t" r="r" b="b"/>
                  <a:pathLst>
                    <a:path w="5812" h="10390" extrusionOk="0">
                      <a:moveTo>
                        <a:pt x="5477" y="1"/>
                      </a:moveTo>
                      <a:cubicBezTo>
                        <a:pt x="5465" y="1"/>
                        <a:pt x="5451" y="3"/>
                        <a:pt x="5438" y="9"/>
                      </a:cubicBezTo>
                      <a:cubicBezTo>
                        <a:pt x="4093" y="860"/>
                        <a:pt x="2854" y="2623"/>
                        <a:pt x="2854" y="2623"/>
                      </a:cubicBezTo>
                      <a:lnTo>
                        <a:pt x="2794" y="2503"/>
                      </a:lnTo>
                      <a:cubicBezTo>
                        <a:pt x="2777" y="2477"/>
                        <a:pt x="2744" y="2461"/>
                        <a:pt x="2714" y="2461"/>
                      </a:cubicBezTo>
                      <a:cubicBezTo>
                        <a:pt x="2692" y="2461"/>
                        <a:pt x="2672" y="2469"/>
                        <a:pt x="2660" y="2488"/>
                      </a:cubicBezTo>
                      <a:cubicBezTo>
                        <a:pt x="1823" y="3384"/>
                        <a:pt x="1554" y="4609"/>
                        <a:pt x="1480" y="5087"/>
                      </a:cubicBezTo>
                      <a:cubicBezTo>
                        <a:pt x="1471" y="5132"/>
                        <a:pt x="1430" y="5160"/>
                        <a:pt x="1389" y="5160"/>
                      </a:cubicBezTo>
                      <a:cubicBezTo>
                        <a:pt x="1361" y="5160"/>
                        <a:pt x="1333" y="5147"/>
                        <a:pt x="1315" y="5117"/>
                      </a:cubicBezTo>
                      <a:lnTo>
                        <a:pt x="1285" y="5072"/>
                      </a:lnTo>
                      <a:cubicBezTo>
                        <a:pt x="1266" y="5046"/>
                        <a:pt x="1238" y="5034"/>
                        <a:pt x="1211" y="5034"/>
                      </a:cubicBezTo>
                      <a:cubicBezTo>
                        <a:pt x="1176" y="5034"/>
                        <a:pt x="1145" y="5053"/>
                        <a:pt x="1136" y="5087"/>
                      </a:cubicBezTo>
                      <a:cubicBezTo>
                        <a:pt x="1" y="8477"/>
                        <a:pt x="1823" y="10135"/>
                        <a:pt x="2092" y="10359"/>
                      </a:cubicBezTo>
                      <a:cubicBezTo>
                        <a:pt x="2122" y="10389"/>
                        <a:pt x="2137" y="10389"/>
                        <a:pt x="2152" y="10389"/>
                      </a:cubicBezTo>
                      <a:cubicBezTo>
                        <a:pt x="4990" y="9732"/>
                        <a:pt x="5647" y="6461"/>
                        <a:pt x="5766" y="5684"/>
                      </a:cubicBezTo>
                      <a:cubicBezTo>
                        <a:pt x="5778" y="5626"/>
                        <a:pt x="5725" y="5585"/>
                        <a:pt x="5680" y="5585"/>
                      </a:cubicBezTo>
                      <a:cubicBezTo>
                        <a:pt x="5668" y="5585"/>
                        <a:pt x="5656" y="5588"/>
                        <a:pt x="5647" y="5595"/>
                      </a:cubicBezTo>
                      <a:lnTo>
                        <a:pt x="5557" y="5655"/>
                      </a:lnTo>
                      <a:cubicBezTo>
                        <a:pt x="5543" y="5663"/>
                        <a:pt x="5529" y="5667"/>
                        <a:pt x="5516" y="5667"/>
                      </a:cubicBezTo>
                      <a:cubicBezTo>
                        <a:pt x="5458" y="5667"/>
                        <a:pt x="5413" y="5598"/>
                        <a:pt x="5438" y="5550"/>
                      </a:cubicBezTo>
                      <a:cubicBezTo>
                        <a:pt x="5781" y="4788"/>
                        <a:pt x="5811" y="3713"/>
                        <a:pt x="5796" y="3280"/>
                      </a:cubicBezTo>
                      <a:cubicBezTo>
                        <a:pt x="5796" y="3237"/>
                        <a:pt x="5750" y="3202"/>
                        <a:pt x="5708" y="3202"/>
                      </a:cubicBezTo>
                      <a:cubicBezTo>
                        <a:pt x="5691" y="3202"/>
                        <a:pt x="5674" y="3207"/>
                        <a:pt x="5662" y="3220"/>
                      </a:cubicBezTo>
                      <a:cubicBezTo>
                        <a:pt x="5642" y="3244"/>
                        <a:pt x="5620" y="3254"/>
                        <a:pt x="5599" y="3254"/>
                      </a:cubicBezTo>
                      <a:cubicBezTo>
                        <a:pt x="5555" y="3254"/>
                        <a:pt x="5517" y="3211"/>
                        <a:pt x="5527" y="3160"/>
                      </a:cubicBezTo>
                      <a:cubicBezTo>
                        <a:pt x="5587" y="2712"/>
                        <a:pt x="5587" y="2085"/>
                        <a:pt x="5453" y="1458"/>
                      </a:cubicBezTo>
                      <a:cubicBezTo>
                        <a:pt x="5348" y="920"/>
                        <a:pt x="5467" y="397"/>
                        <a:pt x="5557" y="113"/>
                      </a:cubicBezTo>
                      <a:cubicBezTo>
                        <a:pt x="5582" y="52"/>
                        <a:pt x="5536" y="1"/>
                        <a:pt x="5477"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4"/>
                <p:cNvSpPr/>
                <p:nvPr/>
              </p:nvSpPr>
              <p:spPr>
                <a:xfrm>
                  <a:off x="7251900" y="5049725"/>
                  <a:ext cx="113500" cy="77225"/>
                </a:xfrm>
                <a:custGeom>
                  <a:avLst/>
                  <a:gdLst/>
                  <a:ahLst/>
                  <a:cxnLst/>
                  <a:rect l="l" t="t" r="r" b="b"/>
                  <a:pathLst>
                    <a:path w="4540" h="3089" extrusionOk="0">
                      <a:moveTo>
                        <a:pt x="3613" y="1"/>
                      </a:moveTo>
                      <a:cubicBezTo>
                        <a:pt x="2493" y="105"/>
                        <a:pt x="1672" y="837"/>
                        <a:pt x="1672" y="837"/>
                      </a:cubicBezTo>
                      <a:cubicBezTo>
                        <a:pt x="1672" y="782"/>
                        <a:pt x="1623" y="751"/>
                        <a:pt x="1573" y="751"/>
                      </a:cubicBezTo>
                      <a:cubicBezTo>
                        <a:pt x="1555" y="751"/>
                        <a:pt x="1538" y="755"/>
                        <a:pt x="1522" y="762"/>
                      </a:cubicBezTo>
                      <a:cubicBezTo>
                        <a:pt x="402" y="1450"/>
                        <a:pt x="89" y="2615"/>
                        <a:pt x="14" y="2928"/>
                      </a:cubicBezTo>
                      <a:cubicBezTo>
                        <a:pt x="1" y="2955"/>
                        <a:pt x="35" y="3005"/>
                        <a:pt x="85" y="3005"/>
                      </a:cubicBezTo>
                      <a:cubicBezTo>
                        <a:pt x="91" y="3005"/>
                        <a:pt x="97" y="3004"/>
                        <a:pt x="104" y="3003"/>
                      </a:cubicBezTo>
                      <a:cubicBezTo>
                        <a:pt x="413" y="3063"/>
                        <a:pt x="697" y="3089"/>
                        <a:pt x="957" y="3089"/>
                      </a:cubicBezTo>
                      <a:cubicBezTo>
                        <a:pt x="1915" y="3089"/>
                        <a:pt x="2534" y="2746"/>
                        <a:pt x="2792" y="2570"/>
                      </a:cubicBezTo>
                      <a:cubicBezTo>
                        <a:pt x="2852" y="2525"/>
                        <a:pt x="2837" y="2450"/>
                        <a:pt x="2762" y="2420"/>
                      </a:cubicBezTo>
                      <a:lnTo>
                        <a:pt x="2702" y="2405"/>
                      </a:lnTo>
                      <a:cubicBezTo>
                        <a:pt x="3793" y="2107"/>
                        <a:pt x="4151" y="1435"/>
                        <a:pt x="4151" y="1435"/>
                      </a:cubicBezTo>
                      <a:lnTo>
                        <a:pt x="4151" y="1435"/>
                      </a:lnTo>
                      <a:lnTo>
                        <a:pt x="3987" y="1450"/>
                      </a:lnTo>
                      <a:cubicBezTo>
                        <a:pt x="4330" y="1031"/>
                        <a:pt x="4480" y="419"/>
                        <a:pt x="4540" y="180"/>
                      </a:cubicBezTo>
                      <a:cubicBezTo>
                        <a:pt x="4540" y="120"/>
                        <a:pt x="4525" y="90"/>
                        <a:pt x="4465" y="75"/>
                      </a:cubicBezTo>
                      <a:cubicBezTo>
                        <a:pt x="4396" y="66"/>
                        <a:pt x="4324" y="63"/>
                        <a:pt x="4254" y="63"/>
                      </a:cubicBezTo>
                      <a:cubicBezTo>
                        <a:pt x="3971" y="63"/>
                        <a:pt x="3703" y="120"/>
                        <a:pt x="3703" y="120"/>
                      </a:cubicBezTo>
                      <a:lnTo>
                        <a:pt x="3703" y="105"/>
                      </a:lnTo>
                      <a:cubicBezTo>
                        <a:pt x="3718" y="60"/>
                        <a:pt x="3688" y="1"/>
                        <a:pt x="361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4"/>
                <p:cNvSpPr/>
                <p:nvPr/>
              </p:nvSpPr>
              <p:spPr>
                <a:xfrm>
                  <a:off x="7217875" y="4849600"/>
                  <a:ext cx="84425" cy="336450"/>
                </a:xfrm>
                <a:custGeom>
                  <a:avLst/>
                  <a:gdLst/>
                  <a:ahLst/>
                  <a:cxnLst/>
                  <a:rect l="l" t="t" r="r" b="b"/>
                  <a:pathLst>
                    <a:path w="3377" h="13458" extrusionOk="0">
                      <a:moveTo>
                        <a:pt x="3242" y="0"/>
                      </a:moveTo>
                      <a:cubicBezTo>
                        <a:pt x="2749" y="1061"/>
                        <a:pt x="2271" y="2121"/>
                        <a:pt x="1898" y="3211"/>
                      </a:cubicBezTo>
                      <a:cubicBezTo>
                        <a:pt x="1689" y="3749"/>
                        <a:pt x="1539" y="4317"/>
                        <a:pt x="1360" y="4869"/>
                      </a:cubicBezTo>
                      <a:cubicBezTo>
                        <a:pt x="1285" y="5138"/>
                        <a:pt x="1211" y="5422"/>
                        <a:pt x="1136" y="5706"/>
                      </a:cubicBezTo>
                      <a:lnTo>
                        <a:pt x="1017" y="6124"/>
                      </a:lnTo>
                      <a:lnTo>
                        <a:pt x="927" y="6557"/>
                      </a:lnTo>
                      <a:cubicBezTo>
                        <a:pt x="852" y="6841"/>
                        <a:pt x="792" y="7110"/>
                        <a:pt x="733" y="7408"/>
                      </a:cubicBezTo>
                      <a:lnTo>
                        <a:pt x="553" y="8260"/>
                      </a:lnTo>
                      <a:lnTo>
                        <a:pt x="404" y="9111"/>
                      </a:lnTo>
                      <a:cubicBezTo>
                        <a:pt x="359" y="9410"/>
                        <a:pt x="329" y="9693"/>
                        <a:pt x="285" y="9977"/>
                      </a:cubicBezTo>
                      <a:cubicBezTo>
                        <a:pt x="135" y="11127"/>
                        <a:pt x="16" y="12292"/>
                        <a:pt x="1" y="13457"/>
                      </a:cubicBezTo>
                      <a:lnTo>
                        <a:pt x="329" y="13442"/>
                      </a:lnTo>
                      <a:cubicBezTo>
                        <a:pt x="329" y="12292"/>
                        <a:pt x="419" y="11142"/>
                        <a:pt x="553" y="10007"/>
                      </a:cubicBezTo>
                      <a:cubicBezTo>
                        <a:pt x="583" y="9738"/>
                        <a:pt x="628" y="9440"/>
                        <a:pt x="673" y="9156"/>
                      </a:cubicBezTo>
                      <a:lnTo>
                        <a:pt x="807" y="8304"/>
                      </a:lnTo>
                      <a:lnTo>
                        <a:pt x="972" y="7453"/>
                      </a:lnTo>
                      <a:cubicBezTo>
                        <a:pt x="1017" y="7169"/>
                        <a:pt x="1091" y="6900"/>
                        <a:pt x="1151" y="6602"/>
                      </a:cubicBezTo>
                      <a:lnTo>
                        <a:pt x="1241" y="6184"/>
                      </a:lnTo>
                      <a:lnTo>
                        <a:pt x="1345" y="5750"/>
                      </a:lnTo>
                      <a:cubicBezTo>
                        <a:pt x="1420" y="5482"/>
                        <a:pt x="1494" y="5198"/>
                        <a:pt x="1569" y="4914"/>
                      </a:cubicBezTo>
                      <a:cubicBezTo>
                        <a:pt x="1733" y="4376"/>
                        <a:pt x="1883" y="3809"/>
                        <a:pt x="2077" y="3271"/>
                      </a:cubicBezTo>
                      <a:cubicBezTo>
                        <a:pt x="2435" y="2181"/>
                        <a:pt x="2883" y="1105"/>
                        <a:pt x="3376" y="60"/>
                      </a:cubicBezTo>
                      <a:lnTo>
                        <a:pt x="32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4"/>
                <p:cNvSpPr/>
                <p:nvPr/>
              </p:nvSpPr>
              <p:spPr>
                <a:xfrm>
                  <a:off x="7223850" y="5057200"/>
                  <a:ext cx="132950" cy="84050"/>
                </a:xfrm>
                <a:custGeom>
                  <a:avLst/>
                  <a:gdLst/>
                  <a:ahLst/>
                  <a:cxnLst/>
                  <a:rect l="l" t="t" r="r" b="b"/>
                  <a:pathLst>
                    <a:path w="5318" h="3362" fill="none" extrusionOk="0">
                      <a:moveTo>
                        <a:pt x="1" y="3361"/>
                      </a:moveTo>
                      <a:cubicBezTo>
                        <a:pt x="1" y="3361"/>
                        <a:pt x="3824" y="1121"/>
                        <a:pt x="5318"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4"/>
                <p:cNvSpPr/>
                <p:nvPr/>
              </p:nvSpPr>
              <p:spPr>
                <a:xfrm>
                  <a:off x="7208550" y="4892525"/>
                  <a:ext cx="99350" cy="172925"/>
                </a:xfrm>
                <a:custGeom>
                  <a:avLst/>
                  <a:gdLst/>
                  <a:ahLst/>
                  <a:cxnLst/>
                  <a:rect l="l" t="t" r="r" b="b"/>
                  <a:pathLst>
                    <a:path w="3974" h="6917" fill="none" extrusionOk="0">
                      <a:moveTo>
                        <a:pt x="2106" y="1"/>
                      </a:moveTo>
                      <a:lnTo>
                        <a:pt x="2599" y="852"/>
                      </a:lnTo>
                      <a:moveTo>
                        <a:pt x="1001" y="6916"/>
                      </a:moveTo>
                      <a:cubicBezTo>
                        <a:pt x="1001" y="6916"/>
                        <a:pt x="2480" y="5183"/>
                        <a:pt x="2779" y="4915"/>
                      </a:cubicBezTo>
                      <a:moveTo>
                        <a:pt x="105" y="3780"/>
                      </a:moveTo>
                      <a:lnTo>
                        <a:pt x="1210" y="5706"/>
                      </a:lnTo>
                      <a:moveTo>
                        <a:pt x="0" y="4302"/>
                      </a:moveTo>
                      <a:lnTo>
                        <a:pt x="583" y="4616"/>
                      </a:lnTo>
                      <a:moveTo>
                        <a:pt x="1121" y="2226"/>
                      </a:moveTo>
                      <a:lnTo>
                        <a:pt x="1673" y="3780"/>
                      </a:lnTo>
                      <a:moveTo>
                        <a:pt x="1434" y="4750"/>
                      </a:moveTo>
                      <a:lnTo>
                        <a:pt x="3973" y="1793"/>
                      </a:lnTo>
                      <a:moveTo>
                        <a:pt x="2988" y="2943"/>
                      </a:moveTo>
                      <a:lnTo>
                        <a:pt x="3749" y="2659"/>
                      </a:lnTo>
                      <a:moveTo>
                        <a:pt x="2301" y="1703"/>
                      </a:moveTo>
                      <a:lnTo>
                        <a:pt x="3690" y="434"/>
                      </a:lnTo>
                      <a:moveTo>
                        <a:pt x="3749" y="792"/>
                      </a:moveTo>
                      <a:lnTo>
                        <a:pt x="3227" y="85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4"/>
                <p:cNvSpPr/>
                <p:nvPr/>
              </p:nvSpPr>
              <p:spPr>
                <a:xfrm>
                  <a:off x="7264925" y="5062800"/>
                  <a:ext cx="84425" cy="54175"/>
                </a:xfrm>
                <a:custGeom>
                  <a:avLst/>
                  <a:gdLst/>
                  <a:ahLst/>
                  <a:cxnLst/>
                  <a:rect l="l" t="t" r="r" b="b"/>
                  <a:pathLst>
                    <a:path w="3377" h="2167" fill="none" extrusionOk="0">
                      <a:moveTo>
                        <a:pt x="524" y="1853"/>
                      </a:moveTo>
                      <a:lnTo>
                        <a:pt x="837" y="807"/>
                      </a:lnTo>
                      <a:moveTo>
                        <a:pt x="3302" y="508"/>
                      </a:moveTo>
                      <a:lnTo>
                        <a:pt x="3107" y="404"/>
                      </a:lnTo>
                      <a:moveTo>
                        <a:pt x="2644" y="508"/>
                      </a:moveTo>
                      <a:lnTo>
                        <a:pt x="3376" y="359"/>
                      </a:lnTo>
                      <a:moveTo>
                        <a:pt x="2585" y="30"/>
                      </a:moveTo>
                      <a:lnTo>
                        <a:pt x="2316" y="269"/>
                      </a:lnTo>
                      <a:moveTo>
                        <a:pt x="2107" y="852"/>
                      </a:moveTo>
                      <a:lnTo>
                        <a:pt x="2391" y="1"/>
                      </a:lnTo>
                      <a:moveTo>
                        <a:pt x="2585" y="1240"/>
                      </a:moveTo>
                      <a:lnTo>
                        <a:pt x="2271" y="1419"/>
                      </a:lnTo>
                      <a:moveTo>
                        <a:pt x="1226" y="1419"/>
                      </a:moveTo>
                      <a:lnTo>
                        <a:pt x="2644" y="1419"/>
                      </a:lnTo>
                      <a:moveTo>
                        <a:pt x="1494" y="1957"/>
                      </a:moveTo>
                      <a:lnTo>
                        <a:pt x="1196" y="2106"/>
                      </a:lnTo>
                      <a:moveTo>
                        <a:pt x="1" y="2166"/>
                      </a:moveTo>
                      <a:lnTo>
                        <a:pt x="1718" y="2092"/>
                      </a:lnTo>
                      <a:moveTo>
                        <a:pt x="524" y="1046"/>
                      </a:moveTo>
                      <a:lnTo>
                        <a:pt x="673" y="133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5" name="Google Shape;135;p4"/>
              <p:cNvGrpSpPr/>
              <p:nvPr/>
            </p:nvGrpSpPr>
            <p:grpSpPr>
              <a:xfrm rot="213666" flipH="1">
                <a:off x="8508904" y="3799696"/>
                <a:ext cx="819015" cy="779714"/>
                <a:chOff x="11812149" y="-187526"/>
                <a:chExt cx="997479" cy="949613"/>
              </a:xfrm>
            </p:grpSpPr>
            <p:sp>
              <p:nvSpPr>
                <p:cNvPr id="136" name="Google Shape;136;p4"/>
                <p:cNvSpPr/>
                <p:nvPr/>
              </p:nvSpPr>
              <p:spPr>
                <a:xfrm rot="10800000">
                  <a:off x="12078542" y="-187526"/>
                  <a:ext cx="312378" cy="224169"/>
                </a:xfrm>
                <a:custGeom>
                  <a:avLst/>
                  <a:gdLst/>
                  <a:ahLst/>
                  <a:cxnLst/>
                  <a:rect l="l" t="t" r="r" b="b"/>
                  <a:pathLst>
                    <a:path w="5482" h="3934" extrusionOk="0">
                      <a:moveTo>
                        <a:pt x="4197" y="0"/>
                      </a:moveTo>
                      <a:cubicBezTo>
                        <a:pt x="2859" y="0"/>
                        <a:pt x="843" y="578"/>
                        <a:pt x="0" y="3796"/>
                      </a:cubicBezTo>
                      <a:cubicBezTo>
                        <a:pt x="0" y="3796"/>
                        <a:pt x="415" y="3934"/>
                        <a:pt x="1035" y="3934"/>
                      </a:cubicBezTo>
                      <a:cubicBezTo>
                        <a:pt x="2259" y="3934"/>
                        <a:pt x="4282" y="3394"/>
                        <a:pt x="5482" y="181"/>
                      </a:cubicBezTo>
                      <a:cubicBezTo>
                        <a:pt x="5482" y="181"/>
                        <a:pt x="4945" y="0"/>
                        <a:pt x="419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137;p4"/>
                <p:cNvSpPr/>
                <p:nvPr/>
              </p:nvSpPr>
              <p:spPr>
                <a:xfrm rot="10800000">
                  <a:off x="11812149" y="150551"/>
                  <a:ext cx="263886" cy="394946"/>
                </a:xfrm>
                <a:custGeom>
                  <a:avLst/>
                  <a:gdLst/>
                  <a:ahLst/>
                  <a:cxnLst/>
                  <a:rect l="l" t="t" r="r" b="b"/>
                  <a:pathLst>
                    <a:path w="4631" h="6931" extrusionOk="0">
                      <a:moveTo>
                        <a:pt x="3361" y="0"/>
                      </a:moveTo>
                      <a:cubicBezTo>
                        <a:pt x="3361" y="15"/>
                        <a:pt x="1" y="1404"/>
                        <a:pt x="658" y="6931"/>
                      </a:cubicBezTo>
                      <a:cubicBezTo>
                        <a:pt x="658" y="6931"/>
                        <a:pt x="4631" y="4884"/>
                        <a:pt x="336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138;p4"/>
                <p:cNvSpPr/>
                <p:nvPr/>
              </p:nvSpPr>
              <p:spPr>
                <a:xfrm rot="10800000">
                  <a:off x="11987484" y="-6037"/>
                  <a:ext cx="472385" cy="451130"/>
                </a:xfrm>
                <a:custGeom>
                  <a:avLst/>
                  <a:gdLst/>
                  <a:ahLst/>
                  <a:cxnLst/>
                  <a:rect l="l" t="t" r="r" b="b"/>
                  <a:pathLst>
                    <a:path w="8290" h="7917" extrusionOk="0">
                      <a:moveTo>
                        <a:pt x="150" y="1"/>
                      </a:moveTo>
                      <a:lnTo>
                        <a:pt x="1" y="240"/>
                      </a:lnTo>
                      <a:cubicBezTo>
                        <a:pt x="1584" y="1196"/>
                        <a:pt x="2973" y="2435"/>
                        <a:pt x="4272" y="3735"/>
                      </a:cubicBezTo>
                      <a:cubicBezTo>
                        <a:pt x="5572" y="5064"/>
                        <a:pt x="6796" y="6453"/>
                        <a:pt x="7917" y="7917"/>
                      </a:cubicBezTo>
                      <a:cubicBezTo>
                        <a:pt x="7917" y="7917"/>
                        <a:pt x="8290" y="7633"/>
                        <a:pt x="8290" y="7603"/>
                      </a:cubicBezTo>
                      <a:cubicBezTo>
                        <a:pt x="7708" y="6886"/>
                        <a:pt x="7095" y="6169"/>
                        <a:pt x="6468" y="5482"/>
                      </a:cubicBezTo>
                      <a:cubicBezTo>
                        <a:pt x="4586" y="3436"/>
                        <a:pt x="2555" y="1435"/>
                        <a:pt x="15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139;p4"/>
                <p:cNvSpPr/>
                <p:nvPr/>
              </p:nvSpPr>
              <p:spPr>
                <a:xfrm rot="10800000">
                  <a:off x="12599362" y="494441"/>
                  <a:ext cx="111572" cy="144109"/>
                </a:xfrm>
                <a:custGeom>
                  <a:avLst/>
                  <a:gdLst/>
                  <a:ahLst/>
                  <a:cxnLst/>
                  <a:rect l="l" t="t" r="r" b="b"/>
                  <a:pathLst>
                    <a:path w="1958" h="2529" extrusionOk="0">
                      <a:moveTo>
                        <a:pt x="1547" y="0"/>
                      </a:moveTo>
                      <a:cubicBezTo>
                        <a:pt x="1535" y="0"/>
                        <a:pt x="1522" y="2"/>
                        <a:pt x="1509" y="5"/>
                      </a:cubicBezTo>
                      <a:cubicBezTo>
                        <a:pt x="1210" y="65"/>
                        <a:pt x="1405" y="872"/>
                        <a:pt x="1405" y="872"/>
                      </a:cubicBezTo>
                      <a:cubicBezTo>
                        <a:pt x="1405" y="872"/>
                        <a:pt x="1090" y="735"/>
                        <a:pt x="798" y="735"/>
                      </a:cubicBezTo>
                      <a:cubicBezTo>
                        <a:pt x="626" y="735"/>
                        <a:pt x="462" y="782"/>
                        <a:pt x="374" y="931"/>
                      </a:cubicBezTo>
                      <a:cubicBezTo>
                        <a:pt x="120" y="1350"/>
                        <a:pt x="807" y="1872"/>
                        <a:pt x="807" y="1872"/>
                      </a:cubicBezTo>
                      <a:cubicBezTo>
                        <a:pt x="807" y="1872"/>
                        <a:pt x="1" y="2066"/>
                        <a:pt x="60" y="2380"/>
                      </a:cubicBezTo>
                      <a:cubicBezTo>
                        <a:pt x="97" y="2495"/>
                        <a:pt x="238" y="2529"/>
                        <a:pt x="393" y="2529"/>
                      </a:cubicBezTo>
                      <a:cubicBezTo>
                        <a:pt x="622" y="2529"/>
                        <a:pt x="882" y="2455"/>
                        <a:pt x="882" y="2455"/>
                      </a:cubicBezTo>
                      <a:lnTo>
                        <a:pt x="1419" y="1574"/>
                      </a:lnTo>
                      <a:lnTo>
                        <a:pt x="1957" y="707"/>
                      </a:lnTo>
                      <a:cubicBezTo>
                        <a:pt x="1943" y="707"/>
                        <a:pt x="1806" y="0"/>
                        <a:pt x="154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4"/>
                <p:cNvSpPr/>
                <p:nvPr/>
              </p:nvSpPr>
              <p:spPr>
                <a:xfrm rot="10800000">
                  <a:off x="12337243" y="316940"/>
                  <a:ext cx="356653" cy="323433"/>
                </a:xfrm>
                <a:custGeom>
                  <a:avLst/>
                  <a:gdLst/>
                  <a:ahLst/>
                  <a:cxnLst/>
                  <a:rect l="l" t="t" r="r" b="b"/>
                  <a:pathLst>
                    <a:path w="6259" h="5676" extrusionOk="0">
                      <a:moveTo>
                        <a:pt x="3139" y="0"/>
                      </a:moveTo>
                      <a:cubicBezTo>
                        <a:pt x="2916" y="0"/>
                        <a:pt x="2690" y="27"/>
                        <a:pt x="2465" y="82"/>
                      </a:cubicBezTo>
                      <a:cubicBezTo>
                        <a:pt x="941" y="441"/>
                        <a:pt x="0" y="1979"/>
                        <a:pt x="374" y="3502"/>
                      </a:cubicBezTo>
                      <a:cubicBezTo>
                        <a:pt x="679" y="4800"/>
                        <a:pt x="1841" y="5675"/>
                        <a:pt x="3120" y="5675"/>
                      </a:cubicBezTo>
                      <a:cubicBezTo>
                        <a:pt x="3342" y="5675"/>
                        <a:pt x="3568" y="5649"/>
                        <a:pt x="3794" y="5593"/>
                      </a:cubicBezTo>
                      <a:cubicBezTo>
                        <a:pt x="5317" y="5235"/>
                        <a:pt x="6258" y="3697"/>
                        <a:pt x="5900" y="2173"/>
                      </a:cubicBezTo>
                      <a:cubicBezTo>
                        <a:pt x="5582" y="875"/>
                        <a:pt x="4418" y="0"/>
                        <a:pt x="3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4"/>
                <p:cNvSpPr/>
                <p:nvPr/>
              </p:nvSpPr>
              <p:spPr>
                <a:xfrm rot="10800000">
                  <a:off x="12491323" y="566296"/>
                  <a:ext cx="63877" cy="56527"/>
                </a:xfrm>
                <a:custGeom>
                  <a:avLst/>
                  <a:gdLst/>
                  <a:ahLst/>
                  <a:cxnLst/>
                  <a:rect l="l" t="t" r="r" b="b"/>
                  <a:pathLst>
                    <a:path w="1121" h="992" extrusionOk="0">
                      <a:moveTo>
                        <a:pt x="551" y="0"/>
                      </a:moveTo>
                      <a:cubicBezTo>
                        <a:pt x="390" y="0"/>
                        <a:pt x="236" y="90"/>
                        <a:pt x="150" y="252"/>
                      </a:cubicBezTo>
                      <a:cubicBezTo>
                        <a:pt x="1" y="461"/>
                        <a:pt x="76" y="775"/>
                        <a:pt x="314" y="924"/>
                      </a:cubicBezTo>
                      <a:cubicBezTo>
                        <a:pt x="385" y="970"/>
                        <a:pt x="468" y="991"/>
                        <a:pt x="552" y="991"/>
                      </a:cubicBezTo>
                      <a:cubicBezTo>
                        <a:pt x="717" y="991"/>
                        <a:pt x="888" y="908"/>
                        <a:pt x="987" y="760"/>
                      </a:cubicBezTo>
                      <a:cubicBezTo>
                        <a:pt x="1121" y="536"/>
                        <a:pt x="1046" y="222"/>
                        <a:pt x="822" y="88"/>
                      </a:cubicBezTo>
                      <a:cubicBezTo>
                        <a:pt x="736" y="29"/>
                        <a:pt x="643" y="0"/>
                        <a:pt x="551"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4"/>
                <p:cNvSpPr/>
                <p:nvPr/>
              </p:nvSpPr>
              <p:spPr>
                <a:xfrm rot="10800000">
                  <a:off x="11933009" y="-133734"/>
                  <a:ext cx="605154" cy="630739"/>
                </a:xfrm>
                <a:custGeom>
                  <a:avLst/>
                  <a:gdLst/>
                  <a:ahLst/>
                  <a:cxnLst/>
                  <a:rect l="l" t="t" r="r" b="b"/>
                  <a:pathLst>
                    <a:path w="10620" h="11069" fill="none" extrusionOk="0">
                      <a:moveTo>
                        <a:pt x="7259" y="1"/>
                      </a:moveTo>
                      <a:cubicBezTo>
                        <a:pt x="7259" y="1"/>
                        <a:pt x="8439" y="3048"/>
                        <a:pt x="7618" y="6483"/>
                      </a:cubicBezTo>
                      <a:moveTo>
                        <a:pt x="9395" y="8529"/>
                      </a:moveTo>
                      <a:lnTo>
                        <a:pt x="10336" y="9754"/>
                      </a:lnTo>
                      <a:moveTo>
                        <a:pt x="8260" y="7215"/>
                      </a:moveTo>
                      <a:cubicBezTo>
                        <a:pt x="8260" y="7215"/>
                        <a:pt x="9903" y="3585"/>
                        <a:pt x="10620" y="1434"/>
                      </a:cubicBezTo>
                      <a:moveTo>
                        <a:pt x="8753" y="7812"/>
                      </a:moveTo>
                      <a:lnTo>
                        <a:pt x="3794" y="11068"/>
                      </a:lnTo>
                      <a:moveTo>
                        <a:pt x="8260" y="7215"/>
                      </a:moveTo>
                      <a:cubicBezTo>
                        <a:pt x="8260" y="7215"/>
                        <a:pt x="4735" y="6274"/>
                        <a:pt x="1" y="881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4"/>
                <p:cNvSpPr/>
                <p:nvPr/>
              </p:nvSpPr>
              <p:spPr>
                <a:xfrm rot="10800000">
                  <a:off x="12109996" y="675645"/>
                  <a:ext cx="173683" cy="86442"/>
                </a:xfrm>
                <a:custGeom>
                  <a:avLst/>
                  <a:gdLst/>
                  <a:ahLst/>
                  <a:cxnLst/>
                  <a:rect l="l" t="t" r="r" b="b"/>
                  <a:pathLst>
                    <a:path w="3048" h="1517" extrusionOk="0">
                      <a:moveTo>
                        <a:pt x="1444" y="0"/>
                      </a:moveTo>
                      <a:cubicBezTo>
                        <a:pt x="1402" y="0"/>
                        <a:pt x="1359" y="7"/>
                        <a:pt x="1315" y="23"/>
                      </a:cubicBezTo>
                      <a:cubicBezTo>
                        <a:pt x="852" y="172"/>
                        <a:pt x="1016" y="1023"/>
                        <a:pt x="1016" y="1023"/>
                      </a:cubicBezTo>
                      <a:cubicBezTo>
                        <a:pt x="1016" y="1023"/>
                        <a:pt x="604" y="809"/>
                        <a:pt x="337" y="809"/>
                      </a:cubicBezTo>
                      <a:cubicBezTo>
                        <a:pt x="244" y="809"/>
                        <a:pt x="169" y="835"/>
                        <a:pt x="135" y="904"/>
                      </a:cubicBezTo>
                      <a:cubicBezTo>
                        <a:pt x="0" y="1188"/>
                        <a:pt x="702" y="1516"/>
                        <a:pt x="702" y="1516"/>
                      </a:cubicBezTo>
                      <a:lnTo>
                        <a:pt x="1688" y="1188"/>
                      </a:lnTo>
                      <a:lnTo>
                        <a:pt x="2674" y="874"/>
                      </a:lnTo>
                      <a:cubicBezTo>
                        <a:pt x="2659" y="874"/>
                        <a:pt x="3047" y="187"/>
                        <a:pt x="2793" y="52"/>
                      </a:cubicBezTo>
                      <a:cubicBezTo>
                        <a:pt x="2771" y="41"/>
                        <a:pt x="2748" y="36"/>
                        <a:pt x="2725" y="36"/>
                      </a:cubicBezTo>
                      <a:cubicBezTo>
                        <a:pt x="2463" y="36"/>
                        <a:pt x="2136" y="665"/>
                        <a:pt x="2136" y="665"/>
                      </a:cubicBezTo>
                      <a:cubicBezTo>
                        <a:pt x="2136" y="665"/>
                        <a:pt x="1853" y="0"/>
                        <a:pt x="144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4"/>
                <p:cNvSpPr/>
                <p:nvPr/>
              </p:nvSpPr>
              <p:spPr>
                <a:xfrm rot="10800000">
                  <a:off x="11966172" y="404066"/>
                  <a:ext cx="362637" cy="323661"/>
                </a:xfrm>
                <a:custGeom>
                  <a:avLst/>
                  <a:gdLst/>
                  <a:ahLst/>
                  <a:cxnLst/>
                  <a:rect l="l" t="t" r="r" b="b"/>
                  <a:pathLst>
                    <a:path w="6364" h="5680" extrusionOk="0">
                      <a:moveTo>
                        <a:pt x="3181" y="0"/>
                      </a:moveTo>
                      <a:cubicBezTo>
                        <a:pt x="1980" y="0"/>
                        <a:pt x="864" y="768"/>
                        <a:pt x="479" y="1974"/>
                      </a:cubicBezTo>
                      <a:cubicBezTo>
                        <a:pt x="1" y="3467"/>
                        <a:pt x="822" y="5065"/>
                        <a:pt x="2316" y="5543"/>
                      </a:cubicBezTo>
                      <a:cubicBezTo>
                        <a:pt x="2604" y="5635"/>
                        <a:pt x="2896" y="5679"/>
                        <a:pt x="3183" y="5679"/>
                      </a:cubicBezTo>
                      <a:cubicBezTo>
                        <a:pt x="4384" y="5679"/>
                        <a:pt x="5500" y="4912"/>
                        <a:pt x="5885" y="3706"/>
                      </a:cubicBezTo>
                      <a:cubicBezTo>
                        <a:pt x="6363" y="2213"/>
                        <a:pt x="5542" y="614"/>
                        <a:pt x="4048" y="136"/>
                      </a:cubicBezTo>
                      <a:cubicBezTo>
                        <a:pt x="3760" y="44"/>
                        <a:pt x="3468" y="0"/>
                        <a:pt x="3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145;p4"/>
                <p:cNvSpPr/>
                <p:nvPr/>
              </p:nvSpPr>
              <p:spPr>
                <a:xfrm rot="10800000">
                  <a:off x="12045321" y="630800"/>
                  <a:ext cx="62168" cy="55843"/>
                </a:xfrm>
                <a:custGeom>
                  <a:avLst/>
                  <a:gdLst/>
                  <a:ahLst/>
                  <a:cxnLst/>
                  <a:rect l="l" t="t" r="r" b="b"/>
                  <a:pathLst>
                    <a:path w="1091" h="980" extrusionOk="0">
                      <a:moveTo>
                        <a:pt x="555" y="0"/>
                      </a:moveTo>
                      <a:cubicBezTo>
                        <a:pt x="501" y="0"/>
                        <a:pt x="445" y="9"/>
                        <a:pt x="388" y="28"/>
                      </a:cubicBezTo>
                      <a:cubicBezTo>
                        <a:pt x="134" y="103"/>
                        <a:pt x="0" y="371"/>
                        <a:pt x="75" y="640"/>
                      </a:cubicBezTo>
                      <a:cubicBezTo>
                        <a:pt x="147" y="844"/>
                        <a:pt x="333" y="980"/>
                        <a:pt x="543" y="980"/>
                      </a:cubicBezTo>
                      <a:cubicBezTo>
                        <a:pt x="595" y="980"/>
                        <a:pt x="649" y="972"/>
                        <a:pt x="702" y="954"/>
                      </a:cubicBezTo>
                      <a:cubicBezTo>
                        <a:pt x="956" y="864"/>
                        <a:pt x="1090" y="595"/>
                        <a:pt x="1016" y="341"/>
                      </a:cubicBezTo>
                      <a:cubicBezTo>
                        <a:pt x="945" y="129"/>
                        <a:pt x="762" y="0"/>
                        <a:pt x="5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146;p4"/>
                <p:cNvSpPr/>
                <p:nvPr/>
              </p:nvSpPr>
              <p:spPr>
                <a:xfrm rot="10800000">
                  <a:off x="12731277" y="-110884"/>
                  <a:ext cx="78351" cy="163483"/>
                </a:xfrm>
                <a:custGeom>
                  <a:avLst/>
                  <a:gdLst/>
                  <a:ahLst/>
                  <a:cxnLst/>
                  <a:rect l="l" t="t" r="r" b="b"/>
                  <a:pathLst>
                    <a:path w="1375" h="2869" extrusionOk="0">
                      <a:moveTo>
                        <a:pt x="535" y="1"/>
                      </a:moveTo>
                      <a:cubicBezTo>
                        <a:pt x="481" y="1"/>
                        <a:pt x="436" y="18"/>
                        <a:pt x="403" y="58"/>
                      </a:cubicBezTo>
                      <a:cubicBezTo>
                        <a:pt x="209" y="297"/>
                        <a:pt x="851" y="820"/>
                        <a:pt x="851" y="820"/>
                      </a:cubicBezTo>
                      <a:cubicBezTo>
                        <a:pt x="851" y="820"/>
                        <a:pt x="0" y="1014"/>
                        <a:pt x="60" y="1492"/>
                      </a:cubicBezTo>
                      <a:cubicBezTo>
                        <a:pt x="90" y="1970"/>
                        <a:pt x="956" y="2000"/>
                        <a:pt x="956" y="2000"/>
                      </a:cubicBezTo>
                      <a:cubicBezTo>
                        <a:pt x="956" y="2000"/>
                        <a:pt x="433" y="2642"/>
                        <a:pt x="672" y="2836"/>
                      </a:cubicBezTo>
                      <a:cubicBezTo>
                        <a:pt x="703" y="2859"/>
                        <a:pt x="737" y="2869"/>
                        <a:pt x="773" y="2869"/>
                      </a:cubicBezTo>
                      <a:cubicBezTo>
                        <a:pt x="1022" y="2869"/>
                        <a:pt x="1374" y="2403"/>
                        <a:pt x="1374" y="2403"/>
                      </a:cubicBezTo>
                      <a:lnTo>
                        <a:pt x="1270" y="1372"/>
                      </a:lnTo>
                      <a:lnTo>
                        <a:pt x="1180" y="357"/>
                      </a:lnTo>
                      <a:cubicBezTo>
                        <a:pt x="1180" y="344"/>
                        <a:pt x="778" y="1"/>
                        <a:pt x="5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147;p4"/>
                <p:cNvSpPr/>
                <p:nvPr/>
              </p:nvSpPr>
              <p:spPr>
                <a:xfrm rot="10800000">
                  <a:off x="12431719" y="-174477"/>
                  <a:ext cx="340470" cy="324116"/>
                </a:xfrm>
                <a:custGeom>
                  <a:avLst/>
                  <a:gdLst/>
                  <a:ahLst/>
                  <a:cxnLst/>
                  <a:rect l="l" t="t" r="r" b="b"/>
                  <a:pathLst>
                    <a:path w="5975" h="5688" extrusionOk="0">
                      <a:moveTo>
                        <a:pt x="2980" y="0"/>
                      </a:moveTo>
                      <a:cubicBezTo>
                        <a:pt x="2889" y="0"/>
                        <a:pt x="2797" y="5"/>
                        <a:pt x="2704" y="13"/>
                      </a:cubicBezTo>
                      <a:cubicBezTo>
                        <a:pt x="1135" y="163"/>
                        <a:pt x="0" y="1567"/>
                        <a:pt x="150" y="3120"/>
                      </a:cubicBezTo>
                      <a:cubicBezTo>
                        <a:pt x="304" y="4595"/>
                        <a:pt x="1542" y="5687"/>
                        <a:pt x="2994" y="5687"/>
                      </a:cubicBezTo>
                      <a:cubicBezTo>
                        <a:pt x="3086" y="5687"/>
                        <a:pt x="3178" y="5683"/>
                        <a:pt x="3271" y="5674"/>
                      </a:cubicBezTo>
                      <a:cubicBezTo>
                        <a:pt x="4824" y="5510"/>
                        <a:pt x="5975" y="4121"/>
                        <a:pt x="5810" y="2567"/>
                      </a:cubicBezTo>
                      <a:cubicBezTo>
                        <a:pt x="5656" y="1092"/>
                        <a:pt x="4431" y="0"/>
                        <a:pt x="29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148;p4"/>
                <p:cNvSpPr/>
                <p:nvPr/>
              </p:nvSpPr>
              <p:spPr>
                <a:xfrm rot="10800000">
                  <a:off x="12649621" y="49122"/>
                  <a:ext cx="59604" cy="55672"/>
                </a:xfrm>
                <a:custGeom>
                  <a:avLst/>
                  <a:gdLst/>
                  <a:ahLst/>
                  <a:cxnLst/>
                  <a:rect l="l" t="t" r="r" b="b"/>
                  <a:pathLst>
                    <a:path w="1046" h="977" extrusionOk="0">
                      <a:moveTo>
                        <a:pt x="548" y="0"/>
                      </a:moveTo>
                      <a:cubicBezTo>
                        <a:pt x="530" y="0"/>
                        <a:pt x="512" y="1"/>
                        <a:pt x="493" y="3"/>
                      </a:cubicBezTo>
                      <a:cubicBezTo>
                        <a:pt x="210" y="33"/>
                        <a:pt x="0" y="272"/>
                        <a:pt x="45" y="541"/>
                      </a:cubicBezTo>
                      <a:cubicBezTo>
                        <a:pt x="73" y="791"/>
                        <a:pt x="282" y="977"/>
                        <a:pt x="528" y="977"/>
                      </a:cubicBezTo>
                      <a:cubicBezTo>
                        <a:pt x="546" y="977"/>
                        <a:pt x="565" y="976"/>
                        <a:pt x="583" y="974"/>
                      </a:cubicBezTo>
                      <a:cubicBezTo>
                        <a:pt x="852" y="944"/>
                        <a:pt x="1046" y="720"/>
                        <a:pt x="1016" y="436"/>
                      </a:cubicBezTo>
                      <a:cubicBezTo>
                        <a:pt x="1002" y="186"/>
                        <a:pt x="794" y="0"/>
                        <a:pt x="54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9" name="Google Shape;149;p4"/>
              <p:cNvSpPr/>
              <p:nvPr/>
            </p:nvSpPr>
            <p:spPr>
              <a:xfrm rot="-6459380" flipH="1">
                <a:off x="8987863" y="4876511"/>
                <a:ext cx="179311" cy="389279"/>
              </a:xfrm>
              <a:custGeom>
                <a:avLst/>
                <a:gdLst/>
                <a:ahLst/>
                <a:cxnLst/>
                <a:rect l="l" t="t" r="r" b="b"/>
                <a:pathLst>
                  <a:path w="4720" h="10247" fill="none" extrusionOk="0">
                    <a:moveTo>
                      <a:pt x="0" y="10247"/>
                    </a:moveTo>
                    <a:cubicBezTo>
                      <a:pt x="0" y="10247"/>
                      <a:pt x="3928" y="6020"/>
                      <a:pt x="4720" y="5647"/>
                    </a:cubicBezTo>
                    <a:moveTo>
                      <a:pt x="2763" y="2615"/>
                    </a:moveTo>
                    <a:cubicBezTo>
                      <a:pt x="2763" y="2615"/>
                      <a:pt x="3689" y="1390"/>
                      <a:pt x="4436" y="1226"/>
                    </a:cubicBezTo>
                    <a:moveTo>
                      <a:pt x="1359" y="8813"/>
                    </a:moveTo>
                    <a:cubicBezTo>
                      <a:pt x="1359" y="8813"/>
                      <a:pt x="3361" y="3735"/>
                      <a:pt x="262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150;p4"/>
              <p:cNvSpPr/>
              <p:nvPr/>
            </p:nvSpPr>
            <p:spPr>
              <a:xfrm rot="10800000">
                <a:off x="8751006" y="4816916"/>
                <a:ext cx="170992" cy="109762"/>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1" name="Google Shape;151;p4"/>
            <p:cNvGrpSpPr/>
            <p:nvPr/>
          </p:nvGrpSpPr>
          <p:grpSpPr>
            <a:xfrm>
              <a:off x="-1054946" y="-275767"/>
              <a:ext cx="1921494" cy="3523945"/>
              <a:chOff x="-1054946" y="-275767"/>
              <a:chExt cx="1921494" cy="3523945"/>
            </a:xfrm>
          </p:grpSpPr>
          <p:grpSp>
            <p:nvGrpSpPr>
              <p:cNvPr id="152" name="Google Shape;152;p4"/>
              <p:cNvGrpSpPr/>
              <p:nvPr/>
            </p:nvGrpSpPr>
            <p:grpSpPr>
              <a:xfrm rot="960639" flipH="1">
                <a:off x="-344927" y="510092"/>
                <a:ext cx="1078352" cy="1116766"/>
                <a:chOff x="8299600" y="8319350"/>
                <a:chExt cx="843525" cy="854575"/>
              </a:xfrm>
            </p:grpSpPr>
            <p:sp>
              <p:nvSpPr>
                <p:cNvPr id="153" name="Google Shape;153;p4"/>
                <p:cNvSpPr/>
                <p:nvPr/>
              </p:nvSpPr>
              <p:spPr>
                <a:xfrm>
                  <a:off x="8357475" y="8368475"/>
                  <a:ext cx="729275" cy="805450"/>
                </a:xfrm>
                <a:custGeom>
                  <a:avLst/>
                  <a:gdLst/>
                  <a:ahLst/>
                  <a:cxnLst/>
                  <a:rect l="l" t="t" r="r" b="b"/>
                  <a:pathLst>
                    <a:path w="29171" h="32218" fill="none" extrusionOk="0">
                      <a:moveTo>
                        <a:pt x="12457" y="20104"/>
                      </a:moveTo>
                      <a:cubicBezTo>
                        <a:pt x="12457" y="20104"/>
                        <a:pt x="4168" y="19596"/>
                        <a:pt x="1" y="16848"/>
                      </a:cubicBezTo>
                      <a:moveTo>
                        <a:pt x="21389" y="1225"/>
                      </a:moveTo>
                      <a:cubicBezTo>
                        <a:pt x="17356" y="7648"/>
                        <a:pt x="11263" y="12711"/>
                        <a:pt x="11263" y="12711"/>
                      </a:cubicBezTo>
                      <a:cubicBezTo>
                        <a:pt x="11263" y="12711"/>
                        <a:pt x="5512" y="7797"/>
                        <a:pt x="4840" y="5109"/>
                      </a:cubicBezTo>
                      <a:moveTo>
                        <a:pt x="16550" y="32217"/>
                      </a:moveTo>
                      <a:cubicBezTo>
                        <a:pt x="16550" y="32217"/>
                        <a:pt x="10471" y="22210"/>
                        <a:pt x="10620" y="1"/>
                      </a:cubicBezTo>
                      <a:moveTo>
                        <a:pt x="16400" y="7708"/>
                      </a:moveTo>
                      <a:lnTo>
                        <a:pt x="16729" y="2868"/>
                      </a:lnTo>
                      <a:moveTo>
                        <a:pt x="3093" y="8454"/>
                      </a:moveTo>
                      <a:lnTo>
                        <a:pt x="7155" y="8678"/>
                      </a:lnTo>
                      <a:moveTo>
                        <a:pt x="29171" y="12711"/>
                      </a:moveTo>
                      <a:cubicBezTo>
                        <a:pt x="25885" y="17102"/>
                        <a:pt x="18969" y="17252"/>
                        <a:pt x="18969" y="17252"/>
                      </a:cubicBezTo>
                      <a:cubicBezTo>
                        <a:pt x="18969" y="17252"/>
                        <a:pt x="18267" y="15848"/>
                        <a:pt x="18088" y="13667"/>
                      </a:cubicBezTo>
                      <a:moveTo>
                        <a:pt x="13115" y="22897"/>
                      </a:moveTo>
                      <a:cubicBezTo>
                        <a:pt x="13115" y="22897"/>
                        <a:pt x="20777" y="16475"/>
                        <a:pt x="23047" y="11621"/>
                      </a:cubicBezTo>
                      <a:moveTo>
                        <a:pt x="3899" y="18581"/>
                      </a:moveTo>
                      <a:cubicBezTo>
                        <a:pt x="3899" y="18581"/>
                        <a:pt x="2958" y="20194"/>
                        <a:pt x="1091" y="20806"/>
                      </a:cubicBezTo>
                      <a:moveTo>
                        <a:pt x="5886" y="19104"/>
                      </a:moveTo>
                      <a:cubicBezTo>
                        <a:pt x="5886" y="19104"/>
                        <a:pt x="5945" y="17744"/>
                        <a:pt x="5378" y="16101"/>
                      </a:cubicBezTo>
                    </a:path>
                  </a:pathLst>
                </a:custGeom>
                <a:noFill/>
                <a:ln w="95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4"/>
                <p:cNvSpPr/>
                <p:nvPr/>
              </p:nvSpPr>
              <p:spPr>
                <a:xfrm>
                  <a:off x="8434775" y="8445025"/>
                  <a:ext cx="79550" cy="79550"/>
                </a:xfrm>
                <a:custGeom>
                  <a:avLst/>
                  <a:gdLst/>
                  <a:ahLst/>
                  <a:cxnLst/>
                  <a:rect l="l" t="t" r="r" b="b"/>
                  <a:pathLst>
                    <a:path w="3182" h="3182" extrusionOk="0">
                      <a:moveTo>
                        <a:pt x="1584" y="0"/>
                      </a:moveTo>
                      <a:cubicBezTo>
                        <a:pt x="718" y="0"/>
                        <a:pt x="1" y="702"/>
                        <a:pt x="1" y="1584"/>
                      </a:cubicBezTo>
                      <a:cubicBezTo>
                        <a:pt x="1" y="2465"/>
                        <a:pt x="718" y="3182"/>
                        <a:pt x="1584" y="3182"/>
                      </a:cubicBezTo>
                      <a:cubicBezTo>
                        <a:pt x="2465" y="3182"/>
                        <a:pt x="3182" y="2465"/>
                        <a:pt x="3182" y="1584"/>
                      </a:cubicBezTo>
                      <a:cubicBezTo>
                        <a:pt x="3182" y="702"/>
                        <a:pt x="2465" y="0"/>
                        <a:pt x="158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4"/>
                <p:cNvSpPr/>
                <p:nvPr/>
              </p:nvSpPr>
              <p:spPr>
                <a:xfrm>
                  <a:off x="8467825" y="8454450"/>
                  <a:ext cx="49500" cy="56075"/>
                </a:xfrm>
                <a:custGeom>
                  <a:avLst/>
                  <a:gdLst/>
                  <a:ahLst/>
                  <a:cxnLst/>
                  <a:rect l="l" t="t" r="r" b="b"/>
                  <a:pathLst>
                    <a:path w="1980" h="2243" extrusionOk="0">
                      <a:moveTo>
                        <a:pt x="804" y="1"/>
                      </a:moveTo>
                      <a:cubicBezTo>
                        <a:pt x="590" y="1"/>
                        <a:pt x="426" y="146"/>
                        <a:pt x="426" y="146"/>
                      </a:cubicBezTo>
                      <a:cubicBezTo>
                        <a:pt x="0" y="622"/>
                        <a:pt x="467" y="2243"/>
                        <a:pt x="1008" y="2243"/>
                      </a:cubicBezTo>
                      <a:cubicBezTo>
                        <a:pt x="1112" y="2243"/>
                        <a:pt x="1219" y="2183"/>
                        <a:pt x="1322" y="2043"/>
                      </a:cubicBezTo>
                      <a:cubicBezTo>
                        <a:pt x="1979" y="1192"/>
                        <a:pt x="1292" y="191"/>
                        <a:pt x="994" y="42"/>
                      </a:cubicBezTo>
                      <a:cubicBezTo>
                        <a:pt x="928" y="12"/>
                        <a:pt x="864" y="1"/>
                        <a:pt x="8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4"/>
                <p:cNvSpPr/>
                <p:nvPr/>
              </p:nvSpPr>
              <p:spPr>
                <a:xfrm>
                  <a:off x="8459050" y="8473400"/>
                  <a:ext cx="19450" cy="20575"/>
                </a:xfrm>
                <a:custGeom>
                  <a:avLst/>
                  <a:gdLst/>
                  <a:ahLst/>
                  <a:cxnLst/>
                  <a:rect l="l" t="t" r="r" b="b"/>
                  <a:pathLst>
                    <a:path w="778" h="823" extrusionOk="0">
                      <a:moveTo>
                        <a:pt x="389" y="1"/>
                      </a:moveTo>
                      <a:cubicBezTo>
                        <a:pt x="165" y="1"/>
                        <a:pt x="0" y="180"/>
                        <a:pt x="0" y="404"/>
                      </a:cubicBezTo>
                      <a:cubicBezTo>
                        <a:pt x="0" y="643"/>
                        <a:pt x="165" y="822"/>
                        <a:pt x="389" y="822"/>
                      </a:cubicBezTo>
                      <a:cubicBezTo>
                        <a:pt x="598" y="822"/>
                        <a:pt x="777" y="643"/>
                        <a:pt x="777" y="404"/>
                      </a:cubicBezTo>
                      <a:cubicBezTo>
                        <a:pt x="777" y="180"/>
                        <a:pt x="598" y="1"/>
                        <a:pt x="38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4"/>
                <p:cNvSpPr/>
                <p:nvPr/>
              </p:nvSpPr>
              <p:spPr>
                <a:xfrm>
                  <a:off x="8358600" y="8529550"/>
                  <a:ext cx="88150" cy="79625"/>
                </a:xfrm>
                <a:custGeom>
                  <a:avLst/>
                  <a:gdLst/>
                  <a:ahLst/>
                  <a:cxnLst/>
                  <a:rect l="l" t="t" r="r" b="b"/>
                  <a:pathLst>
                    <a:path w="3526" h="3185" extrusionOk="0">
                      <a:moveTo>
                        <a:pt x="1759" y="1"/>
                      </a:moveTo>
                      <a:cubicBezTo>
                        <a:pt x="1623" y="1"/>
                        <a:pt x="1484" y="18"/>
                        <a:pt x="1345" y="55"/>
                      </a:cubicBezTo>
                      <a:cubicBezTo>
                        <a:pt x="494" y="279"/>
                        <a:pt x="1" y="1160"/>
                        <a:pt x="225" y="2011"/>
                      </a:cubicBezTo>
                      <a:cubicBezTo>
                        <a:pt x="413" y="2714"/>
                        <a:pt x="1065" y="3184"/>
                        <a:pt x="1773" y="3184"/>
                      </a:cubicBezTo>
                      <a:cubicBezTo>
                        <a:pt x="1908" y="3184"/>
                        <a:pt x="2045" y="3167"/>
                        <a:pt x="2181" y="3131"/>
                      </a:cubicBezTo>
                      <a:cubicBezTo>
                        <a:pt x="3033" y="2893"/>
                        <a:pt x="3526" y="2026"/>
                        <a:pt x="3302" y="1175"/>
                      </a:cubicBezTo>
                      <a:cubicBezTo>
                        <a:pt x="3101" y="462"/>
                        <a:pt x="2462" y="1"/>
                        <a:pt x="175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158;p4"/>
                <p:cNvSpPr/>
                <p:nvPr/>
              </p:nvSpPr>
              <p:spPr>
                <a:xfrm>
                  <a:off x="8378775" y="8535750"/>
                  <a:ext cx="59850" cy="34750"/>
                </a:xfrm>
                <a:custGeom>
                  <a:avLst/>
                  <a:gdLst/>
                  <a:ahLst/>
                  <a:cxnLst/>
                  <a:rect l="l" t="t" r="r" b="b"/>
                  <a:pathLst>
                    <a:path w="2394" h="1390" extrusionOk="0">
                      <a:moveTo>
                        <a:pt x="892" y="1"/>
                      </a:moveTo>
                      <a:cubicBezTo>
                        <a:pt x="607" y="1"/>
                        <a:pt x="367" y="70"/>
                        <a:pt x="269" y="150"/>
                      </a:cubicBezTo>
                      <a:cubicBezTo>
                        <a:pt x="0" y="359"/>
                        <a:pt x="105" y="718"/>
                        <a:pt x="105" y="718"/>
                      </a:cubicBezTo>
                      <a:cubicBezTo>
                        <a:pt x="246" y="1109"/>
                        <a:pt x="1020" y="1389"/>
                        <a:pt x="1599" y="1389"/>
                      </a:cubicBezTo>
                      <a:cubicBezTo>
                        <a:pt x="2058" y="1389"/>
                        <a:pt x="2394" y="1213"/>
                        <a:pt x="2196" y="778"/>
                      </a:cubicBezTo>
                      <a:cubicBezTo>
                        <a:pt x="1920" y="179"/>
                        <a:pt x="1349" y="1"/>
                        <a:pt x="89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59;p4"/>
                <p:cNvSpPr/>
                <p:nvPr/>
              </p:nvSpPr>
              <p:spPr>
                <a:xfrm>
                  <a:off x="8387725" y="8563975"/>
                  <a:ext cx="23175" cy="19300"/>
                </a:xfrm>
                <a:custGeom>
                  <a:avLst/>
                  <a:gdLst/>
                  <a:ahLst/>
                  <a:cxnLst/>
                  <a:rect l="l" t="t" r="r" b="b"/>
                  <a:pathLst>
                    <a:path w="927" h="772" extrusionOk="0">
                      <a:moveTo>
                        <a:pt x="422" y="1"/>
                      </a:moveTo>
                      <a:cubicBezTo>
                        <a:pt x="285" y="1"/>
                        <a:pt x="161" y="71"/>
                        <a:pt x="90" y="201"/>
                      </a:cubicBezTo>
                      <a:cubicBezTo>
                        <a:pt x="1" y="380"/>
                        <a:pt x="90" y="619"/>
                        <a:pt x="285" y="724"/>
                      </a:cubicBezTo>
                      <a:cubicBezTo>
                        <a:pt x="345" y="757"/>
                        <a:pt x="411" y="772"/>
                        <a:pt x="477" y="772"/>
                      </a:cubicBezTo>
                      <a:cubicBezTo>
                        <a:pt x="621" y="772"/>
                        <a:pt x="761" y="698"/>
                        <a:pt x="822" y="575"/>
                      </a:cubicBezTo>
                      <a:cubicBezTo>
                        <a:pt x="927" y="395"/>
                        <a:pt x="837" y="156"/>
                        <a:pt x="628" y="52"/>
                      </a:cubicBezTo>
                      <a:cubicBezTo>
                        <a:pt x="559" y="18"/>
                        <a:pt x="489" y="1"/>
                        <a:pt x="42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160;p4"/>
                <p:cNvSpPr/>
                <p:nvPr/>
              </p:nvSpPr>
              <p:spPr>
                <a:xfrm>
                  <a:off x="8583400" y="8319350"/>
                  <a:ext cx="87750" cy="79600"/>
                </a:xfrm>
                <a:custGeom>
                  <a:avLst/>
                  <a:gdLst/>
                  <a:ahLst/>
                  <a:cxnLst/>
                  <a:rect l="l" t="t" r="r" b="b"/>
                  <a:pathLst>
                    <a:path w="3510" h="3184" extrusionOk="0">
                      <a:moveTo>
                        <a:pt x="1744" y="1"/>
                      </a:moveTo>
                      <a:cubicBezTo>
                        <a:pt x="1039" y="1"/>
                        <a:pt x="397" y="474"/>
                        <a:pt x="209" y="1189"/>
                      </a:cubicBezTo>
                      <a:cubicBezTo>
                        <a:pt x="0" y="2040"/>
                        <a:pt x="508" y="2907"/>
                        <a:pt x="1359" y="3131"/>
                      </a:cubicBezTo>
                      <a:cubicBezTo>
                        <a:pt x="1495" y="3166"/>
                        <a:pt x="1631" y="3184"/>
                        <a:pt x="1765" y="3184"/>
                      </a:cubicBezTo>
                      <a:cubicBezTo>
                        <a:pt x="2467" y="3184"/>
                        <a:pt x="3098" y="2711"/>
                        <a:pt x="3286" y="1995"/>
                      </a:cubicBezTo>
                      <a:cubicBezTo>
                        <a:pt x="3510" y="1144"/>
                        <a:pt x="3002" y="278"/>
                        <a:pt x="2151" y="54"/>
                      </a:cubicBezTo>
                      <a:cubicBezTo>
                        <a:pt x="2015" y="18"/>
                        <a:pt x="1878" y="1"/>
                        <a:pt x="17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161;p4"/>
                <p:cNvSpPr/>
                <p:nvPr/>
              </p:nvSpPr>
              <p:spPr>
                <a:xfrm>
                  <a:off x="8623400" y="8332800"/>
                  <a:ext cx="44775" cy="56550"/>
                </a:xfrm>
                <a:custGeom>
                  <a:avLst/>
                  <a:gdLst/>
                  <a:ahLst/>
                  <a:cxnLst/>
                  <a:rect l="l" t="t" r="r" b="b"/>
                  <a:pathLst>
                    <a:path w="1791" h="2262" extrusionOk="0">
                      <a:moveTo>
                        <a:pt x="827" y="1"/>
                      </a:moveTo>
                      <a:cubicBezTo>
                        <a:pt x="675" y="1"/>
                        <a:pt x="551" y="68"/>
                        <a:pt x="551" y="68"/>
                      </a:cubicBezTo>
                      <a:cubicBezTo>
                        <a:pt x="1" y="435"/>
                        <a:pt x="71" y="2261"/>
                        <a:pt x="661" y="2261"/>
                      </a:cubicBezTo>
                      <a:cubicBezTo>
                        <a:pt x="743" y="2261"/>
                        <a:pt x="836" y="2225"/>
                        <a:pt x="939" y="2145"/>
                      </a:cubicBezTo>
                      <a:cubicBezTo>
                        <a:pt x="1791" y="1472"/>
                        <a:pt x="1387" y="322"/>
                        <a:pt x="1118" y="113"/>
                      </a:cubicBezTo>
                      <a:cubicBezTo>
                        <a:pt x="1026" y="27"/>
                        <a:pt x="921" y="1"/>
                        <a:pt x="82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4"/>
                <p:cNvSpPr/>
                <p:nvPr/>
              </p:nvSpPr>
              <p:spPr>
                <a:xfrm>
                  <a:off x="8611400" y="8346475"/>
                  <a:ext cx="20925" cy="20525"/>
                </a:xfrm>
                <a:custGeom>
                  <a:avLst/>
                  <a:gdLst/>
                  <a:ahLst/>
                  <a:cxnLst/>
                  <a:rect l="l" t="t" r="r" b="b"/>
                  <a:pathLst>
                    <a:path w="837" h="821" extrusionOk="0">
                      <a:moveTo>
                        <a:pt x="423" y="0"/>
                      </a:moveTo>
                      <a:cubicBezTo>
                        <a:pt x="251" y="0"/>
                        <a:pt x="98" y="125"/>
                        <a:pt x="60" y="313"/>
                      </a:cubicBezTo>
                      <a:cubicBezTo>
                        <a:pt x="0" y="537"/>
                        <a:pt x="105" y="761"/>
                        <a:pt x="314" y="806"/>
                      </a:cubicBezTo>
                      <a:cubicBezTo>
                        <a:pt x="348" y="816"/>
                        <a:pt x="381" y="820"/>
                        <a:pt x="414" y="820"/>
                      </a:cubicBezTo>
                      <a:cubicBezTo>
                        <a:pt x="586" y="820"/>
                        <a:pt x="739" y="695"/>
                        <a:pt x="777" y="507"/>
                      </a:cubicBezTo>
                      <a:cubicBezTo>
                        <a:pt x="837" y="283"/>
                        <a:pt x="717" y="59"/>
                        <a:pt x="523" y="14"/>
                      </a:cubicBezTo>
                      <a:cubicBezTo>
                        <a:pt x="489" y="5"/>
                        <a:pt x="456" y="0"/>
                        <a:pt x="4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163;p4"/>
                <p:cNvSpPr/>
                <p:nvPr/>
              </p:nvSpPr>
              <p:spPr>
                <a:xfrm>
                  <a:off x="8731625" y="8375000"/>
                  <a:ext cx="88150" cy="79550"/>
                </a:xfrm>
                <a:custGeom>
                  <a:avLst/>
                  <a:gdLst/>
                  <a:ahLst/>
                  <a:cxnLst/>
                  <a:rect l="l" t="t" r="r" b="b"/>
                  <a:pathLst>
                    <a:path w="3526" h="3182" extrusionOk="0">
                      <a:moveTo>
                        <a:pt x="1760" y="0"/>
                      </a:moveTo>
                      <a:cubicBezTo>
                        <a:pt x="1054" y="0"/>
                        <a:pt x="413" y="473"/>
                        <a:pt x="225" y="1188"/>
                      </a:cubicBezTo>
                      <a:cubicBezTo>
                        <a:pt x="1" y="2040"/>
                        <a:pt x="508" y="2906"/>
                        <a:pt x="1360" y="3130"/>
                      </a:cubicBezTo>
                      <a:cubicBezTo>
                        <a:pt x="1493" y="3165"/>
                        <a:pt x="1627" y="3182"/>
                        <a:pt x="1759" y="3182"/>
                      </a:cubicBezTo>
                      <a:cubicBezTo>
                        <a:pt x="2467" y="3182"/>
                        <a:pt x="3113" y="2698"/>
                        <a:pt x="3301" y="1980"/>
                      </a:cubicBezTo>
                      <a:cubicBezTo>
                        <a:pt x="3525" y="1129"/>
                        <a:pt x="3018" y="277"/>
                        <a:pt x="2166" y="53"/>
                      </a:cubicBezTo>
                      <a:cubicBezTo>
                        <a:pt x="2030" y="17"/>
                        <a:pt x="1894" y="0"/>
                        <a:pt x="17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4"/>
                <p:cNvSpPr/>
                <p:nvPr/>
              </p:nvSpPr>
              <p:spPr>
                <a:xfrm>
                  <a:off x="8772025" y="8388350"/>
                  <a:ext cx="44750" cy="56275"/>
                </a:xfrm>
                <a:custGeom>
                  <a:avLst/>
                  <a:gdLst/>
                  <a:ahLst/>
                  <a:cxnLst/>
                  <a:rect l="l" t="t" r="r" b="b"/>
                  <a:pathLst>
                    <a:path w="1790" h="2251" extrusionOk="0">
                      <a:moveTo>
                        <a:pt x="838" y="0"/>
                      </a:moveTo>
                      <a:cubicBezTo>
                        <a:pt x="681" y="0"/>
                        <a:pt x="550" y="72"/>
                        <a:pt x="550" y="72"/>
                      </a:cubicBezTo>
                      <a:cubicBezTo>
                        <a:pt x="1" y="438"/>
                        <a:pt x="82" y="2250"/>
                        <a:pt x="663" y="2250"/>
                      </a:cubicBezTo>
                      <a:cubicBezTo>
                        <a:pt x="745" y="2250"/>
                        <a:pt x="837" y="2214"/>
                        <a:pt x="939" y="2133"/>
                      </a:cubicBezTo>
                      <a:cubicBezTo>
                        <a:pt x="1790" y="1461"/>
                        <a:pt x="1387" y="326"/>
                        <a:pt x="1118" y="102"/>
                      </a:cubicBezTo>
                      <a:cubicBezTo>
                        <a:pt x="1030" y="25"/>
                        <a:pt x="930" y="0"/>
                        <a:pt x="83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165;p4"/>
                <p:cNvSpPr/>
                <p:nvPr/>
              </p:nvSpPr>
              <p:spPr>
                <a:xfrm>
                  <a:off x="8760000" y="8401725"/>
                  <a:ext cx="20950" cy="20525"/>
                </a:xfrm>
                <a:custGeom>
                  <a:avLst/>
                  <a:gdLst/>
                  <a:ahLst/>
                  <a:cxnLst/>
                  <a:rect l="l" t="t" r="r" b="b"/>
                  <a:pathLst>
                    <a:path w="838" h="821" extrusionOk="0">
                      <a:moveTo>
                        <a:pt x="423" y="1"/>
                      </a:moveTo>
                      <a:cubicBezTo>
                        <a:pt x="251" y="1"/>
                        <a:pt x="96" y="126"/>
                        <a:pt x="46" y="314"/>
                      </a:cubicBezTo>
                      <a:cubicBezTo>
                        <a:pt x="1" y="538"/>
                        <a:pt x="105" y="747"/>
                        <a:pt x="314" y="806"/>
                      </a:cubicBezTo>
                      <a:cubicBezTo>
                        <a:pt x="348" y="816"/>
                        <a:pt x="381" y="821"/>
                        <a:pt x="414" y="821"/>
                      </a:cubicBezTo>
                      <a:cubicBezTo>
                        <a:pt x="582" y="821"/>
                        <a:pt x="727" y="696"/>
                        <a:pt x="777" y="508"/>
                      </a:cubicBezTo>
                      <a:cubicBezTo>
                        <a:pt x="837" y="284"/>
                        <a:pt x="718" y="60"/>
                        <a:pt x="523" y="15"/>
                      </a:cubicBezTo>
                      <a:cubicBezTo>
                        <a:pt x="490" y="5"/>
                        <a:pt x="456" y="1"/>
                        <a:pt x="4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166;p4"/>
                <p:cNvSpPr/>
                <p:nvPr/>
              </p:nvSpPr>
              <p:spPr>
                <a:xfrm>
                  <a:off x="8854475" y="8346225"/>
                  <a:ext cx="91125" cy="79650"/>
                </a:xfrm>
                <a:custGeom>
                  <a:avLst/>
                  <a:gdLst/>
                  <a:ahLst/>
                  <a:cxnLst/>
                  <a:rect l="l" t="t" r="r" b="b"/>
                  <a:pathLst>
                    <a:path w="3645" h="3186" extrusionOk="0">
                      <a:moveTo>
                        <a:pt x="1821" y="0"/>
                      </a:moveTo>
                      <a:cubicBezTo>
                        <a:pt x="1259" y="0"/>
                        <a:pt x="718" y="297"/>
                        <a:pt x="434" y="816"/>
                      </a:cubicBezTo>
                      <a:cubicBezTo>
                        <a:pt x="0" y="1593"/>
                        <a:pt x="284" y="2563"/>
                        <a:pt x="1046" y="2982"/>
                      </a:cubicBezTo>
                      <a:cubicBezTo>
                        <a:pt x="1294" y="3120"/>
                        <a:pt x="1561" y="3185"/>
                        <a:pt x="1824" y="3185"/>
                      </a:cubicBezTo>
                      <a:cubicBezTo>
                        <a:pt x="2386" y="3185"/>
                        <a:pt x="2927" y="2888"/>
                        <a:pt x="3212" y="2369"/>
                      </a:cubicBezTo>
                      <a:cubicBezTo>
                        <a:pt x="3645" y="1593"/>
                        <a:pt x="3361" y="622"/>
                        <a:pt x="2599" y="204"/>
                      </a:cubicBezTo>
                      <a:cubicBezTo>
                        <a:pt x="2352" y="65"/>
                        <a:pt x="2084" y="0"/>
                        <a:pt x="182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167;p4"/>
                <p:cNvSpPr/>
                <p:nvPr/>
              </p:nvSpPr>
              <p:spPr>
                <a:xfrm>
                  <a:off x="8890250" y="8364375"/>
                  <a:ext cx="47150" cy="54125"/>
                </a:xfrm>
                <a:custGeom>
                  <a:avLst/>
                  <a:gdLst/>
                  <a:ahLst/>
                  <a:cxnLst/>
                  <a:rect l="l" t="t" r="r" b="b"/>
                  <a:pathLst>
                    <a:path w="1886" h="2165" extrusionOk="0">
                      <a:moveTo>
                        <a:pt x="1172" y="1"/>
                      </a:moveTo>
                      <a:cubicBezTo>
                        <a:pt x="1091" y="1"/>
                        <a:pt x="1034" y="15"/>
                        <a:pt x="1034" y="15"/>
                      </a:cubicBezTo>
                      <a:cubicBezTo>
                        <a:pt x="381" y="247"/>
                        <a:pt x="0" y="2164"/>
                        <a:pt x="672" y="2164"/>
                      </a:cubicBezTo>
                      <a:cubicBezTo>
                        <a:pt x="738" y="2164"/>
                        <a:pt x="813" y="2146"/>
                        <a:pt x="899" y="2106"/>
                      </a:cubicBezTo>
                      <a:cubicBezTo>
                        <a:pt x="1885" y="1673"/>
                        <a:pt x="1766" y="463"/>
                        <a:pt x="1572" y="194"/>
                      </a:cubicBezTo>
                      <a:cubicBezTo>
                        <a:pt x="1464" y="33"/>
                        <a:pt x="1292" y="1"/>
                        <a:pt x="117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168;p4"/>
                <p:cNvSpPr/>
                <p:nvPr/>
              </p:nvSpPr>
              <p:spPr>
                <a:xfrm>
                  <a:off x="8883975" y="8372225"/>
                  <a:ext cx="22425" cy="20150"/>
                </a:xfrm>
                <a:custGeom>
                  <a:avLst/>
                  <a:gdLst/>
                  <a:ahLst/>
                  <a:cxnLst/>
                  <a:rect l="l" t="t" r="r" b="b"/>
                  <a:pathLst>
                    <a:path w="897" h="806" extrusionOk="0">
                      <a:moveTo>
                        <a:pt x="477" y="1"/>
                      </a:moveTo>
                      <a:cubicBezTo>
                        <a:pt x="337" y="1"/>
                        <a:pt x="194" y="86"/>
                        <a:pt x="120" y="224"/>
                      </a:cubicBezTo>
                      <a:cubicBezTo>
                        <a:pt x="0" y="418"/>
                        <a:pt x="75" y="672"/>
                        <a:pt x="254" y="762"/>
                      </a:cubicBezTo>
                      <a:cubicBezTo>
                        <a:pt x="310" y="792"/>
                        <a:pt x="369" y="806"/>
                        <a:pt x="427" y="806"/>
                      </a:cubicBezTo>
                      <a:cubicBezTo>
                        <a:pt x="569" y="806"/>
                        <a:pt x="707" y="721"/>
                        <a:pt x="792" y="582"/>
                      </a:cubicBezTo>
                      <a:cubicBezTo>
                        <a:pt x="897" y="388"/>
                        <a:pt x="837" y="134"/>
                        <a:pt x="643" y="45"/>
                      </a:cubicBezTo>
                      <a:cubicBezTo>
                        <a:pt x="591" y="15"/>
                        <a:pt x="534" y="1"/>
                        <a:pt x="47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169;p4"/>
                <p:cNvSpPr/>
                <p:nvPr/>
              </p:nvSpPr>
              <p:spPr>
                <a:xfrm>
                  <a:off x="8768975" y="8643200"/>
                  <a:ext cx="81425" cy="79325"/>
                </a:xfrm>
                <a:custGeom>
                  <a:avLst/>
                  <a:gdLst/>
                  <a:ahLst/>
                  <a:cxnLst/>
                  <a:rect l="l" t="t" r="r" b="b"/>
                  <a:pathLst>
                    <a:path w="3257" h="3173" extrusionOk="0">
                      <a:moveTo>
                        <a:pt x="1611" y="1"/>
                      </a:moveTo>
                      <a:cubicBezTo>
                        <a:pt x="791" y="1"/>
                        <a:pt x="102" y="653"/>
                        <a:pt x="45" y="1498"/>
                      </a:cubicBezTo>
                      <a:cubicBezTo>
                        <a:pt x="0" y="2379"/>
                        <a:pt x="672" y="3111"/>
                        <a:pt x="1539" y="3171"/>
                      </a:cubicBezTo>
                      <a:cubicBezTo>
                        <a:pt x="1566" y="3172"/>
                        <a:pt x="1594" y="3173"/>
                        <a:pt x="1622" y="3173"/>
                      </a:cubicBezTo>
                      <a:cubicBezTo>
                        <a:pt x="2466" y="3173"/>
                        <a:pt x="3168" y="2516"/>
                        <a:pt x="3211" y="1677"/>
                      </a:cubicBezTo>
                      <a:cubicBezTo>
                        <a:pt x="3256" y="796"/>
                        <a:pt x="2584" y="34"/>
                        <a:pt x="1718" y="4"/>
                      </a:cubicBezTo>
                      <a:cubicBezTo>
                        <a:pt x="1682" y="2"/>
                        <a:pt x="1646" y="1"/>
                        <a:pt x="161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p4"/>
                <p:cNvSpPr/>
                <p:nvPr/>
              </p:nvSpPr>
              <p:spPr>
                <a:xfrm>
                  <a:off x="8803525" y="8653225"/>
                  <a:ext cx="48725" cy="56325"/>
                </a:xfrm>
                <a:custGeom>
                  <a:avLst/>
                  <a:gdLst/>
                  <a:ahLst/>
                  <a:cxnLst/>
                  <a:rect l="l" t="t" r="r" b="b"/>
                  <a:pathLst>
                    <a:path w="1949" h="2253" extrusionOk="0">
                      <a:moveTo>
                        <a:pt x="814" y="0"/>
                      </a:moveTo>
                      <a:cubicBezTo>
                        <a:pt x="615" y="0"/>
                        <a:pt x="455" y="126"/>
                        <a:pt x="455" y="126"/>
                      </a:cubicBezTo>
                      <a:cubicBezTo>
                        <a:pt x="1" y="581"/>
                        <a:pt x="379" y="2253"/>
                        <a:pt x="931" y="2253"/>
                      </a:cubicBezTo>
                      <a:cubicBezTo>
                        <a:pt x="1032" y="2253"/>
                        <a:pt x="1138" y="2197"/>
                        <a:pt x="1247" y="2068"/>
                      </a:cubicBezTo>
                      <a:cubicBezTo>
                        <a:pt x="1949" y="1261"/>
                        <a:pt x="1322" y="216"/>
                        <a:pt x="1023" y="51"/>
                      </a:cubicBezTo>
                      <a:cubicBezTo>
                        <a:pt x="952" y="14"/>
                        <a:pt x="881" y="0"/>
                        <a:pt x="81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171;p4"/>
                <p:cNvSpPr/>
                <p:nvPr/>
              </p:nvSpPr>
              <p:spPr>
                <a:xfrm>
                  <a:off x="8794350" y="8671275"/>
                  <a:ext cx="19450" cy="20250"/>
                </a:xfrm>
                <a:custGeom>
                  <a:avLst/>
                  <a:gdLst/>
                  <a:ahLst/>
                  <a:cxnLst/>
                  <a:rect l="l" t="t" r="r" b="b"/>
                  <a:pathLst>
                    <a:path w="778" h="810" extrusionOk="0">
                      <a:moveTo>
                        <a:pt x="380" y="1"/>
                      </a:moveTo>
                      <a:cubicBezTo>
                        <a:pt x="181" y="1"/>
                        <a:pt x="15" y="175"/>
                        <a:pt x="1" y="390"/>
                      </a:cubicBezTo>
                      <a:cubicBezTo>
                        <a:pt x="1" y="599"/>
                        <a:pt x="165" y="793"/>
                        <a:pt x="359" y="808"/>
                      </a:cubicBezTo>
                      <a:cubicBezTo>
                        <a:pt x="368" y="809"/>
                        <a:pt x="377" y="809"/>
                        <a:pt x="386" y="809"/>
                      </a:cubicBezTo>
                      <a:cubicBezTo>
                        <a:pt x="583" y="809"/>
                        <a:pt x="748" y="649"/>
                        <a:pt x="763" y="420"/>
                      </a:cubicBezTo>
                      <a:cubicBezTo>
                        <a:pt x="777" y="196"/>
                        <a:pt x="613" y="2"/>
                        <a:pt x="404" y="2"/>
                      </a:cubicBezTo>
                      <a:cubicBezTo>
                        <a:pt x="396" y="1"/>
                        <a:pt x="388" y="1"/>
                        <a:pt x="38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172;p4"/>
                <p:cNvSpPr/>
                <p:nvPr/>
              </p:nvSpPr>
              <p:spPr>
                <a:xfrm>
                  <a:off x="8901525" y="8593350"/>
                  <a:ext cx="84400" cy="79675"/>
                </a:xfrm>
                <a:custGeom>
                  <a:avLst/>
                  <a:gdLst/>
                  <a:ahLst/>
                  <a:cxnLst/>
                  <a:rect l="l" t="t" r="r" b="b"/>
                  <a:pathLst>
                    <a:path w="3376" h="3187" extrusionOk="0">
                      <a:moveTo>
                        <a:pt x="1678" y="1"/>
                      </a:moveTo>
                      <a:cubicBezTo>
                        <a:pt x="889" y="1"/>
                        <a:pt x="202" y="598"/>
                        <a:pt x="105" y="1401"/>
                      </a:cubicBezTo>
                      <a:cubicBezTo>
                        <a:pt x="0" y="2282"/>
                        <a:pt x="628" y="3074"/>
                        <a:pt x="1509" y="3178"/>
                      </a:cubicBezTo>
                      <a:cubicBezTo>
                        <a:pt x="1564" y="3184"/>
                        <a:pt x="1619" y="3187"/>
                        <a:pt x="1674" y="3187"/>
                      </a:cubicBezTo>
                      <a:cubicBezTo>
                        <a:pt x="2473" y="3187"/>
                        <a:pt x="3173" y="2585"/>
                        <a:pt x="3271" y="1774"/>
                      </a:cubicBezTo>
                      <a:cubicBezTo>
                        <a:pt x="3376" y="908"/>
                        <a:pt x="2749" y="116"/>
                        <a:pt x="1867" y="12"/>
                      </a:cubicBezTo>
                      <a:cubicBezTo>
                        <a:pt x="1804" y="4"/>
                        <a:pt x="1741" y="1"/>
                        <a:pt x="167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173;p4"/>
                <p:cNvSpPr/>
                <p:nvPr/>
              </p:nvSpPr>
              <p:spPr>
                <a:xfrm>
                  <a:off x="8937700" y="8608800"/>
                  <a:ext cx="45250" cy="55675"/>
                </a:xfrm>
                <a:custGeom>
                  <a:avLst/>
                  <a:gdLst/>
                  <a:ahLst/>
                  <a:cxnLst/>
                  <a:rect l="l" t="t" r="r" b="b"/>
                  <a:pathLst>
                    <a:path w="1810" h="2227" extrusionOk="0">
                      <a:moveTo>
                        <a:pt x="961" y="1"/>
                      </a:moveTo>
                      <a:cubicBezTo>
                        <a:pt x="840" y="1"/>
                        <a:pt x="749" y="36"/>
                        <a:pt x="749" y="36"/>
                      </a:cubicBezTo>
                      <a:cubicBezTo>
                        <a:pt x="148" y="343"/>
                        <a:pt x="1" y="2227"/>
                        <a:pt x="628" y="2227"/>
                      </a:cubicBezTo>
                      <a:cubicBezTo>
                        <a:pt x="702" y="2227"/>
                        <a:pt x="787" y="2201"/>
                        <a:pt x="883" y="2142"/>
                      </a:cubicBezTo>
                      <a:cubicBezTo>
                        <a:pt x="1809" y="1589"/>
                        <a:pt x="1555" y="395"/>
                        <a:pt x="1331" y="156"/>
                      </a:cubicBezTo>
                      <a:cubicBezTo>
                        <a:pt x="1215" y="32"/>
                        <a:pt x="1075" y="1"/>
                        <a:pt x="96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174;p4"/>
                <p:cNvSpPr/>
                <p:nvPr/>
              </p:nvSpPr>
              <p:spPr>
                <a:xfrm>
                  <a:off x="8927275" y="8619550"/>
                  <a:ext cx="22075" cy="20275"/>
                </a:xfrm>
                <a:custGeom>
                  <a:avLst/>
                  <a:gdLst/>
                  <a:ahLst/>
                  <a:cxnLst/>
                  <a:rect l="l" t="t" r="r" b="b"/>
                  <a:pathLst>
                    <a:path w="883" h="811" extrusionOk="0">
                      <a:moveTo>
                        <a:pt x="476" y="0"/>
                      </a:moveTo>
                      <a:cubicBezTo>
                        <a:pt x="327" y="0"/>
                        <a:pt x="172" y="100"/>
                        <a:pt x="91" y="263"/>
                      </a:cubicBezTo>
                      <a:cubicBezTo>
                        <a:pt x="1" y="458"/>
                        <a:pt x="91" y="696"/>
                        <a:pt x="285" y="786"/>
                      </a:cubicBezTo>
                      <a:cubicBezTo>
                        <a:pt x="327" y="802"/>
                        <a:pt x="372" y="810"/>
                        <a:pt x="416" y="810"/>
                      </a:cubicBezTo>
                      <a:cubicBezTo>
                        <a:pt x="575" y="810"/>
                        <a:pt x="734" y="711"/>
                        <a:pt x="793" y="547"/>
                      </a:cubicBezTo>
                      <a:cubicBezTo>
                        <a:pt x="882" y="338"/>
                        <a:pt x="778" y="114"/>
                        <a:pt x="598" y="24"/>
                      </a:cubicBezTo>
                      <a:cubicBezTo>
                        <a:pt x="559" y="8"/>
                        <a:pt x="518" y="0"/>
                        <a:pt x="47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4"/>
                <p:cNvSpPr/>
                <p:nvPr/>
              </p:nvSpPr>
              <p:spPr>
                <a:xfrm>
                  <a:off x="9052375" y="8624425"/>
                  <a:ext cx="90750" cy="79600"/>
                </a:xfrm>
                <a:custGeom>
                  <a:avLst/>
                  <a:gdLst/>
                  <a:ahLst/>
                  <a:cxnLst/>
                  <a:rect l="l" t="t" r="r" b="b"/>
                  <a:pathLst>
                    <a:path w="3630" h="3184" extrusionOk="0">
                      <a:moveTo>
                        <a:pt x="1818" y="1"/>
                      </a:moveTo>
                      <a:cubicBezTo>
                        <a:pt x="1609" y="1"/>
                        <a:pt x="1398" y="42"/>
                        <a:pt x="1195" y="128"/>
                      </a:cubicBezTo>
                      <a:cubicBezTo>
                        <a:pt x="389" y="472"/>
                        <a:pt x="0" y="1413"/>
                        <a:pt x="344" y="2219"/>
                      </a:cubicBezTo>
                      <a:cubicBezTo>
                        <a:pt x="601" y="2822"/>
                        <a:pt x="1192" y="3183"/>
                        <a:pt x="1811" y="3183"/>
                      </a:cubicBezTo>
                      <a:cubicBezTo>
                        <a:pt x="2020" y="3183"/>
                        <a:pt x="2232" y="3142"/>
                        <a:pt x="2435" y="3056"/>
                      </a:cubicBezTo>
                      <a:cubicBezTo>
                        <a:pt x="3242" y="2712"/>
                        <a:pt x="3630" y="1786"/>
                        <a:pt x="3286" y="979"/>
                      </a:cubicBezTo>
                      <a:cubicBezTo>
                        <a:pt x="3029" y="365"/>
                        <a:pt x="2437" y="1"/>
                        <a:pt x="181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4"/>
                <p:cNvSpPr/>
                <p:nvPr/>
              </p:nvSpPr>
              <p:spPr>
                <a:xfrm>
                  <a:off x="9091600" y="8640500"/>
                  <a:ext cx="45175" cy="55625"/>
                </a:xfrm>
                <a:custGeom>
                  <a:avLst/>
                  <a:gdLst/>
                  <a:ahLst/>
                  <a:cxnLst/>
                  <a:rect l="l" t="t" r="r" b="b"/>
                  <a:pathLst>
                    <a:path w="1807" h="2225" extrusionOk="0">
                      <a:moveTo>
                        <a:pt x="982" y="0"/>
                      </a:moveTo>
                      <a:cubicBezTo>
                        <a:pt x="858" y="0"/>
                        <a:pt x="761" y="38"/>
                        <a:pt x="761" y="38"/>
                      </a:cubicBezTo>
                      <a:cubicBezTo>
                        <a:pt x="159" y="346"/>
                        <a:pt x="1" y="2225"/>
                        <a:pt x="641" y="2225"/>
                      </a:cubicBezTo>
                      <a:cubicBezTo>
                        <a:pt x="715" y="2225"/>
                        <a:pt x="800" y="2200"/>
                        <a:pt x="896" y="2144"/>
                      </a:cubicBezTo>
                      <a:cubicBezTo>
                        <a:pt x="1807" y="1591"/>
                        <a:pt x="1553" y="396"/>
                        <a:pt x="1329" y="142"/>
                      </a:cubicBezTo>
                      <a:cubicBezTo>
                        <a:pt x="1224" y="30"/>
                        <a:pt x="1092" y="0"/>
                        <a:pt x="98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7;p4"/>
                <p:cNvSpPr/>
                <p:nvPr/>
              </p:nvSpPr>
              <p:spPr>
                <a:xfrm>
                  <a:off x="9081125" y="8651075"/>
                  <a:ext cx="22050" cy="20250"/>
                </a:xfrm>
                <a:custGeom>
                  <a:avLst/>
                  <a:gdLst/>
                  <a:ahLst/>
                  <a:cxnLst/>
                  <a:rect l="l" t="t" r="r" b="b"/>
                  <a:pathLst>
                    <a:path w="882" h="810" extrusionOk="0">
                      <a:moveTo>
                        <a:pt x="465" y="1"/>
                      </a:moveTo>
                      <a:cubicBezTo>
                        <a:pt x="312" y="1"/>
                        <a:pt x="161" y="99"/>
                        <a:pt x="105" y="257"/>
                      </a:cubicBezTo>
                      <a:cubicBezTo>
                        <a:pt x="0" y="466"/>
                        <a:pt x="105" y="705"/>
                        <a:pt x="299" y="780"/>
                      </a:cubicBezTo>
                      <a:cubicBezTo>
                        <a:pt x="344" y="800"/>
                        <a:pt x="390" y="810"/>
                        <a:pt x="436" y="810"/>
                      </a:cubicBezTo>
                      <a:cubicBezTo>
                        <a:pt x="589" y="810"/>
                        <a:pt x="738" y="702"/>
                        <a:pt x="807" y="541"/>
                      </a:cubicBezTo>
                      <a:cubicBezTo>
                        <a:pt x="882" y="347"/>
                        <a:pt x="807" y="108"/>
                        <a:pt x="613" y="33"/>
                      </a:cubicBezTo>
                      <a:cubicBezTo>
                        <a:pt x="565" y="11"/>
                        <a:pt x="515" y="1"/>
                        <a:pt x="46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8;p4"/>
                <p:cNvSpPr/>
                <p:nvPr/>
              </p:nvSpPr>
              <p:spPr>
                <a:xfrm>
                  <a:off x="8442625" y="8710125"/>
                  <a:ext cx="79550" cy="79575"/>
                </a:xfrm>
                <a:custGeom>
                  <a:avLst/>
                  <a:gdLst/>
                  <a:ahLst/>
                  <a:cxnLst/>
                  <a:rect l="l" t="t" r="r" b="b"/>
                  <a:pathLst>
                    <a:path w="3182" h="3183" extrusionOk="0">
                      <a:moveTo>
                        <a:pt x="1598" y="1"/>
                      </a:moveTo>
                      <a:cubicBezTo>
                        <a:pt x="717" y="1"/>
                        <a:pt x="0" y="703"/>
                        <a:pt x="0" y="1584"/>
                      </a:cubicBezTo>
                      <a:cubicBezTo>
                        <a:pt x="0" y="2465"/>
                        <a:pt x="717" y="3182"/>
                        <a:pt x="1598" y="3182"/>
                      </a:cubicBezTo>
                      <a:cubicBezTo>
                        <a:pt x="2465" y="3182"/>
                        <a:pt x="3182" y="2465"/>
                        <a:pt x="3182" y="1584"/>
                      </a:cubicBezTo>
                      <a:cubicBezTo>
                        <a:pt x="3182" y="703"/>
                        <a:pt x="2465" y="1"/>
                        <a:pt x="159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4"/>
                <p:cNvSpPr/>
                <p:nvPr/>
              </p:nvSpPr>
              <p:spPr>
                <a:xfrm>
                  <a:off x="8473200" y="8717200"/>
                  <a:ext cx="51225" cy="54600"/>
                </a:xfrm>
                <a:custGeom>
                  <a:avLst/>
                  <a:gdLst/>
                  <a:ahLst/>
                  <a:cxnLst/>
                  <a:rect l="l" t="t" r="r" b="b"/>
                  <a:pathLst>
                    <a:path w="2049" h="2184" extrusionOk="0">
                      <a:moveTo>
                        <a:pt x="740" y="1"/>
                      </a:moveTo>
                      <a:cubicBezTo>
                        <a:pt x="487" y="1"/>
                        <a:pt x="316" y="241"/>
                        <a:pt x="316" y="241"/>
                      </a:cubicBezTo>
                      <a:cubicBezTo>
                        <a:pt x="0" y="774"/>
                        <a:pt x="719" y="2184"/>
                        <a:pt x="1248" y="2184"/>
                      </a:cubicBezTo>
                      <a:cubicBezTo>
                        <a:pt x="1371" y="2184"/>
                        <a:pt x="1483" y="2108"/>
                        <a:pt x="1570" y="1928"/>
                      </a:cubicBezTo>
                      <a:cubicBezTo>
                        <a:pt x="2048" y="943"/>
                        <a:pt x="1182" y="91"/>
                        <a:pt x="853" y="17"/>
                      </a:cubicBezTo>
                      <a:cubicBezTo>
                        <a:pt x="814" y="5"/>
                        <a:pt x="776" y="1"/>
                        <a:pt x="74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180;p4"/>
                <p:cNvSpPr/>
                <p:nvPr/>
              </p:nvSpPr>
              <p:spPr>
                <a:xfrm>
                  <a:off x="8466150" y="8739800"/>
                  <a:ext cx="20550" cy="20600"/>
                </a:xfrm>
                <a:custGeom>
                  <a:avLst/>
                  <a:gdLst/>
                  <a:ahLst/>
                  <a:cxnLst/>
                  <a:rect l="l" t="t" r="r" b="b"/>
                  <a:pathLst>
                    <a:path w="822" h="824" extrusionOk="0">
                      <a:moveTo>
                        <a:pt x="409" y="0"/>
                      </a:moveTo>
                      <a:cubicBezTo>
                        <a:pt x="383" y="0"/>
                        <a:pt x="356" y="3"/>
                        <a:pt x="329" y="9"/>
                      </a:cubicBezTo>
                      <a:cubicBezTo>
                        <a:pt x="135" y="39"/>
                        <a:pt x="0" y="263"/>
                        <a:pt x="45" y="487"/>
                      </a:cubicBezTo>
                      <a:cubicBezTo>
                        <a:pt x="84" y="684"/>
                        <a:pt x="251" y="823"/>
                        <a:pt x="423" y="823"/>
                      </a:cubicBezTo>
                      <a:cubicBezTo>
                        <a:pt x="446" y="823"/>
                        <a:pt x="470" y="821"/>
                        <a:pt x="493" y="815"/>
                      </a:cubicBezTo>
                      <a:cubicBezTo>
                        <a:pt x="702" y="771"/>
                        <a:pt x="822" y="546"/>
                        <a:pt x="792" y="337"/>
                      </a:cubicBezTo>
                      <a:cubicBezTo>
                        <a:pt x="753" y="129"/>
                        <a:pt x="589" y="0"/>
                        <a:pt x="409"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4"/>
                <p:cNvSpPr/>
                <p:nvPr/>
              </p:nvSpPr>
              <p:spPr>
                <a:xfrm>
                  <a:off x="8299600" y="8737575"/>
                  <a:ext cx="90400" cy="79925"/>
                </a:xfrm>
                <a:custGeom>
                  <a:avLst/>
                  <a:gdLst/>
                  <a:ahLst/>
                  <a:cxnLst/>
                  <a:rect l="l" t="t" r="r" b="b"/>
                  <a:pathLst>
                    <a:path w="3616" h="3197" extrusionOk="0">
                      <a:moveTo>
                        <a:pt x="1812" y="1"/>
                      </a:moveTo>
                      <a:cubicBezTo>
                        <a:pt x="1487" y="1"/>
                        <a:pt x="1160" y="100"/>
                        <a:pt x="882" y="307"/>
                      </a:cubicBezTo>
                      <a:cubicBezTo>
                        <a:pt x="165" y="815"/>
                        <a:pt x="1" y="1815"/>
                        <a:pt x="524" y="2532"/>
                      </a:cubicBezTo>
                      <a:cubicBezTo>
                        <a:pt x="830" y="2966"/>
                        <a:pt x="1317" y="3197"/>
                        <a:pt x="1813" y="3197"/>
                      </a:cubicBezTo>
                      <a:cubicBezTo>
                        <a:pt x="2137" y="3197"/>
                        <a:pt x="2465" y="3098"/>
                        <a:pt x="2749" y="2891"/>
                      </a:cubicBezTo>
                      <a:cubicBezTo>
                        <a:pt x="3451" y="2383"/>
                        <a:pt x="3615" y="1382"/>
                        <a:pt x="3108" y="665"/>
                      </a:cubicBezTo>
                      <a:cubicBezTo>
                        <a:pt x="2801" y="232"/>
                        <a:pt x="2308" y="1"/>
                        <a:pt x="181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182;p4"/>
                <p:cNvSpPr/>
                <p:nvPr/>
              </p:nvSpPr>
              <p:spPr>
                <a:xfrm>
                  <a:off x="8331100" y="8743225"/>
                  <a:ext cx="48025" cy="45800"/>
                </a:xfrm>
                <a:custGeom>
                  <a:avLst/>
                  <a:gdLst/>
                  <a:ahLst/>
                  <a:cxnLst/>
                  <a:rect l="l" t="t" r="r" b="b"/>
                  <a:pathLst>
                    <a:path w="1921" h="1832" extrusionOk="0">
                      <a:moveTo>
                        <a:pt x="528" y="1"/>
                      </a:moveTo>
                      <a:cubicBezTo>
                        <a:pt x="502" y="1"/>
                        <a:pt x="479" y="3"/>
                        <a:pt x="458" y="6"/>
                      </a:cubicBezTo>
                      <a:cubicBezTo>
                        <a:pt x="130" y="66"/>
                        <a:pt x="55" y="424"/>
                        <a:pt x="55" y="424"/>
                      </a:cubicBezTo>
                      <a:cubicBezTo>
                        <a:pt x="1" y="981"/>
                        <a:pt x="989" y="1831"/>
                        <a:pt x="1538" y="1831"/>
                      </a:cubicBezTo>
                      <a:cubicBezTo>
                        <a:pt x="1741" y="1831"/>
                        <a:pt x="1884" y="1715"/>
                        <a:pt x="1892" y="1425"/>
                      </a:cubicBezTo>
                      <a:cubicBezTo>
                        <a:pt x="1920" y="430"/>
                        <a:pt x="923" y="1"/>
                        <a:pt x="52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183;p4"/>
                <p:cNvSpPr/>
                <p:nvPr/>
              </p:nvSpPr>
              <p:spPr>
                <a:xfrm>
                  <a:off x="8328350" y="8769825"/>
                  <a:ext cx="22450" cy="19825"/>
                </a:xfrm>
                <a:custGeom>
                  <a:avLst/>
                  <a:gdLst/>
                  <a:ahLst/>
                  <a:cxnLst/>
                  <a:rect l="l" t="t" r="r" b="b"/>
                  <a:pathLst>
                    <a:path w="898" h="793" extrusionOk="0">
                      <a:moveTo>
                        <a:pt x="405" y="0"/>
                      </a:moveTo>
                      <a:cubicBezTo>
                        <a:pt x="336" y="0"/>
                        <a:pt x="268" y="20"/>
                        <a:pt x="210" y="62"/>
                      </a:cubicBezTo>
                      <a:cubicBezTo>
                        <a:pt x="46" y="182"/>
                        <a:pt x="1" y="436"/>
                        <a:pt x="135" y="615"/>
                      </a:cubicBezTo>
                      <a:cubicBezTo>
                        <a:pt x="220" y="727"/>
                        <a:pt x="351" y="793"/>
                        <a:pt x="478" y="793"/>
                      </a:cubicBezTo>
                      <a:cubicBezTo>
                        <a:pt x="553" y="793"/>
                        <a:pt x="627" y="770"/>
                        <a:pt x="688" y="720"/>
                      </a:cubicBezTo>
                      <a:cubicBezTo>
                        <a:pt x="852" y="600"/>
                        <a:pt x="897" y="346"/>
                        <a:pt x="763" y="182"/>
                      </a:cubicBezTo>
                      <a:cubicBezTo>
                        <a:pt x="666" y="66"/>
                        <a:pt x="532" y="0"/>
                        <a:pt x="40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184;p4"/>
                <p:cNvSpPr/>
                <p:nvPr/>
              </p:nvSpPr>
              <p:spPr>
                <a:xfrm>
                  <a:off x="8313050" y="8849050"/>
                  <a:ext cx="79550" cy="79550"/>
                </a:xfrm>
                <a:custGeom>
                  <a:avLst/>
                  <a:gdLst/>
                  <a:ahLst/>
                  <a:cxnLst/>
                  <a:rect l="l" t="t" r="r" b="b"/>
                  <a:pathLst>
                    <a:path w="3182" h="3182" extrusionOk="0">
                      <a:moveTo>
                        <a:pt x="1584" y="0"/>
                      </a:moveTo>
                      <a:cubicBezTo>
                        <a:pt x="703" y="0"/>
                        <a:pt x="1" y="702"/>
                        <a:pt x="1" y="1583"/>
                      </a:cubicBezTo>
                      <a:cubicBezTo>
                        <a:pt x="1" y="2464"/>
                        <a:pt x="703" y="3181"/>
                        <a:pt x="1584" y="3181"/>
                      </a:cubicBezTo>
                      <a:cubicBezTo>
                        <a:pt x="2465" y="3181"/>
                        <a:pt x="3182" y="2464"/>
                        <a:pt x="3182" y="1583"/>
                      </a:cubicBezTo>
                      <a:cubicBezTo>
                        <a:pt x="3182" y="702"/>
                        <a:pt x="2465" y="0"/>
                        <a:pt x="158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185;p4"/>
                <p:cNvSpPr/>
                <p:nvPr/>
              </p:nvSpPr>
              <p:spPr>
                <a:xfrm>
                  <a:off x="8339225" y="8854175"/>
                  <a:ext cx="47750" cy="46050"/>
                </a:xfrm>
                <a:custGeom>
                  <a:avLst/>
                  <a:gdLst/>
                  <a:ahLst/>
                  <a:cxnLst/>
                  <a:rect l="l" t="t" r="r" b="b"/>
                  <a:pathLst>
                    <a:path w="1910" h="1842" extrusionOk="0">
                      <a:moveTo>
                        <a:pt x="501" y="1"/>
                      </a:moveTo>
                      <a:cubicBezTo>
                        <a:pt x="482" y="1"/>
                        <a:pt x="463" y="2"/>
                        <a:pt x="447" y="4"/>
                      </a:cubicBezTo>
                      <a:cubicBezTo>
                        <a:pt x="119" y="64"/>
                        <a:pt x="44" y="437"/>
                        <a:pt x="44" y="437"/>
                      </a:cubicBezTo>
                      <a:cubicBezTo>
                        <a:pt x="0" y="984"/>
                        <a:pt x="996" y="1842"/>
                        <a:pt x="1539" y="1842"/>
                      </a:cubicBezTo>
                      <a:cubicBezTo>
                        <a:pt x="1739" y="1842"/>
                        <a:pt x="1877" y="1727"/>
                        <a:pt x="1881" y="1438"/>
                      </a:cubicBezTo>
                      <a:cubicBezTo>
                        <a:pt x="1909" y="416"/>
                        <a:pt x="885" y="1"/>
                        <a:pt x="50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186;p4"/>
                <p:cNvSpPr/>
                <p:nvPr/>
              </p:nvSpPr>
              <p:spPr>
                <a:xfrm>
                  <a:off x="8336200" y="8881075"/>
                  <a:ext cx="22425" cy="19950"/>
                </a:xfrm>
                <a:custGeom>
                  <a:avLst/>
                  <a:gdLst/>
                  <a:ahLst/>
                  <a:cxnLst/>
                  <a:rect l="l" t="t" r="r" b="b"/>
                  <a:pathLst>
                    <a:path w="897" h="798" extrusionOk="0">
                      <a:moveTo>
                        <a:pt x="435" y="1"/>
                      </a:moveTo>
                      <a:cubicBezTo>
                        <a:pt x="358" y="1"/>
                        <a:pt x="279" y="26"/>
                        <a:pt x="210" y="78"/>
                      </a:cubicBezTo>
                      <a:cubicBezTo>
                        <a:pt x="45" y="198"/>
                        <a:pt x="1" y="452"/>
                        <a:pt x="135" y="616"/>
                      </a:cubicBezTo>
                      <a:cubicBezTo>
                        <a:pt x="231" y="732"/>
                        <a:pt x="365" y="798"/>
                        <a:pt x="492" y="798"/>
                      </a:cubicBezTo>
                      <a:cubicBezTo>
                        <a:pt x="562" y="798"/>
                        <a:pt x="629" y="778"/>
                        <a:pt x="688" y="735"/>
                      </a:cubicBezTo>
                      <a:cubicBezTo>
                        <a:pt x="852" y="616"/>
                        <a:pt x="897" y="362"/>
                        <a:pt x="762" y="183"/>
                      </a:cubicBezTo>
                      <a:cubicBezTo>
                        <a:pt x="680" y="64"/>
                        <a:pt x="558" y="1"/>
                        <a:pt x="43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87" name="Google Shape;187;p4"/>
              <p:cNvGrpSpPr/>
              <p:nvPr/>
            </p:nvGrpSpPr>
            <p:grpSpPr>
              <a:xfrm rot="-256785" flipH="1">
                <a:off x="-998596" y="1619525"/>
                <a:ext cx="1615757" cy="1570554"/>
                <a:chOff x="4719681" y="3910588"/>
                <a:chExt cx="1477670" cy="1436330"/>
              </a:xfrm>
            </p:grpSpPr>
            <p:sp>
              <p:nvSpPr>
                <p:cNvPr id="188" name="Google Shape;188;p4"/>
                <p:cNvSpPr/>
                <p:nvPr/>
              </p:nvSpPr>
              <p:spPr>
                <a:xfrm>
                  <a:off x="4918697" y="3910588"/>
                  <a:ext cx="1278654" cy="1245050"/>
                </a:xfrm>
                <a:custGeom>
                  <a:avLst/>
                  <a:gdLst/>
                  <a:ahLst/>
                  <a:cxnLst/>
                  <a:rect l="l" t="t" r="r" b="b"/>
                  <a:pathLst>
                    <a:path w="24466" h="23823" extrusionOk="0">
                      <a:moveTo>
                        <a:pt x="1" y="0"/>
                      </a:moveTo>
                      <a:lnTo>
                        <a:pt x="1" y="15"/>
                      </a:lnTo>
                      <a:cubicBezTo>
                        <a:pt x="1" y="15"/>
                        <a:pt x="22" y="37"/>
                        <a:pt x="62" y="77"/>
                      </a:cubicBezTo>
                      <a:lnTo>
                        <a:pt x="62" y="77"/>
                      </a:lnTo>
                      <a:lnTo>
                        <a:pt x="1" y="0"/>
                      </a:lnTo>
                      <a:close/>
                      <a:moveTo>
                        <a:pt x="62" y="77"/>
                      </a:moveTo>
                      <a:lnTo>
                        <a:pt x="18969" y="23823"/>
                      </a:lnTo>
                      <a:lnTo>
                        <a:pt x="22136" y="20417"/>
                      </a:lnTo>
                      <a:lnTo>
                        <a:pt x="21240" y="20776"/>
                      </a:lnTo>
                      <a:lnTo>
                        <a:pt x="21240" y="20776"/>
                      </a:lnTo>
                      <a:lnTo>
                        <a:pt x="24077" y="17953"/>
                      </a:lnTo>
                      <a:lnTo>
                        <a:pt x="23331" y="18058"/>
                      </a:lnTo>
                      <a:lnTo>
                        <a:pt x="23331" y="18058"/>
                      </a:lnTo>
                      <a:lnTo>
                        <a:pt x="24466" y="16400"/>
                      </a:lnTo>
                      <a:lnTo>
                        <a:pt x="24466" y="16400"/>
                      </a:lnTo>
                      <a:cubicBezTo>
                        <a:pt x="24383" y="16414"/>
                        <a:pt x="24307" y="16420"/>
                        <a:pt x="24235" y="16420"/>
                      </a:cubicBezTo>
                      <a:cubicBezTo>
                        <a:pt x="22322" y="16420"/>
                        <a:pt x="24182" y="11591"/>
                        <a:pt x="24182" y="11590"/>
                      </a:cubicBezTo>
                      <a:lnTo>
                        <a:pt x="24182" y="11590"/>
                      </a:lnTo>
                      <a:cubicBezTo>
                        <a:pt x="24104" y="11626"/>
                        <a:pt x="24033" y="11642"/>
                        <a:pt x="23968" y="11642"/>
                      </a:cubicBezTo>
                      <a:cubicBezTo>
                        <a:pt x="23026" y="11642"/>
                        <a:pt x="23510" y="8097"/>
                        <a:pt x="23510" y="8095"/>
                      </a:cubicBezTo>
                      <a:lnTo>
                        <a:pt x="23510" y="8095"/>
                      </a:lnTo>
                      <a:cubicBezTo>
                        <a:pt x="22919" y="10108"/>
                        <a:pt x="21833" y="10302"/>
                        <a:pt x="21435" y="10302"/>
                      </a:cubicBezTo>
                      <a:cubicBezTo>
                        <a:pt x="21340" y="10302"/>
                        <a:pt x="21284" y="10291"/>
                        <a:pt x="21284" y="10291"/>
                      </a:cubicBezTo>
                      <a:cubicBezTo>
                        <a:pt x="21284" y="10291"/>
                        <a:pt x="20344" y="11977"/>
                        <a:pt x="19409" y="11977"/>
                      </a:cubicBezTo>
                      <a:cubicBezTo>
                        <a:pt x="19183" y="11977"/>
                        <a:pt x="18957" y="11879"/>
                        <a:pt x="18745" y="11635"/>
                      </a:cubicBezTo>
                      <a:cubicBezTo>
                        <a:pt x="17640" y="10396"/>
                        <a:pt x="20448" y="8663"/>
                        <a:pt x="20448" y="8663"/>
                      </a:cubicBezTo>
                      <a:lnTo>
                        <a:pt x="20448" y="8663"/>
                      </a:lnTo>
                      <a:cubicBezTo>
                        <a:pt x="20433" y="8664"/>
                        <a:pt x="20418" y="8664"/>
                        <a:pt x="20404" y="8664"/>
                      </a:cubicBezTo>
                      <a:cubicBezTo>
                        <a:pt x="19350" y="8664"/>
                        <a:pt x="21284" y="5960"/>
                        <a:pt x="21284" y="5960"/>
                      </a:cubicBezTo>
                      <a:lnTo>
                        <a:pt x="21284" y="5960"/>
                      </a:lnTo>
                      <a:cubicBezTo>
                        <a:pt x="21199" y="5985"/>
                        <a:pt x="21125" y="5996"/>
                        <a:pt x="21060" y="5996"/>
                      </a:cubicBezTo>
                      <a:cubicBezTo>
                        <a:pt x="20045" y="5996"/>
                        <a:pt x="21404" y="3107"/>
                        <a:pt x="21404" y="3107"/>
                      </a:cubicBezTo>
                      <a:lnTo>
                        <a:pt x="21404" y="3107"/>
                      </a:lnTo>
                      <a:cubicBezTo>
                        <a:pt x="21404" y="3107"/>
                        <a:pt x="21162" y="3309"/>
                        <a:pt x="20897" y="3309"/>
                      </a:cubicBezTo>
                      <a:cubicBezTo>
                        <a:pt x="20801" y="3309"/>
                        <a:pt x="20703" y="3283"/>
                        <a:pt x="20612" y="3211"/>
                      </a:cubicBezTo>
                      <a:cubicBezTo>
                        <a:pt x="20299" y="2928"/>
                        <a:pt x="20791" y="867"/>
                        <a:pt x="20792" y="866"/>
                      </a:cubicBezTo>
                      <a:lnTo>
                        <a:pt x="20792" y="866"/>
                      </a:lnTo>
                      <a:cubicBezTo>
                        <a:pt x="20791" y="867"/>
                        <a:pt x="19940" y="2181"/>
                        <a:pt x="18969" y="2569"/>
                      </a:cubicBezTo>
                      <a:cubicBezTo>
                        <a:pt x="18858" y="2615"/>
                        <a:pt x="18769" y="2636"/>
                        <a:pt x="18700" y="2636"/>
                      </a:cubicBezTo>
                      <a:cubicBezTo>
                        <a:pt x="18164" y="2636"/>
                        <a:pt x="18760" y="1419"/>
                        <a:pt x="18760" y="1419"/>
                      </a:cubicBezTo>
                      <a:lnTo>
                        <a:pt x="18760" y="1419"/>
                      </a:lnTo>
                      <a:cubicBezTo>
                        <a:pt x="18760" y="1419"/>
                        <a:pt x="18118" y="2121"/>
                        <a:pt x="17789" y="2300"/>
                      </a:cubicBezTo>
                      <a:cubicBezTo>
                        <a:pt x="17746" y="2324"/>
                        <a:pt x="17708" y="2335"/>
                        <a:pt x="17675" y="2335"/>
                      </a:cubicBezTo>
                      <a:cubicBezTo>
                        <a:pt x="17465" y="2335"/>
                        <a:pt x="17476" y="1897"/>
                        <a:pt x="17476" y="1897"/>
                      </a:cubicBezTo>
                      <a:lnTo>
                        <a:pt x="17476" y="1897"/>
                      </a:lnTo>
                      <a:cubicBezTo>
                        <a:pt x="17476" y="1897"/>
                        <a:pt x="16744" y="3495"/>
                        <a:pt x="16117" y="4033"/>
                      </a:cubicBezTo>
                      <a:cubicBezTo>
                        <a:pt x="15967" y="4157"/>
                        <a:pt x="15841" y="4205"/>
                        <a:pt x="15735" y="4205"/>
                      </a:cubicBezTo>
                      <a:cubicBezTo>
                        <a:pt x="15395" y="4205"/>
                        <a:pt x="15265" y="3719"/>
                        <a:pt x="15265" y="3719"/>
                      </a:cubicBezTo>
                      <a:cubicBezTo>
                        <a:pt x="15265" y="3719"/>
                        <a:pt x="14892" y="7319"/>
                        <a:pt x="14638" y="7408"/>
                      </a:cubicBezTo>
                      <a:cubicBezTo>
                        <a:pt x="14630" y="7411"/>
                        <a:pt x="14621" y="7412"/>
                        <a:pt x="14613" y="7412"/>
                      </a:cubicBezTo>
                      <a:cubicBezTo>
                        <a:pt x="14367" y="7412"/>
                        <a:pt x="14115" y="6393"/>
                        <a:pt x="14115" y="6393"/>
                      </a:cubicBezTo>
                      <a:lnTo>
                        <a:pt x="14115" y="6393"/>
                      </a:lnTo>
                      <a:cubicBezTo>
                        <a:pt x="14115" y="6394"/>
                        <a:pt x="14305" y="9930"/>
                        <a:pt x="12993" y="9930"/>
                      </a:cubicBezTo>
                      <a:cubicBezTo>
                        <a:pt x="12928" y="9930"/>
                        <a:pt x="12859" y="9921"/>
                        <a:pt x="12786" y="9903"/>
                      </a:cubicBezTo>
                      <a:cubicBezTo>
                        <a:pt x="11233" y="9514"/>
                        <a:pt x="12890" y="6572"/>
                        <a:pt x="12890" y="6572"/>
                      </a:cubicBezTo>
                      <a:lnTo>
                        <a:pt x="12890" y="6572"/>
                      </a:lnTo>
                      <a:cubicBezTo>
                        <a:pt x="12762" y="6617"/>
                        <a:pt x="12660" y="6637"/>
                        <a:pt x="12582" y="6637"/>
                      </a:cubicBezTo>
                      <a:cubicBezTo>
                        <a:pt x="11771" y="6637"/>
                        <a:pt x="13473" y="4451"/>
                        <a:pt x="13473" y="4451"/>
                      </a:cubicBezTo>
                      <a:lnTo>
                        <a:pt x="13473" y="4451"/>
                      </a:lnTo>
                      <a:cubicBezTo>
                        <a:pt x="13222" y="4601"/>
                        <a:pt x="13020" y="4663"/>
                        <a:pt x="12858" y="4663"/>
                      </a:cubicBezTo>
                      <a:cubicBezTo>
                        <a:pt x="12031" y="4663"/>
                        <a:pt x="12218" y="3047"/>
                        <a:pt x="12218" y="3047"/>
                      </a:cubicBezTo>
                      <a:lnTo>
                        <a:pt x="12218" y="3047"/>
                      </a:lnTo>
                      <a:cubicBezTo>
                        <a:pt x="12128" y="3072"/>
                        <a:pt x="12044" y="3083"/>
                        <a:pt x="11965" y="3083"/>
                      </a:cubicBezTo>
                      <a:cubicBezTo>
                        <a:pt x="10858" y="3083"/>
                        <a:pt x="10949" y="778"/>
                        <a:pt x="10949" y="777"/>
                      </a:cubicBezTo>
                      <a:lnTo>
                        <a:pt x="10949" y="777"/>
                      </a:lnTo>
                      <a:cubicBezTo>
                        <a:pt x="10949" y="777"/>
                        <a:pt x="10769" y="1569"/>
                        <a:pt x="10172" y="2494"/>
                      </a:cubicBezTo>
                      <a:cubicBezTo>
                        <a:pt x="9918" y="2872"/>
                        <a:pt x="9672" y="2983"/>
                        <a:pt x="9470" y="2983"/>
                      </a:cubicBezTo>
                      <a:cubicBezTo>
                        <a:pt x="9187" y="2983"/>
                        <a:pt x="8992" y="2763"/>
                        <a:pt x="8992" y="2763"/>
                      </a:cubicBezTo>
                      <a:lnTo>
                        <a:pt x="8992" y="2763"/>
                      </a:lnTo>
                      <a:cubicBezTo>
                        <a:pt x="8992" y="2764"/>
                        <a:pt x="9291" y="3376"/>
                        <a:pt x="9127" y="4272"/>
                      </a:cubicBezTo>
                      <a:cubicBezTo>
                        <a:pt x="9056" y="4630"/>
                        <a:pt x="8861" y="4739"/>
                        <a:pt x="8650" y="4739"/>
                      </a:cubicBezTo>
                      <a:cubicBezTo>
                        <a:pt x="8324" y="4739"/>
                        <a:pt x="7962" y="4481"/>
                        <a:pt x="7962" y="4481"/>
                      </a:cubicBezTo>
                      <a:lnTo>
                        <a:pt x="7962" y="4481"/>
                      </a:lnTo>
                      <a:cubicBezTo>
                        <a:pt x="7962" y="4481"/>
                        <a:pt x="9664" y="7408"/>
                        <a:pt x="7992" y="7588"/>
                      </a:cubicBezTo>
                      <a:cubicBezTo>
                        <a:pt x="7959" y="7591"/>
                        <a:pt x="7928" y="7593"/>
                        <a:pt x="7898" y="7593"/>
                      </a:cubicBezTo>
                      <a:cubicBezTo>
                        <a:pt x="6356" y="7593"/>
                        <a:pt x="7304" y="3183"/>
                        <a:pt x="7304" y="3181"/>
                      </a:cubicBezTo>
                      <a:lnTo>
                        <a:pt x="7304" y="3181"/>
                      </a:lnTo>
                      <a:cubicBezTo>
                        <a:pt x="7304" y="3182"/>
                        <a:pt x="6973" y="3977"/>
                        <a:pt x="6438" y="3977"/>
                      </a:cubicBezTo>
                      <a:cubicBezTo>
                        <a:pt x="6302" y="3977"/>
                        <a:pt x="6151" y="3925"/>
                        <a:pt x="5990" y="3794"/>
                      </a:cubicBezTo>
                      <a:cubicBezTo>
                        <a:pt x="5214" y="3167"/>
                        <a:pt x="5437" y="1674"/>
                        <a:pt x="5438" y="1673"/>
                      </a:cubicBezTo>
                      <a:lnTo>
                        <a:pt x="5438" y="1673"/>
                      </a:lnTo>
                      <a:cubicBezTo>
                        <a:pt x="5255" y="2325"/>
                        <a:pt x="5004" y="2560"/>
                        <a:pt x="4737" y="2560"/>
                      </a:cubicBezTo>
                      <a:cubicBezTo>
                        <a:pt x="4044" y="2560"/>
                        <a:pt x="3242" y="971"/>
                        <a:pt x="3242" y="971"/>
                      </a:cubicBezTo>
                      <a:cubicBezTo>
                        <a:pt x="3066" y="1370"/>
                        <a:pt x="2786" y="1522"/>
                        <a:pt x="2464" y="1522"/>
                      </a:cubicBezTo>
                      <a:cubicBezTo>
                        <a:pt x="1571" y="1522"/>
                        <a:pt x="346" y="359"/>
                        <a:pt x="62" y="77"/>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89" name="Google Shape;189;p4"/>
                <p:cNvGrpSpPr/>
                <p:nvPr/>
              </p:nvGrpSpPr>
              <p:grpSpPr>
                <a:xfrm>
                  <a:off x="4719681" y="3910588"/>
                  <a:ext cx="1387935" cy="1436330"/>
                  <a:chOff x="4719681" y="3910588"/>
                  <a:chExt cx="1387935" cy="1436330"/>
                </a:xfrm>
              </p:grpSpPr>
              <p:sp>
                <p:nvSpPr>
                  <p:cNvPr id="190" name="Google Shape;190;p4"/>
                  <p:cNvSpPr/>
                  <p:nvPr/>
                </p:nvSpPr>
                <p:spPr>
                  <a:xfrm>
                    <a:off x="4719681" y="3910588"/>
                    <a:ext cx="1189651" cy="1436330"/>
                  </a:xfrm>
                  <a:custGeom>
                    <a:avLst/>
                    <a:gdLst/>
                    <a:ahLst/>
                    <a:cxnLst/>
                    <a:rect l="l" t="t" r="r" b="b"/>
                    <a:pathLst>
                      <a:path w="22763" h="27483" extrusionOk="0">
                        <a:moveTo>
                          <a:pt x="3809" y="0"/>
                        </a:moveTo>
                        <a:lnTo>
                          <a:pt x="3809" y="15"/>
                        </a:lnTo>
                        <a:cubicBezTo>
                          <a:pt x="3809" y="15"/>
                          <a:pt x="5795" y="3047"/>
                          <a:pt x="4033" y="3376"/>
                        </a:cubicBezTo>
                        <a:cubicBezTo>
                          <a:pt x="4033" y="3376"/>
                          <a:pt x="6647" y="5571"/>
                          <a:pt x="4212" y="5676"/>
                        </a:cubicBezTo>
                        <a:cubicBezTo>
                          <a:pt x="4212" y="5676"/>
                          <a:pt x="5721" y="5795"/>
                          <a:pt x="6169" y="6706"/>
                        </a:cubicBezTo>
                        <a:cubicBezTo>
                          <a:pt x="6617" y="7602"/>
                          <a:pt x="5258" y="7856"/>
                          <a:pt x="5258" y="7856"/>
                        </a:cubicBezTo>
                        <a:cubicBezTo>
                          <a:pt x="5258" y="7856"/>
                          <a:pt x="9947" y="7916"/>
                          <a:pt x="9410" y="9499"/>
                        </a:cubicBezTo>
                        <a:cubicBezTo>
                          <a:pt x="9269" y="9907"/>
                          <a:pt x="9003" y="10059"/>
                          <a:pt x="8685" y="10059"/>
                        </a:cubicBezTo>
                        <a:cubicBezTo>
                          <a:pt x="7759" y="10059"/>
                          <a:pt x="6393" y="8768"/>
                          <a:pt x="6393" y="8767"/>
                        </a:cubicBezTo>
                        <a:lnTo>
                          <a:pt x="6393" y="8767"/>
                        </a:lnTo>
                        <a:cubicBezTo>
                          <a:pt x="6393" y="8768"/>
                          <a:pt x="6824" y="9859"/>
                          <a:pt x="5981" y="9859"/>
                        </a:cubicBezTo>
                        <a:cubicBezTo>
                          <a:pt x="5965" y="9859"/>
                          <a:pt x="5947" y="9859"/>
                          <a:pt x="5930" y="9858"/>
                        </a:cubicBezTo>
                        <a:cubicBezTo>
                          <a:pt x="5019" y="9813"/>
                          <a:pt x="4496" y="9395"/>
                          <a:pt x="4496" y="9395"/>
                        </a:cubicBezTo>
                        <a:lnTo>
                          <a:pt x="4496" y="9395"/>
                        </a:lnTo>
                        <a:cubicBezTo>
                          <a:pt x="4496" y="9395"/>
                          <a:pt x="5004" y="10082"/>
                          <a:pt x="3973" y="10470"/>
                        </a:cubicBezTo>
                        <a:cubicBezTo>
                          <a:pt x="2943" y="10858"/>
                          <a:pt x="2121" y="10858"/>
                          <a:pt x="2121" y="10858"/>
                        </a:cubicBezTo>
                        <a:cubicBezTo>
                          <a:pt x="2121" y="10858"/>
                          <a:pt x="4720" y="11366"/>
                          <a:pt x="4048" y="12606"/>
                        </a:cubicBezTo>
                        <a:cubicBezTo>
                          <a:pt x="4048" y="12606"/>
                          <a:pt x="6393" y="12845"/>
                          <a:pt x="5153" y="14144"/>
                        </a:cubicBezTo>
                        <a:cubicBezTo>
                          <a:pt x="5153" y="14144"/>
                          <a:pt x="6546" y="13493"/>
                          <a:pt x="7175" y="13493"/>
                        </a:cubicBezTo>
                        <a:cubicBezTo>
                          <a:pt x="7469" y="13493"/>
                          <a:pt x="7596" y="13636"/>
                          <a:pt x="7334" y="14055"/>
                        </a:cubicBezTo>
                        <a:cubicBezTo>
                          <a:pt x="7334" y="14055"/>
                          <a:pt x="8304" y="13769"/>
                          <a:pt x="9187" y="13769"/>
                        </a:cubicBezTo>
                        <a:cubicBezTo>
                          <a:pt x="9919" y="13769"/>
                          <a:pt x="10591" y="13965"/>
                          <a:pt x="10605" y="14682"/>
                        </a:cubicBezTo>
                        <a:cubicBezTo>
                          <a:pt x="10611" y="15358"/>
                          <a:pt x="9947" y="15553"/>
                          <a:pt x="9178" y="15553"/>
                        </a:cubicBezTo>
                        <a:cubicBezTo>
                          <a:pt x="8129" y="15553"/>
                          <a:pt x="6886" y="15190"/>
                          <a:pt x="6886" y="15190"/>
                        </a:cubicBezTo>
                        <a:lnTo>
                          <a:pt x="6886" y="15190"/>
                        </a:lnTo>
                        <a:cubicBezTo>
                          <a:pt x="6886" y="15190"/>
                          <a:pt x="7901" y="15683"/>
                          <a:pt x="7737" y="15922"/>
                        </a:cubicBezTo>
                        <a:cubicBezTo>
                          <a:pt x="7709" y="15971"/>
                          <a:pt x="7536" y="15990"/>
                          <a:pt x="7278" y="15990"/>
                        </a:cubicBezTo>
                        <a:cubicBezTo>
                          <a:pt x="6277" y="15990"/>
                          <a:pt x="4003" y="15698"/>
                          <a:pt x="4003" y="15698"/>
                        </a:cubicBezTo>
                        <a:lnTo>
                          <a:pt x="4003" y="15698"/>
                        </a:lnTo>
                        <a:cubicBezTo>
                          <a:pt x="4003" y="15698"/>
                          <a:pt x="4780" y="16116"/>
                          <a:pt x="4123" y="16594"/>
                        </a:cubicBezTo>
                        <a:cubicBezTo>
                          <a:pt x="3465" y="17087"/>
                          <a:pt x="1748" y="17445"/>
                          <a:pt x="1748" y="17445"/>
                        </a:cubicBezTo>
                        <a:cubicBezTo>
                          <a:pt x="1748" y="17445"/>
                          <a:pt x="2315" y="17550"/>
                          <a:pt x="2061" y="17848"/>
                        </a:cubicBezTo>
                        <a:cubicBezTo>
                          <a:pt x="1822" y="18132"/>
                          <a:pt x="986" y="18595"/>
                          <a:pt x="986" y="18595"/>
                        </a:cubicBezTo>
                        <a:cubicBezTo>
                          <a:pt x="986" y="18595"/>
                          <a:pt x="1370" y="18507"/>
                          <a:pt x="1705" y="18507"/>
                        </a:cubicBezTo>
                        <a:cubicBezTo>
                          <a:pt x="2073" y="18507"/>
                          <a:pt x="2382" y="18613"/>
                          <a:pt x="2061" y="19058"/>
                        </a:cubicBezTo>
                        <a:cubicBezTo>
                          <a:pt x="1464" y="19910"/>
                          <a:pt x="0" y="20432"/>
                          <a:pt x="0" y="20432"/>
                        </a:cubicBezTo>
                        <a:cubicBezTo>
                          <a:pt x="0" y="20432"/>
                          <a:pt x="11" y="20432"/>
                          <a:pt x="31" y="20432"/>
                        </a:cubicBezTo>
                        <a:cubicBezTo>
                          <a:pt x="293" y="20432"/>
                          <a:pt x="2135" y="20445"/>
                          <a:pt x="2315" y="20806"/>
                        </a:cubicBezTo>
                        <a:cubicBezTo>
                          <a:pt x="2509" y="21194"/>
                          <a:pt x="2032" y="21553"/>
                          <a:pt x="2032" y="21553"/>
                        </a:cubicBezTo>
                        <a:cubicBezTo>
                          <a:pt x="2032" y="21553"/>
                          <a:pt x="3088" y="21320"/>
                          <a:pt x="3926" y="21320"/>
                        </a:cubicBezTo>
                        <a:cubicBezTo>
                          <a:pt x="4619" y="21320"/>
                          <a:pt x="5164" y="21479"/>
                          <a:pt x="4839" y="22060"/>
                        </a:cubicBezTo>
                        <a:cubicBezTo>
                          <a:pt x="4839" y="22060"/>
                          <a:pt x="6406" y="21404"/>
                          <a:pt x="7215" y="21404"/>
                        </a:cubicBezTo>
                        <a:cubicBezTo>
                          <a:pt x="7550" y="21404"/>
                          <a:pt x="7754" y="21517"/>
                          <a:pt x="7662" y="21836"/>
                        </a:cubicBezTo>
                        <a:cubicBezTo>
                          <a:pt x="7662" y="21836"/>
                          <a:pt x="9061" y="20420"/>
                          <a:pt x="10140" y="20420"/>
                        </a:cubicBezTo>
                        <a:cubicBezTo>
                          <a:pt x="10449" y="20420"/>
                          <a:pt x="10732" y="20536"/>
                          <a:pt x="10948" y="20836"/>
                        </a:cubicBezTo>
                        <a:cubicBezTo>
                          <a:pt x="11934" y="22180"/>
                          <a:pt x="9066" y="23001"/>
                          <a:pt x="9066" y="23001"/>
                        </a:cubicBezTo>
                        <a:cubicBezTo>
                          <a:pt x="9066" y="23001"/>
                          <a:pt x="9036" y="24525"/>
                          <a:pt x="6438" y="24704"/>
                        </a:cubicBezTo>
                        <a:cubicBezTo>
                          <a:pt x="6438" y="24704"/>
                          <a:pt x="10515" y="25062"/>
                          <a:pt x="9679" y="26138"/>
                        </a:cubicBezTo>
                        <a:cubicBezTo>
                          <a:pt x="9679" y="26138"/>
                          <a:pt x="10691" y="25990"/>
                          <a:pt x="11778" y="25990"/>
                        </a:cubicBezTo>
                        <a:cubicBezTo>
                          <a:pt x="13228" y="25990"/>
                          <a:pt x="14812" y="26253"/>
                          <a:pt x="14309" y="27482"/>
                        </a:cubicBezTo>
                        <a:lnTo>
                          <a:pt x="16176" y="26750"/>
                        </a:lnTo>
                        <a:lnTo>
                          <a:pt x="15907" y="27452"/>
                        </a:lnTo>
                        <a:lnTo>
                          <a:pt x="19297" y="25301"/>
                        </a:lnTo>
                        <a:lnTo>
                          <a:pt x="18745" y="26093"/>
                        </a:lnTo>
                        <a:lnTo>
                          <a:pt x="22762" y="23778"/>
                        </a:lnTo>
                        <a:lnTo>
                          <a:pt x="38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191;p4"/>
                  <p:cNvSpPr/>
                  <p:nvPr/>
                </p:nvSpPr>
                <p:spPr>
                  <a:xfrm>
                    <a:off x="5010835" y="4029223"/>
                    <a:ext cx="976525" cy="1220904"/>
                  </a:xfrm>
                  <a:custGeom>
                    <a:avLst/>
                    <a:gdLst/>
                    <a:ahLst/>
                    <a:cxnLst/>
                    <a:rect l="l" t="t" r="r" b="b"/>
                    <a:pathLst>
                      <a:path w="18685" h="23361" extrusionOk="0">
                        <a:moveTo>
                          <a:pt x="180" y="0"/>
                        </a:moveTo>
                        <a:lnTo>
                          <a:pt x="0" y="135"/>
                        </a:lnTo>
                        <a:lnTo>
                          <a:pt x="18297" y="23360"/>
                        </a:lnTo>
                        <a:lnTo>
                          <a:pt x="18685" y="23031"/>
                        </a:lnTo>
                        <a:lnTo>
                          <a:pt x="18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2" name="Google Shape;192;p4"/>
                  <p:cNvGrpSpPr/>
                  <p:nvPr/>
                </p:nvGrpSpPr>
                <p:grpSpPr>
                  <a:xfrm>
                    <a:off x="4959305" y="4124446"/>
                    <a:ext cx="1148312" cy="1094429"/>
                    <a:chOff x="11860675" y="4981025"/>
                    <a:chExt cx="549300" cy="523525"/>
                  </a:xfrm>
                </p:grpSpPr>
                <p:sp>
                  <p:nvSpPr>
                    <p:cNvPr id="193" name="Google Shape;193;p4"/>
                    <p:cNvSpPr/>
                    <p:nvPr/>
                  </p:nvSpPr>
                  <p:spPr>
                    <a:xfrm>
                      <a:off x="12020875" y="5415275"/>
                      <a:ext cx="258025" cy="83300"/>
                    </a:xfrm>
                    <a:custGeom>
                      <a:avLst/>
                      <a:gdLst/>
                      <a:ahLst/>
                      <a:cxnLst/>
                      <a:rect l="l" t="t" r="r" b="b"/>
                      <a:pathLst>
                        <a:path w="10321" h="3332" fill="none" extrusionOk="0">
                          <a:moveTo>
                            <a:pt x="10321" y="509"/>
                          </a:moveTo>
                          <a:cubicBezTo>
                            <a:pt x="10321" y="509"/>
                            <a:pt x="3988" y="1"/>
                            <a:pt x="0" y="333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4" name="Google Shape;194;p4"/>
                    <p:cNvSpPr/>
                    <p:nvPr/>
                  </p:nvSpPr>
                  <p:spPr>
                    <a:xfrm>
                      <a:off x="12023100" y="5439550"/>
                      <a:ext cx="123625" cy="9375"/>
                    </a:xfrm>
                    <a:custGeom>
                      <a:avLst/>
                      <a:gdLst/>
                      <a:ahLst/>
                      <a:cxnLst/>
                      <a:rect l="l" t="t" r="r" b="b"/>
                      <a:pathLst>
                        <a:path w="4945" h="375" fill="none" extrusionOk="0">
                          <a:moveTo>
                            <a:pt x="1" y="374"/>
                          </a:moveTo>
                          <a:lnTo>
                            <a:pt x="4944"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5" name="Google Shape;195;p4"/>
                    <p:cNvSpPr/>
                    <p:nvPr/>
                  </p:nvSpPr>
                  <p:spPr>
                    <a:xfrm>
                      <a:off x="12052975" y="5451500"/>
                      <a:ext cx="53050" cy="53050"/>
                    </a:xfrm>
                    <a:custGeom>
                      <a:avLst/>
                      <a:gdLst/>
                      <a:ahLst/>
                      <a:cxnLst/>
                      <a:rect l="l" t="t" r="r" b="b"/>
                      <a:pathLst>
                        <a:path w="2122" h="2122" fill="none" extrusionOk="0">
                          <a:moveTo>
                            <a:pt x="2121" y="1"/>
                          </a:moveTo>
                          <a:cubicBezTo>
                            <a:pt x="2121" y="1"/>
                            <a:pt x="314" y="1479"/>
                            <a:pt x="0" y="212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p4"/>
                    <p:cNvSpPr/>
                    <p:nvPr/>
                  </p:nvSpPr>
                  <p:spPr>
                    <a:xfrm>
                      <a:off x="12066800" y="5366375"/>
                      <a:ext cx="166550" cy="4500"/>
                    </a:xfrm>
                    <a:custGeom>
                      <a:avLst/>
                      <a:gdLst/>
                      <a:ahLst/>
                      <a:cxnLst/>
                      <a:rect l="l" t="t" r="r" b="b"/>
                      <a:pathLst>
                        <a:path w="6662" h="180" fill="none" extrusionOk="0">
                          <a:moveTo>
                            <a:pt x="0" y="0"/>
                          </a:moveTo>
                          <a:lnTo>
                            <a:pt x="6661" y="18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4"/>
                    <p:cNvSpPr/>
                    <p:nvPr/>
                  </p:nvSpPr>
                  <p:spPr>
                    <a:xfrm>
                      <a:off x="11860675" y="5278625"/>
                      <a:ext cx="342425" cy="83300"/>
                    </a:xfrm>
                    <a:custGeom>
                      <a:avLst/>
                      <a:gdLst/>
                      <a:ahLst/>
                      <a:cxnLst/>
                      <a:rect l="l" t="t" r="r" b="b"/>
                      <a:pathLst>
                        <a:path w="13697" h="3332" fill="none" extrusionOk="0">
                          <a:moveTo>
                            <a:pt x="13697" y="2181"/>
                          </a:moveTo>
                          <a:cubicBezTo>
                            <a:pt x="13697" y="2181"/>
                            <a:pt x="6348" y="0"/>
                            <a:pt x="1" y="333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198;p4"/>
                    <p:cNvSpPr/>
                    <p:nvPr/>
                  </p:nvSpPr>
                  <p:spPr>
                    <a:xfrm>
                      <a:off x="11868525" y="5317450"/>
                      <a:ext cx="87400" cy="14600"/>
                    </a:xfrm>
                    <a:custGeom>
                      <a:avLst/>
                      <a:gdLst/>
                      <a:ahLst/>
                      <a:cxnLst/>
                      <a:rect l="l" t="t" r="r" b="b"/>
                      <a:pathLst>
                        <a:path w="3496" h="584" fill="none" extrusionOk="0">
                          <a:moveTo>
                            <a:pt x="0" y="1"/>
                          </a:moveTo>
                          <a:cubicBezTo>
                            <a:pt x="0" y="1"/>
                            <a:pt x="2494" y="583"/>
                            <a:pt x="3495" y="389"/>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199;p4"/>
                    <p:cNvSpPr/>
                    <p:nvPr/>
                  </p:nvSpPr>
                  <p:spPr>
                    <a:xfrm>
                      <a:off x="11953275" y="5315600"/>
                      <a:ext cx="107200" cy="58275"/>
                    </a:xfrm>
                    <a:custGeom>
                      <a:avLst/>
                      <a:gdLst/>
                      <a:ahLst/>
                      <a:cxnLst/>
                      <a:rect l="l" t="t" r="r" b="b"/>
                      <a:pathLst>
                        <a:path w="4288" h="2331" fill="none" extrusionOk="0">
                          <a:moveTo>
                            <a:pt x="1" y="2330"/>
                          </a:moveTo>
                          <a:cubicBezTo>
                            <a:pt x="1" y="2330"/>
                            <a:pt x="2346" y="553"/>
                            <a:pt x="4287"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200;p4"/>
                    <p:cNvSpPr/>
                    <p:nvPr/>
                  </p:nvSpPr>
                  <p:spPr>
                    <a:xfrm>
                      <a:off x="12062300" y="5245775"/>
                      <a:ext cx="84800" cy="17200"/>
                    </a:xfrm>
                    <a:custGeom>
                      <a:avLst/>
                      <a:gdLst/>
                      <a:ahLst/>
                      <a:cxnLst/>
                      <a:rect l="l" t="t" r="r" b="b"/>
                      <a:pathLst>
                        <a:path w="3392" h="688" fill="none" extrusionOk="0">
                          <a:moveTo>
                            <a:pt x="1" y="0"/>
                          </a:moveTo>
                          <a:lnTo>
                            <a:pt x="3391" y="68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201;p4"/>
                    <p:cNvSpPr/>
                    <p:nvPr/>
                  </p:nvSpPr>
                  <p:spPr>
                    <a:xfrm>
                      <a:off x="12057825" y="5253600"/>
                      <a:ext cx="42975" cy="20200"/>
                    </a:xfrm>
                    <a:custGeom>
                      <a:avLst/>
                      <a:gdLst/>
                      <a:ahLst/>
                      <a:cxnLst/>
                      <a:rect l="l" t="t" r="r" b="b"/>
                      <a:pathLst>
                        <a:path w="1719" h="808" fill="none" extrusionOk="0">
                          <a:moveTo>
                            <a:pt x="1" y="807"/>
                          </a:moveTo>
                          <a:lnTo>
                            <a:pt x="1718"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202;p4"/>
                    <p:cNvSpPr/>
                    <p:nvPr/>
                  </p:nvSpPr>
                  <p:spPr>
                    <a:xfrm>
                      <a:off x="11897650" y="5153900"/>
                      <a:ext cx="191200" cy="35875"/>
                    </a:xfrm>
                    <a:custGeom>
                      <a:avLst/>
                      <a:gdLst/>
                      <a:ahLst/>
                      <a:cxnLst/>
                      <a:rect l="l" t="t" r="r" b="b"/>
                      <a:pathLst>
                        <a:path w="7648" h="1435" fill="none" extrusionOk="0">
                          <a:moveTo>
                            <a:pt x="0" y="1"/>
                          </a:moveTo>
                          <a:lnTo>
                            <a:pt x="7647" y="14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203;p4"/>
                    <p:cNvSpPr/>
                    <p:nvPr/>
                  </p:nvSpPr>
                  <p:spPr>
                    <a:xfrm>
                      <a:off x="11938725" y="5170700"/>
                      <a:ext cx="49300" cy="17225"/>
                    </a:xfrm>
                    <a:custGeom>
                      <a:avLst/>
                      <a:gdLst/>
                      <a:ahLst/>
                      <a:cxnLst/>
                      <a:rect l="l" t="t" r="r" b="b"/>
                      <a:pathLst>
                        <a:path w="1972" h="689" fill="none" extrusionOk="0">
                          <a:moveTo>
                            <a:pt x="0" y="688"/>
                          </a:moveTo>
                          <a:lnTo>
                            <a:pt x="1972"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204;p4"/>
                    <p:cNvSpPr/>
                    <p:nvPr/>
                  </p:nvSpPr>
                  <p:spPr>
                    <a:xfrm>
                      <a:off x="11896900" y="5001575"/>
                      <a:ext cx="72075" cy="38100"/>
                    </a:xfrm>
                    <a:custGeom>
                      <a:avLst/>
                      <a:gdLst/>
                      <a:ahLst/>
                      <a:cxnLst/>
                      <a:rect l="l" t="t" r="r" b="b"/>
                      <a:pathLst>
                        <a:path w="2883" h="1524" fill="none" extrusionOk="0">
                          <a:moveTo>
                            <a:pt x="0" y="0"/>
                          </a:moveTo>
                          <a:lnTo>
                            <a:pt x="2883" y="1523"/>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205;p4"/>
                    <p:cNvSpPr/>
                    <p:nvPr/>
                  </p:nvSpPr>
                  <p:spPr>
                    <a:xfrm>
                      <a:off x="11909600" y="5019850"/>
                      <a:ext cx="21300" cy="4900"/>
                    </a:xfrm>
                    <a:custGeom>
                      <a:avLst/>
                      <a:gdLst/>
                      <a:ahLst/>
                      <a:cxnLst/>
                      <a:rect l="l" t="t" r="r" b="b"/>
                      <a:pathLst>
                        <a:path w="852" h="196" fill="none" extrusionOk="0">
                          <a:moveTo>
                            <a:pt x="0" y="195"/>
                          </a:moveTo>
                          <a:lnTo>
                            <a:pt x="85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206;p4"/>
                    <p:cNvSpPr/>
                    <p:nvPr/>
                  </p:nvSpPr>
                  <p:spPr>
                    <a:xfrm>
                      <a:off x="12283725" y="5195350"/>
                      <a:ext cx="126250" cy="236025"/>
                    </a:xfrm>
                    <a:custGeom>
                      <a:avLst/>
                      <a:gdLst/>
                      <a:ahLst/>
                      <a:cxnLst/>
                      <a:rect l="l" t="t" r="r" b="b"/>
                      <a:pathLst>
                        <a:path w="5050" h="9441" fill="none" extrusionOk="0">
                          <a:moveTo>
                            <a:pt x="1" y="9440"/>
                          </a:moveTo>
                          <a:cubicBezTo>
                            <a:pt x="1" y="9440"/>
                            <a:pt x="912" y="3152"/>
                            <a:pt x="504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4"/>
                    <p:cNvSpPr/>
                    <p:nvPr/>
                  </p:nvSpPr>
                  <p:spPr>
                    <a:xfrm>
                      <a:off x="12324425" y="5186775"/>
                      <a:ext cx="36625" cy="118375"/>
                    </a:xfrm>
                    <a:custGeom>
                      <a:avLst/>
                      <a:gdLst/>
                      <a:ahLst/>
                      <a:cxnLst/>
                      <a:rect l="l" t="t" r="r" b="b"/>
                      <a:pathLst>
                        <a:path w="1465" h="4735" fill="none" extrusionOk="0">
                          <a:moveTo>
                            <a:pt x="1465" y="0"/>
                          </a:moveTo>
                          <a:lnTo>
                            <a:pt x="1" y="47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208;p4"/>
                    <p:cNvSpPr/>
                    <p:nvPr/>
                  </p:nvSpPr>
                  <p:spPr>
                    <a:xfrm>
                      <a:off x="12344975" y="5227850"/>
                      <a:ext cx="63875" cy="39975"/>
                    </a:xfrm>
                    <a:custGeom>
                      <a:avLst/>
                      <a:gdLst/>
                      <a:ahLst/>
                      <a:cxnLst/>
                      <a:rect l="l" t="t" r="r" b="b"/>
                      <a:pathLst>
                        <a:path w="2555" h="1599" fill="none" extrusionOk="0">
                          <a:moveTo>
                            <a:pt x="0" y="1598"/>
                          </a:moveTo>
                          <a:cubicBezTo>
                            <a:pt x="0" y="1598"/>
                            <a:pt x="1852" y="179"/>
                            <a:pt x="2554"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209;p4"/>
                    <p:cNvSpPr/>
                    <p:nvPr/>
                  </p:nvSpPr>
                  <p:spPr>
                    <a:xfrm>
                      <a:off x="12251625" y="5228600"/>
                      <a:ext cx="32875" cy="162825"/>
                    </a:xfrm>
                    <a:custGeom>
                      <a:avLst/>
                      <a:gdLst/>
                      <a:ahLst/>
                      <a:cxnLst/>
                      <a:rect l="l" t="t" r="r" b="b"/>
                      <a:pathLst>
                        <a:path w="1315" h="6513" fill="none" extrusionOk="0">
                          <a:moveTo>
                            <a:pt x="1315" y="0"/>
                          </a:moveTo>
                          <a:lnTo>
                            <a:pt x="0" y="651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210;p4"/>
                    <p:cNvSpPr/>
                    <p:nvPr/>
                  </p:nvSpPr>
                  <p:spPr>
                    <a:xfrm>
                      <a:off x="12199350" y="5013500"/>
                      <a:ext cx="116525" cy="327125"/>
                    </a:xfrm>
                    <a:custGeom>
                      <a:avLst/>
                      <a:gdLst/>
                      <a:ahLst/>
                      <a:cxnLst/>
                      <a:rect l="l" t="t" r="r" b="b"/>
                      <a:pathLst>
                        <a:path w="4661" h="13085" fill="none" extrusionOk="0">
                          <a:moveTo>
                            <a:pt x="478" y="13085"/>
                          </a:moveTo>
                          <a:cubicBezTo>
                            <a:pt x="478" y="13085"/>
                            <a:pt x="0" y="5423"/>
                            <a:pt x="466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4"/>
                    <p:cNvSpPr/>
                    <p:nvPr/>
                  </p:nvSpPr>
                  <p:spPr>
                    <a:xfrm>
                      <a:off x="12260575" y="5010900"/>
                      <a:ext cx="10850" cy="87400"/>
                    </a:xfrm>
                    <a:custGeom>
                      <a:avLst/>
                      <a:gdLst/>
                      <a:ahLst/>
                      <a:cxnLst/>
                      <a:rect l="l" t="t" r="r" b="b"/>
                      <a:pathLst>
                        <a:path w="434" h="3496" fill="none" extrusionOk="0">
                          <a:moveTo>
                            <a:pt x="404" y="0"/>
                          </a:moveTo>
                          <a:cubicBezTo>
                            <a:pt x="404" y="0"/>
                            <a:pt x="434" y="2554"/>
                            <a:pt x="1" y="349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212;p4"/>
                    <p:cNvSpPr/>
                    <p:nvPr/>
                  </p:nvSpPr>
                  <p:spPr>
                    <a:xfrm>
                      <a:off x="12226225" y="5106125"/>
                      <a:ext cx="80675" cy="91125"/>
                    </a:xfrm>
                    <a:custGeom>
                      <a:avLst/>
                      <a:gdLst/>
                      <a:ahLst/>
                      <a:cxnLst/>
                      <a:rect l="l" t="t" r="r" b="b"/>
                      <a:pathLst>
                        <a:path w="3227" h="3645" fill="none" extrusionOk="0">
                          <a:moveTo>
                            <a:pt x="3227" y="0"/>
                          </a:moveTo>
                          <a:cubicBezTo>
                            <a:pt x="3227" y="0"/>
                            <a:pt x="972" y="1882"/>
                            <a:pt x="1" y="3644"/>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213;p4"/>
                    <p:cNvSpPr/>
                    <p:nvPr/>
                  </p:nvSpPr>
                  <p:spPr>
                    <a:xfrm>
                      <a:off x="12166125" y="5196850"/>
                      <a:ext cx="1500" cy="86650"/>
                    </a:xfrm>
                    <a:custGeom>
                      <a:avLst/>
                      <a:gdLst/>
                      <a:ahLst/>
                      <a:cxnLst/>
                      <a:rect l="l" t="t" r="r" b="b"/>
                      <a:pathLst>
                        <a:path w="60" h="3466" fill="none" extrusionOk="0">
                          <a:moveTo>
                            <a:pt x="60" y="0"/>
                          </a:moveTo>
                          <a:lnTo>
                            <a:pt x="0" y="3466"/>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p4"/>
                    <p:cNvSpPr/>
                    <p:nvPr/>
                  </p:nvSpPr>
                  <p:spPr>
                    <a:xfrm>
                      <a:off x="12167225" y="5199100"/>
                      <a:ext cx="29150" cy="37350"/>
                    </a:xfrm>
                    <a:custGeom>
                      <a:avLst/>
                      <a:gdLst/>
                      <a:ahLst/>
                      <a:cxnLst/>
                      <a:rect l="l" t="t" r="r" b="b"/>
                      <a:pathLst>
                        <a:path w="1166" h="1494" fill="none" extrusionOk="0">
                          <a:moveTo>
                            <a:pt x="1166" y="0"/>
                          </a:moveTo>
                          <a:lnTo>
                            <a:pt x="1" y="149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5" name="Google Shape;215;p4"/>
                    <p:cNvSpPr/>
                    <p:nvPr/>
                  </p:nvSpPr>
                  <p:spPr>
                    <a:xfrm>
                      <a:off x="12093675" y="4998575"/>
                      <a:ext cx="7875" cy="194200"/>
                    </a:xfrm>
                    <a:custGeom>
                      <a:avLst/>
                      <a:gdLst/>
                      <a:ahLst/>
                      <a:cxnLst/>
                      <a:rect l="l" t="t" r="r" b="b"/>
                      <a:pathLst>
                        <a:path w="315" h="7768" fill="none" extrusionOk="0">
                          <a:moveTo>
                            <a:pt x="314" y="1"/>
                          </a:moveTo>
                          <a:lnTo>
                            <a:pt x="0" y="77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p4"/>
                    <p:cNvSpPr/>
                    <p:nvPr/>
                  </p:nvSpPr>
                  <p:spPr>
                    <a:xfrm>
                      <a:off x="12097775" y="5046375"/>
                      <a:ext cx="27650" cy="43700"/>
                    </a:xfrm>
                    <a:custGeom>
                      <a:avLst/>
                      <a:gdLst/>
                      <a:ahLst/>
                      <a:cxnLst/>
                      <a:rect l="l" t="t" r="r" b="b"/>
                      <a:pathLst>
                        <a:path w="1106" h="1748" fill="none" extrusionOk="0">
                          <a:moveTo>
                            <a:pt x="1106" y="0"/>
                          </a:moveTo>
                          <a:lnTo>
                            <a:pt x="1" y="1748"/>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217;p4"/>
                    <p:cNvSpPr/>
                    <p:nvPr/>
                  </p:nvSpPr>
                  <p:spPr>
                    <a:xfrm>
                      <a:off x="11967100" y="4981025"/>
                      <a:ext cx="20925" cy="79175"/>
                    </a:xfrm>
                    <a:custGeom>
                      <a:avLst/>
                      <a:gdLst/>
                      <a:ahLst/>
                      <a:cxnLst/>
                      <a:rect l="l" t="t" r="r" b="b"/>
                      <a:pathLst>
                        <a:path w="837" h="3167" fill="none" extrusionOk="0">
                          <a:moveTo>
                            <a:pt x="0" y="1"/>
                          </a:moveTo>
                          <a:lnTo>
                            <a:pt x="837" y="31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18;p4"/>
                    <p:cNvSpPr/>
                    <p:nvPr/>
                  </p:nvSpPr>
                  <p:spPr>
                    <a:xfrm>
                      <a:off x="11977175" y="4998575"/>
                      <a:ext cx="9350" cy="19825"/>
                    </a:xfrm>
                    <a:custGeom>
                      <a:avLst/>
                      <a:gdLst/>
                      <a:ahLst/>
                      <a:cxnLst/>
                      <a:rect l="l" t="t" r="r" b="b"/>
                      <a:pathLst>
                        <a:path w="374" h="793" fill="none" extrusionOk="0">
                          <a:moveTo>
                            <a:pt x="374" y="1"/>
                          </a:moveTo>
                          <a:lnTo>
                            <a:pt x="1" y="7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219" name="Google Shape;219;p4"/>
              <p:cNvGrpSpPr/>
              <p:nvPr/>
            </p:nvGrpSpPr>
            <p:grpSpPr>
              <a:xfrm rot="-1633106">
                <a:off x="-239834" y="-183306"/>
                <a:ext cx="552669" cy="612846"/>
                <a:chOff x="11133675" y="7488050"/>
                <a:chExt cx="552650" cy="612825"/>
              </a:xfrm>
            </p:grpSpPr>
            <p:sp>
              <p:nvSpPr>
                <p:cNvPr id="220" name="Google Shape;220;p4"/>
                <p:cNvSpPr/>
                <p:nvPr/>
              </p:nvSpPr>
              <p:spPr>
                <a:xfrm>
                  <a:off x="11241225" y="7488050"/>
                  <a:ext cx="424575" cy="405875"/>
                </a:xfrm>
                <a:custGeom>
                  <a:avLst/>
                  <a:gdLst/>
                  <a:ahLst/>
                  <a:cxnLst/>
                  <a:rect l="l" t="t" r="r" b="b"/>
                  <a:pathLst>
                    <a:path w="16983" h="16235" extrusionOk="0">
                      <a:moveTo>
                        <a:pt x="11355" y="0"/>
                      </a:moveTo>
                      <a:cubicBezTo>
                        <a:pt x="11228" y="0"/>
                        <a:pt x="11083" y="18"/>
                        <a:pt x="10918" y="59"/>
                      </a:cubicBezTo>
                      <a:cubicBezTo>
                        <a:pt x="9380" y="447"/>
                        <a:pt x="9141" y="3315"/>
                        <a:pt x="9141" y="3315"/>
                      </a:cubicBezTo>
                      <a:cubicBezTo>
                        <a:pt x="9141" y="3315"/>
                        <a:pt x="9000" y="1466"/>
                        <a:pt x="7845" y="1466"/>
                      </a:cubicBezTo>
                      <a:cubicBezTo>
                        <a:pt x="7643" y="1466"/>
                        <a:pt x="7409" y="1523"/>
                        <a:pt x="7139" y="1657"/>
                      </a:cubicBezTo>
                      <a:cubicBezTo>
                        <a:pt x="5390" y="2524"/>
                        <a:pt x="6285" y="5937"/>
                        <a:pt x="6345" y="6156"/>
                      </a:cubicBezTo>
                      <a:lnTo>
                        <a:pt x="6345" y="6156"/>
                      </a:lnTo>
                      <a:cubicBezTo>
                        <a:pt x="6304" y="6011"/>
                        <a:pt x="5851" y="4481"/>
                        <a:pt x="4831" y="4481"/>
                      </a:cubicBezTo>
                      <a:cubicBezTo>
                        <a:pt x="4572" y="4481"/>
                        <a:pt x="4277" y="4579"/>
                        <a:pt x="3943" y="4823"/>
                      </a:cubicBezTo>
                      <a:cubicBezTo>
                        <a:pt x="2240" y="6078"/>
                        <a:pt x="3510" y="9692"/>
                        <a:pt x="3510" y="9692"/>
                      </a:cubicBezTo>
                      <a:cubicBezTo>
                        <a:pt x="3510" y="9692"/>
                        <a:pt x="3096" y="8778"/>
                        <a:pt x="2458" y="8778"/>
                      </a:cubicBezTo>
                      <a:cubicBezTo>
                        <a:pt x="2257" y="8778"/>
                        <a:pt x="2033" y="8869"/>
                        <a:pt x="1792" y="9110"/>
                      </a:cubicBezTo>
                      <a:cubicBezTo>
                        <a:pt x="777" y="10095"/>
                        <a:pt x="2046" y="12515"/>
                        <a:pt x="2046" y="12515"/>
                      </a:cubicBezTo>
                      <a:cubicBezTo>
                        <a:pt x="2046" y="12515"/>
                        <a:pt x="1996" y="12511"/>
                        <a:pt x="1913" y="12511"/>
                      </a:cubicBezTo>
                      <a:cubicBezTo>
                        <a:pt x="1659" y="12511"/>
                        <a:pt x="1100" y="12553"/>
                        <a:pt x="807" y="12903"/>
                      </a:cubicBezTo>
                      <a:cubicBezTo>
                        <a:pt x="433" y="13352"/>
                        <a:pt x="1046" y="14412"/>
                        <a:pt x="523" y="15054"/>
                      </a:cubicBezTo>
                      <a:cubicBezTo>
                        <a:pt x="0" y="15696"/>
                        <a:pt x="284" y="16234"/>
                        <a:pt x="284" y="16234"/>
                      </a:cubicBezTo>
                      <a:lnTo>
                        <a:pt x="16982" y="671"/>
                      </a:lnTo>
                      <a:cubicBezTo>
                        <a:pt x="16833" y="508"/>
                        <a:pt x="16625" y="442"/>
                        <a:pt x="16385" y="442"/>
                      </a:cubicBezTo>
                      <a:cubicBezTo>
                        <a:pt x="15376" y="442"/>
                        <a:pt x="13816" y="1612"/>
                        <a:pt x="13816" y="1612"/>
                      </a:cubicBezTo>
                      <a:cubicBezTo>
                        <a:pt x="13816" y="1612"/>
                        <a:pt x="13771" y="163"/>
                        <a:pt x="13271" y="163"/>
                      </a:cubicBezTo>
                      <a:cubicBezTo>
                        <a:pt x="13268" y="163"/>
                        <a:pt x="13266" y="163"/>
                        <a:pt x="13263" y="163"/>
                      </a:cubicBezTo>
                      <a:cubicBezTo>
                        <a:pt x="12755" y="163"/>
                        <a:pt x="12262" y="1224"/>
                        <a:pt x="12262" y="1224"/>
                      </a:cubicBezTo>
                      <a:cubicBezTo>
                        <a:pt x="12262" y="1224"/>
                        <a:pt x="12405" y="0"/>
                        <a:pt x="1135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221;p4"/>
                <p:cNvSpPr/>
                <p:nvPr/>
              </p:nvSpPr>
              <p:spPr>
                <a:xfrm>
                  <a:off x="11248300" y="7504800"/>
                  <a:ext cx="438025" cy="391700"/>
                </a:xfrm>
                <a:custGeom>
                  <a:avLst/>
                  <a:gdLst/>
                  <a:ahLst/>
                  <a:cxnLst/>
                  <a:rect l="l" t="t" r="r" b="b"/>
                  <a:pathLst>
                    <a:path w="17521" h="15668" extrusionOk="0">
                      <a:moveTo>
                        <a:pt x="16714" y="1"/>
                      </a:moveTo>
                      <a:lnTo>
                        <a:pt x="1" y="15564"/>
                      </a:lnTo>
                      <a:cubicBezTo>
                        <a:pt x="1" y="15564"/>
                        <a:pt x="169" y="15668"/>
                        <a:pt x="443" y="15668"/>
                      </a:cubicBezTo>
                      <a:cubicBezTo>
                        <a:pt x="645" y="15668"/>
                        <a:pt x="904" y="15611"/>
                        <a:pt x="1196" y="15415"/>
                      </a:cubicBezTo>
                      <a:cubicBezTo>
                        <a:pt x="1378" y="15289"/>
                        <a:pt x="1585" y="15248"/>
                        <a:pt x="1800" y="15248"/>
                      </a:cubicBezTo>
                      <a:cubicBezTo>
                        <a:pt x="2207" y="15248"/>
                        <a:pt x="2642" y="15396"/>
                        <a:pt x="2985" y="15396"/>
                      </a:cubicBezTo>
                      <a:cubicBezTo>
                        <a:pt x="3130" y="15396"/>
                        <a:pt x="3258" y="15370"/>
                        <a:pt x="3361" y="15295"/>
                      </a:cubicBezTo>
                      <a:cubicBezTo>
                        <a:pt x="3869" y="14952"/>
                        <a:pt x="3854" y="14086"/>
                        <a:pt x="3854" y="14085"/>
                      </a:cubicBezTo>
                      <a:lnTo>
                        <a:pt x="3854" y="14085"/>
                      </a:lnTo>
                      <a:cubicBezTo>
                        <a:pt x="3855" y="14086"/>
                        <a:pt x="5182" y="14911"/>
                        <a:pt x="6289" y="14911"/>
                      </a:cubicBezTo>
                      <a:cubicBezTo>
                        <a:pt x="6649" y="14911"/>
                        <a:pt x="6985" y="14824"/>
                        <a:pt x="7245" y="14593"/>
                      </a:cubicBezTo>
                      <a:cubicBezTo>
                        <a:pt x="8290" y="13667"/>
                        <a:pt x="6767" y="12831"/>
                        <a:pt x="6767" y="12831"/>
                      </a:cubicBezTo>
                      <a:lnTo>
                        <a:pt x="6767" y="12831"/>
                      </a:lnTo>
                      <a:cubicBezTo>
                        <a:pt x="6767" y="12831"/>
                        <a:pt x="8268" y="13482"/>
                        <a:pt x="9690" y="13482"/>
                      </a:cubicBezTo>
                      <a:cubicBezTo>
                        <a:pt x="10444" y="13482"/>
                        <a:pt x="11175" y="13300"/>
                        <a:pt x="11651" y="12741"/>
                      </a:cubicBezTo>
                      <a:cubicBezTo>
                        <a:pt x="12978" y="11183"/>
                        <a:pt x="10640" y="10322"/>
                        <a:pt x="10479" y="10265"/>
                      </a:cubicBezTo>
                      <a:lnTo>
                        <a:pt x="10479" y="10265"/>
                      </a:lnTo>
                      <a:cubicBezTo>
                        <a:pt x="10591" y="10303"/>
                        <a:pt x="11769" y="10701"/>
                        <a:pt x="12932" y="10701"/>
                      </a:cubicBezTo>
                      <a:cubicBezTo>
                        <a:pt x="13775" y="10701"/>
                        <a:pt x="14611" y="10492"/>
                        <a:pt x="15026" y="9784"/>
                      </a:cubicBezTo>
                      <a:cubicBezTo>
                        <a:pt x="16042" y="8036"/>
                        <a:pt x="13503" y="7648"/>
                        <a:pt x="13503" y="7648"/>
                      </a:cubicBezTo>
                      <a:cubicBezTo>
                        <a:pt x="13503" y="7648"/>
                        <a:pt x="16385" y="7603"/>
                        <a:pt x="16878" y="6095"/>
                      </a:cubicBezTo>
                      <a:cubicBezTo>
                        <a:pt x="17326" y="4737"/>
                        <a:pt x="16096" y="4675"/>
                        <a:pt x="15868" y="4675"/>
                      </a:cubicBezTo>
                      <a:cubicBezTo>
                        <a:pt x="15846" y="4675"/>
                        <a:pt x="15833" y="4676"/>
                        <a:pt x="15833" y="4676"/>
                      </a:cubicBezTo>
                      <a:cubicBezTo>
                        <a:pt x="15833" y="4676"/>
                        <a:pt x="16923" y="4258"/>
                        <a:pt x="16968" y="3765"/>
                      </a:cubicBezTo>
                      <a:cubicBezTo>
                        <a:pt x="17013" y="3257"/>
                        <a:pt x="15549" y="3093"/>
                        <a:pt x="15549" y="3093"/>
                      </a:cubicBezTo>
                      <a:cubicBezTo>
                        <a:pt x="15549" y="3093"/>
                        <a:pt x="17521" y="852"/>
                        <a:pt x="16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p4"/>
                <p:cNvSpPr/>
                <p:nvPr/>
              </p:nvSpPr>
              <p:spPr>
                <a:xfrm>
                  <a:off x="11205750" y="7904750"/>
                  <a:ext cx="350250" cy="130300"/>
                </a:xfrm>
                <a:custGeom>
                  <a:avLst/>
                  <a:gdLst/>
                  <a:ahLst/>
                  <a:cxnLst/>
                  <a:rect l="l" t="t" r="r" b="b"/>
                  <a:pathLst>
                    <a:path w="14010" h="5212" extrusionOk="0">
                      <a:moveTo>
                        <a:pt x="6727" y="0"/>
                      </a:moveTo>
                      <a:cubicBezTo>
                        <a:pt x="5586" y="0"/>
                        <a:pt x="4466" y="1582"/>
                        <a:pt x="4466" y="1582"/>
                      </a:cubicBezTo>
                      <a:cubicBezTo>
                        <a:pt x="4466" y="1582"/>
                        <a:pt x="5019" y="656"/>
                        <a:pt x="4152" y="507"/>
                      </a:cubicBezTo>
                      <a:cubicBezTo>
                        <a:pt x="4112" y="500"/>
                        <a:pt x="4072" y="497"/>
                        <a:pt x="4032" y="497"/>
                      </a:cubicBezTo>
                      <a:cubicBezTo>
                        <a:pt x="3229" y="497"/>
                        <a:pt x="2524" y="1866"/>
                        <a:pt x="2524" y="1866"/>
                      </a:cubicBezTo>
                      <a:cubicBezTo>
                        <a:pt x="2524" y="1866"/>
                        <a:pt x="2241" y="1388"/>
                        <a:pt x="1867" y="1373"/>
                      </a:cubicBezTo>
                      <a:cubicBezTo>
                        <a:pt x="1860" y="1373"/>
                        <a:pt x="1852" y="1372"/>
                        <a:pt x="1844" y="1372"/>
                      </a:cubicBezTo>
                      <a:cubicBezTo>
                        <a:pt x="1502" y="1372"/>
                        <a:pt x="1184" y="2002"/>
                        <a:pt x="718" y="2002"/>
                      </a:cubicBezTo>
                      <a:cubicBezTo>
                        <a:pt x="708" y="2002"/>
                        <a:pt x="698" y="2001"/>
                        <a:pt x="687" y="2001"/>
                      </a:cubicBezTo>
                      <a:cubicBezTo>
                        <a:pt x="664" y="1999"/>
                        <a:pt x="642" y="1999"/>
                        <a:pt x="621" y="1999"/>
                      </a:cubicBezTo>
                      <a:cubicBezTo>
                        <a:pt x="150" y="1999"/>
                        <a:pt x="0" y="2299"/>
                        <a:pt x="0" y="2299"/>
                      </a:cubicBezTo>
                      <a:lnTo>
                        <a:pt x="13846" y="5212"/>
                      </a:lnTo>
                      <a:cubicBezTo>
                        <a:pt x="14010" y="4510"/>
                        <a:pt x="12248" y="3942"/>
                        <a:pt x="12248" y="3942"/>
                      </a:cubicBezTo>
                      <a:cubicBezTo>
                        <a:pt x="12248" y="3942"/>
                        <a:pt x="12979" y="3390"/>
                        <a:pt x="12785" y="3136"/>
                      </a:cubicBezTo>
                      <a:cubicBezTo>
                        <a:pt x="12698" y="3012"/>
                        <a:pt x="12484" y="2981"/>
                        <a:pt x="12287" y="2981"/>
                      </a:cubicBezTo>
                      <a:cubicBezTo>
                        <a:pt x="12079" y="2981"/>
                        <a:pt x="11889" y="3016"/>
                        <a:pt x="11889" y="3016"/>
                      </a:cubicBezTo>
                      <a:cubicBezTo>
                        <a:pt x="11889" y="3016"/>
                        <a:pt x="12740" y="2553"/>
                        <a:pt x="11994" y="1911"/>
                      </a:cubicBezTo>
                      <a:cubicBezTo>
                        <a:pt x="11800" y="1748"/>
                        <a:pt x="11553" y="1688"/>
                        <a:pt x="11294" y="1688"/>
                      </a:cubicBezTo>
                      <a:cubicBezTo>
                        <a:pt x="10553" y="1688"/>
                        <a:pt x="9708" y="2180"/>
                        <a:pt x="9708" y="2180"/>
                      </a:cubicBezTo>
                      <a:cubicBezTo>
                        <a:pt x="9708" y="2180"/>
                        <a:pt x="10933" y="1149"/>
                        <a:pt x="9828" y="552"/>
                      </a:cubicBezTo>
                      <a:cubicBezTo>
                        <a:pt x="9676" y="470"/>
                        <a:pt x="9516" y="435"/>
                        <a:pt x="9353" y="435"/>
                      </a:cubicBezTo>
                      <a:cubicBezTo>
                        <a:pt x="8385" y="435"/>
                        <a:pt x="7328" y="1679"/>
                        <a:pt x="7262" y="1758"/>
                      </a:cubicBezTo>
                      <a:lnTo>
                        <a:pt x="7262" y="1758"/>
                      </a:lnTo>
                      <a:cubicBezTo>
                        <a:pt x="7326" y="1680"/>
                        <a:pt x="8294" y="478"/>
                        <a:pt x="7095" y="59"/>
                      </a:cubicBezTo>
                      <a:cubicBezTo>
                        <a:pt x="6973" y="18"/>
                        <a:pt x="6850" y="0"/>
                        <a:pt x="672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223;p4"/>
                <p:cNvSpPr/>
                <p:nvPr/>
              </p:nvSpPr>
              <p:spPr>
                <a:xfrm>
                  <a:off x="11205750" y="7962225"/>
                  <a:ext cx="346150" cy="138650"/>
                </a:xfrm>
                <a:custGeom>
                  <a:avLst/>
                  <a:gdLst/>
                  <a:ahLst/>
                  <a:cxnLst/>
                  <a:rect l="l" t="t" r="r" b="b"/>
                  <a:pathLst>
                    <a:path w="13846" h="5546" extrusionOk="0">
                      <a:moveTo>
                        <a:pt x="0" y="0"/>
                      </a:moveTo>
                      <a:cubicBezTo>
                        <a:pt x="0" y="0"/>
                        <a:pt x="15" y="374"/>
                        <a:pt x="508" y="553"/>
                      </a:cubicBezTo>
                      <a:cubicBezTo>
                        <a:pt x="986" y="732"/>
                        <a:pt x="1001" y="1479"/>
                        <a:pt x="1344" y="1613"/>
                      </a:cubicBezTo>
                      <a:cubicBezTo>
                        <a:pt x="1399" y="1633"/>
                        <a:pt x="1457" y="1641"/>
                        <a:pt x="1514" y="1641"/>
                      </a:cubicBezTo>
                      <a:cubicBezTo>
                        <a:pt x="1815" y="1641"/>
                        <a:pt x="2121" y="1419"/>
                        <a:pt x="2121" y="1419"/>
                      </a:cubicBezTo>
                      <a:cubicBezTo>
                        <a:pt x="2121" y="1419"/>
                        <a:pt x="2226" y="3107"/>
                        <a:pt x="3077" y="3301"/>
                      </a:cubicBezTo>
                      <a:cubicBezTo>
                        <a:pt x="3153" y="3320"/>
                        <a:pt x="3222" y="3329"/>
                        <a:pt x="3283" y="3329"/>
                      </a:cubicBezTo>
                      <a:cubicBezTo>
                        <a:pt x="3908" y="3329"/>
                        <a:pt x="3809" y="2451"/>
                        <a:pt x="3809" y="2450"/>
                      </a:cubicBezTo>
                      <a:lnTo>
                        <a:pt x="3809" y="2450"/>
                      </a:lnTo>
                      <a:cubicBezTo>
                        <a:pt x="3809" y="2451"/>
                        <a:pt x="4287" y="4780"/>
                        <a:pt x="5586" y="4884"/>
                      </a:cubicBezTo>
                      <a:cubicBezTo>
                        <a:pt x="5628" y="4888"/>
                        <a:pt x="5668" y="4889"/>
                        <a:pt x="5707" y="4889"/>
                      </a:cubicBezTo>
                      <a:cubicBezTo>
                        <a:pt x="6811" y="4889"/>
                        <a:pt x="6464" y="3554"/>
                        <a:pt x="6426" y="3417"/>
                      </a:cubicBezTo>
                      <a:lnTo>
                        <a:pt x="6426" y="3417"/>
                      </a:lnTo>
                      <a:cubicBezTo>
                        <a:pt x="6474" y="3583"/>
                        <a:pt x="7072" y="5545"/>
                        <a:pt x="8206" y="5545"/>
                      </a:cubicBezTo>
                      <a:cubicBezTo>
                        <a:pt x="8233" y="5545"/>
                        <a:pt x="8261" y="5544"/>
                        <a:pt x="8290" y="5542"/>
                      </a:cubicBezTo>
                      <a:cubicBezTo>
                        <a:pt x="9544" y="5437"/>
                        <a:pt x="8828" y="4019"/>
                        <a:pt x="8827" y="4018"/>
                      </a:cubicBezTo>
                      <a:lnTo>
                        <a:pt x="8827" y="4018"/>
                      </a:lnTo>
                      <a:cubicBezTo>
                        <a:pt x="8828" y="4019"/>
                        <a:pt x="9699" y="5209"/>
                        <a:pt x="10552" y="5209"/>
                      </a:cubicBezTo>
                      <a:cubicBezTo>
                        <a:pt x="10639" y="5209"/>
                        <a:pt x="10727" y="5196"/>
                        <a:pt x="10814" y="5168"/>
                      </a:cubicBezTo>
                      <a:cubicBezTo>
                        <a:pt x="11754" y="4884"/>
                        <a:pt x="11157" y="4138"/>
                        <a:pt x="11157" y="4138"/>
                      </a:cubicBezTo>
                      <a:lnTo>
                        <a:pt x="11157" y="4138"/>
                      </a:lnTo>
                      <a:cubicBezTo>
                        <a:pt x="11157" y="4138"/>
                        <a:pt x="11580" y="4416"/>
                        <a:pt x="11868" y="4416"/>
                      </a:cubicBezTo>
                      <a:cubicBezTo>
                        <a:pt x="11927" y="4416"/>
                        <a:pt x="11981" y="4404"/>
                        <a:pt x="12023" y="4377"/>
                      </a:cubicBezTo>
                      <a:cubicBezTo>
                        <a:pt x="12307" y="4227"/>
                        <a:pt x="11859" y="3436"/>
                        <a:pt x="11859" y="3436"/>
                      </a:cubicBezTo>
                      <a:lnTo>
                        <a:pt x="11859" y="3436"/>
                      </a:lnTo>
                      <a:cubicBezTo>
                        <a:pt x="11859" y="3436"/>
                        <a:pt x="12086" y="3460"/>
                        <a:pt x="12387" y="3460"/>
                      </a:cubicBezTo>
                      <a:cubicBezTo>
                        <a:pt x="12942" y="3460"/>
                        <a:pt x="13749" y="3378"/>
                        <a:pt x="13846" y="2913"/>
                      </a:cubicBezTo>
                      <a:lnTo>
                        <a:pt x="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24" name="Google Shape;224;p4"/>
                <p:cNvGrpSpPr/>
                <p:nvPr/>
              </p:nvGrpSpPr>
              <p:grpSpPr>
                <a:xfrm>
                  <a:off x="11133675" y="7514800"/>
                  <a:ext cx="521650" cy="547525"/>
                  <a:chOff x="11133675" y="7514800"/>
                  <a:chExt cx="521650" cy="547525"/>
                </a:xfrm>
              </p:grpSpPr>
              <p:grpSp>
                <p:nvGrpSpPr>
                  <p:cNvPr id="225" name="Google Shape;225;p4"/>
                  <p:cNvGrpSpPr/>
                  <p:nvPr/>
                </p:nvGrpSpPr>
                <p:grpSpPr>
                  <a:xfrm>
                    <a:off x="11133675" y="7514800"/>
                    <a:ext cx="521650" cy="516150"/>
                    <a:chOff x="11133675" y="7514800"/>
                    <a:chExt cx="521650" cy="516150"/>
                  </a:xfrm>
                </p:grpSpPr>
                <p:sp>
                  <p:nvSpPr>
                    <p:cNvPr id="226" name="Google Shape;226;p4"/>
                    <p:cNvSpPr/>
                    <p:nvPr/>
                  </p:nvSpPr>
                  <p:spPr>
                    <a:xfrm>
                      <a:off x="11133675" y="7514800"/>
                      <a:ext cx="521650" cy="486150"/>
                    </a:xfrm>
                    <a:custGeom>
                      <a:avLst/>
                      <a:gdLst/>
                      <a:ahLst/>
                      <a:cxnLst/>
                      <a:rect l="l" t="t" r="r" b="b"/>
                      <a:pathLst>
                        <a:path w="20866" h="19446" extrusionOk="0">
                          <a:moveTo>
                            <a:pt x="20731" y="1"/>
                          </a:moveTo>
                          <a:cubicBezTo>
                            <a:pt x="20705" y="1"/>
                            <a:pt x="20679" y="12"/>
                            <a:pt x="20657" y="34"/>
                          </a:cubicBezTo>
                          <a:lnTo>
                            <a:pt x="75" y="19107"/>
                          </a:lnTo>
                          <a:cubicBezTo>
                            <a:pt x="1" y="19182"/>
                            <a:pt x="1" y="19301"/>
                            <a:pt x="60" y="19376"/>
                          </a:cubicBezTo>
                          <a:cubicBezTo>
                            <a:pt x="107" y="19423"/>
                            <a:pt x="158" y="19445"/>
                            <a:pt x="209" y="19445"/>
                          </a:cubicBezTo>
                          <a:cubicBezTo>
                            <a:pt x="255" y="19445"/>
                            <a:pt x="301" y="19427"/>
                            <a:pt x="344" y="19391"/>
                          </a:cubicBezTo>
                          <a:lnTo>
                            <a:pt x="20806" y="198"/>
                          </a:lnTo>
                          <a:cubicBezTo>
                            <a:pt x="20866" y="154"/>
                            <a:pt x="20866" y="94"/>
                            <a:pt x="20806" y="34"/>
                          </a:cubicBezTo>
                          <a:cubicBezTo>
                            <a:pt x="20784" y="12"/>
                            <a:pt x="20758" y="1"/>
                            <a:pt x="2073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227;p4"/>
                    <p:cNvSpPr/>
                    <p:nvPr/>
                  </p:nvSpPr>
                  <p:spPr>
                    <a:xfrm>
                      <a:off x="11180725" y="7957000"/>
                      <a:ext cx="346900" cy="73950"/>
                    </a:xfrm>
                    <a:custGeom>
                      <a:avLst/>
                      <a:gdLst/>
                      <a:ahLst/>
                      <a:cxnLst/>
                      <a:rect l="l" t="t" r="r" b="b"/>
                      <a:pathLst>
                        <a:path w="13876" h="2958" fill="none" extrusionOk="0">
                          <a:moveTo>
                            <a:pt x="0" y="0"/>
                          </a:moveTo>
                          <a:lnTo>
                            <a:pt x="13876" y="2958"/>
                          </a:lnTo>
                        </a:path>
                      </a:pathLst>
                    </a:custGeom>
                    <a:noFill/>
                    <a:ln w="52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28" name="Google Shape;228;p4"/>
                  <p:cNvGrpSpPr/>
                  <p:nvPr/>
                </p:nvGrpSpPr>
                <p:grpSpPr>
                  <a:xfrm>
                    <a:off x="11271075" y="7551850"/>
                    <a:ext cx="359250" cy="510475"/>
                    <a:chOff x="11271075" y="7551850"/>
                    <a:chExt cx="359250" cy="510475"/>
                  </a:xfrm>
                </p:grpSpPr>
                <p:sp>
                  <p:nvSpPr>
                    <p:cNvPr id="229" name="Google Shape;229;p4"/>
                    <p:cNvSpPr/>
                    <p:nvPr/>
                  </p:nvSpPr>
                  <p:spPr>
                    <a:xfrm>
                      <a:off x="11314775" y="7551850"/>
                      <a:ext cx="315550" cy="292025"/>
                    </a:xfrm>
                    <a:custGeom>
                      <a:avLst/>
                      <a:gdLst/>
                      <a:ahLst/>
                      <a:cxnLst/>
                      <a:rect l="l" t="t" r="r" b="b"/>
                      <a:pathLst>
                        <a:path w="12622" h="11681" fill="none" extrusionOk="0">
                          <a:moveTo>
                            <a:pt x="10142" y="1778"/>
                          </a:moveTo>
                          <a:lnTo>
                            <a:pt x="12621" y="2107"/>
                          </a:lnTo>
                          <a:moveTo>
                            <a:pt x="3779" y="7693"/>
                          </a:moveTo>
                          <a:lnTo>
                            <a:pt x="2017" y="4049"/>
                          </a:lnTo>
                          <a:moveTo>
                            <a:pt x="1210" y="10098"/>
                          </a:moveTo>
                          <a:lnTo>
                            <a:pt x="0" y="7917"/>
                          </a:lnTo>
                          <a:moveTo>
                            <a:pt x="598" y="10650"/>
                          </a:moveTo>
                          <a:lnTo>
                            <a:pt x="3495" y="11681"/>
                          </a:lnTo>
                          <a:moveTo>
                            <a:pt x="3047" y="8380"/>
                          </a:moveTo>
                          <a:lnTo>
                            <a:pt x="7155" y="9859"/>
                          </a:lnTo>
                          <a:moveTo>
                            <a:pt x="5840" y="5766"/>
                          </a:moveTo>
                          <a:lnTo>
                            <a:pt x="10276" y="7379"/>
                          </a:lnTo>
                          <a:moveTo>
                            <a:pt x="6617" y="5049"/>
                          </a:moveTo>
                          <a:lnTo>
                            <a:pt x="5034" y="1241"/>
                          </a:lnTo>
                          <a:moveTo>
                            <a:pt x="9171" y="2674"/>
                          </a:moveTo>
                          <a:lnTo>
                            <a:pt x="8200" y="1"/>
                          </a:lnTo>
                          <a:moveTo>
                            <a:pt x="8170" y="3600"/>
                          </a:moveTo>
                          <a:lnTo>
                            <a:pt x="11695" y="4452"/>
                          </a:lnTo>
                        </a:path>
                      </a:pathLst>
                    </a:custGeom>
                    <a:noFill/>
                    <a:ln w="26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230;p4"/>
                    <p:cNvSpPr/>
                    <p:nvPr/>
                  </p:nvSpPr>
                  <p:spPr>
                    <a:xfrm>
                      <a:off x="11271075" y="7936450"/>
                      <a:ext cx="200550" cy="125875"/>
                    </a:xfrm>
                    <a:custGeom>
                      <a:avLst/>
                      <a:gdLst/>
                      <a:ahLst/>
                      <a:cxnLst/>
                      <a:rect l="l" t="t" r="r" b="b"/>
                      <a:pathLst>
                        <a:path w="8022" h="5035" fill="none" extrusionOk="0">
                          <a:moveTo>
                            <a:pt x="6513" y="2988"/>
                          </a:moveTo>
                          <a:lnTo>
                            <a:pt x="8021" y="1569"/>
                          </a:lnTo>
                          <a:moveTo>
                            <a:pt x="1" y="1599"/>
                          </a:moveTo>
                          <a:lnTo>
                            <a:pt x="942" y="300"/>
                          </a:lnTo>
                          <a:moveTo>
                            <a:pt x="509" y="1704"/>
                          </a:moveTo>
                          <a:lnTo>
                            <a:pt x="509" y="3093"/>
                          </a:lnTo>
                          <a:moveTo>
                            <a:pt x="2495" y="2137"/>
                          </a:moveTo>
                          <a:lnTo>
                            <a:pt x="2973" y="4452"/>
                          </a:lnTo>
                          <a:moveTo>
                            <a:pt x="2062" y="2002"/>
                          </a:moveTo>
                          <a:lnTo>
                            <a:pt x="3556" y="1"/>
                          </a:lnTo>
                          <a:moveTo>
                            <a:pt x="4452" y="2540"/>
                          </a:moveTo>
                          <a:lnTo>
                            <a:pt x="6154" y="374"/>
                          </a:lnTo>
                          <a:moveTo>
                            <a:pt x="4930" y="2644"/>
                          </a:moveTo>
                          <a:lnTo>
                            <a:pt x="5527" y="4915"/>
                          </a:lnTo>
                          <a:moveTo>
                            <a:pt x="6931" y="3063"/>
                          </a:moveTo>
                          <a:lnTo>
                            <a:pt x="7663" y="5034"/>
                          </a:lnTo>
                        </a:path>
                      </a:pathLst>
                    </a:custGeom>
                    <a:noFill/>
                    <a:ln w="26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
            <p:nvSpPr>
              <p:cNvPr id="231" name="Google Shape;231;p4"/>
              <p:cNvSpPr/>
              <p:nvPr/>
            </p:nvSpPr>
            <p:spPr>
              <a:xfrm>
                <a:off x="545974" y="138823"/>
                <a:ext cx="170992" cy="109762"/>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Highlighted numbers">
  <p:cSld name="Highlighted numbers">
    <p:spTree>
      <p:nvGrpSpPr>
        <p:cNvPr id="1" name="Shape 985"/>
        <p:cNvGrpSpPr/>
        <p:nvPr/>
      </p:nvGrpSpPr>
      <p:grpSpPr>
        <a:xfrm>
          <a:off x="0" y="0"/>
          <a:ext cx="0" cy="0"/>
          <a:chOff x="0" y="0"/>
          <a:chExt cx="0" cy="0"/>
        </a:xfrm>
      </p:grpSpPr>
      <p:sp>
        <p:nvSpPr>
          <p:cNvPr id="986" name="Google Shape;986;p20"/>
          <p:cNvSpPr txBox="1">
            <a:spLocks noGrp="1"/>
          </p:cNvSpPr>
          <p:nvPr>
            <p:ph type="title" hasCustomPrompt="1"/>
          </p:nvPr>
        </p:nvSpPr>
        <p:spPr>
          <a:xfrm>
            <a:off x="2825496" y="704088"/>
            <a:ext cx="3483900" cy="567000"/>
          </a:xfrm>
          <a:prstGeom prst="rect">
            <a:avLst/>
          </a:prstGeom>
        </p:spPr>
        <p:txBody>
          <a:bodyPr spcFirstLastPara="1" wrap="square" lIns="121897" tIns="121897" rIns="121897" bIns="121897" anchor="b" anchorCtr="0">
            <a:noAutofit/>
          </a:bodyPr>
          <a:lstStyle>
            <a:lvl1pPr lvl="0" algn="ctr" rtl="0">
              <a:spcBef>
                <a:spcPts val="0"/>
              </a:spcBef>
              <a:spcAft>
                <a:spcPts val="0"/>
              </a:spcAft>
              <a:buClr>
                <a:schemeClr val="accent1"/>
              </a:buClr>
              <a:buSzPts val="3600"/>
              <a:buNone/>
              <a:defRPr sz="3600">
                <a:solidFill>
                  <a:schemeClr val="accent1"/>
                </a:solidFill>
              </a:defRPr>
            </a:lvl1pPr>
            <a:lvl2pPr lvl="1" algn="ctr" rtl="0">
              <a:spcBef>
                <a:spcPts val="0"/>
              </a:spcBef>
              <a:spcAft>
                <a:spcPts val="0"/>
              </a:spcAft>
              <a:buClr>
                <a:schemeClr val="accent1"/>
              </a:buClr>
              <a:buSzPts val="3600"/>
              <a:buNone/>
              <a:defRPr sz="3600">
                <a:solidFill>
                  <a:schemeClr val="accent1"/>
                </a:solidFill>
              </a:defRPr>
            </a:lvl2pPr>
            <a:lvl3pPr lvl="2" algn="ctr" rtl="0">
              <a:spcBef>
                <a:spcPts val="0"/>
              </a:spcBef>
              <a:spcAft>
                <a:spcPts val="0"/>
              </a:spcAft>
              <a:buClr>
                <a:schemeClr val="accent1"/>
              </a:buClr>
              <a:buSzPts val="3600"/>
              <a:buNone/>
              <a:defRPr sz="3600">
                <a:solidFill>
                  <a:schemeClr val="accent1"/>
                </a:solidFill>
              </a:defRPr>
            </a:lvl3pPr>
            <a:lvl4pPr lvl="3" algn="ctr" rtl="0">
              <a:spcBef>
                <a:spcPts val="0"/>
              </a:spcBef>
              <a:spcAft>
                <a:spcPts val="0"/>
              </a:spcAft>
              <a:buClr>
                <a:schemeClr val="accent1"/>
              </a:buClr>
              <a:buSzPts val="3600"/>
              <a:buNone/>
              <a:defRPr sz="3600">
                <a:solidFill>
                  <a:schemeClr val="accent1"/>
                </a:solidFill>
              </a:defRPr>
            </a:lvl4pPr>
            <a:lvl5pPr lvl="4" algn="ctr" rtl="0">
              <a:spcBef>
                <a:spcPts val="0"/>
              </a:spcBef>
              <a:spcAft>
                <a:spcPts val="0"/>
              </a:spcAft>
              <a:buClr>
                <a:schemeClr val="accent1"/>
              </a:buClr>
              <a:buSzPts val="3600"/>
              <a:buNone/>
              <a:defRPr sz="3600">
                <a:solidFill>
                  <a:schemeClr val="accent1"/>
                </a:solidFill>
              </a:defRPr>
            </a:lvl5pPr>
            <a:lvl6pPr lvl="5" algn="ctr" rtl="0">
              <a:spcBef>
                <a:spcPts val="0"/>
              </a:spcBef>
              <a:spcAft>
                <a:spcPts val="0"/>
              </a:spcAft>
              <a:buClr>
                <a:schemeClr val="accent1"/>
              </a:buClr>
              <a:buSzPts val="3600"/>
              <a:buNone/>
              <a:defRPr sz="3600">
                <a:solidFill>
                  <a:schemeClr val="accent1"/>
                </a:solidFill>
              </a:defRPr>
            </a:lvl6pPr>
            <a:lvl7pPr lvl="6" algn="ctr" rtl="0">
              <a:spcBef>
                <a:spcPts val="0"/>
              </a:spcBef>
              <a:spcAft>
                <a:spcPts val="0"/>
              </a:spcAft>
              <a:buClr>
                <a:schemeClr val="accent1"/>
              </a:buClr>
              <a:buSzPts val="3600"/>
              <a:buNone/>
              <a:defRPr sz="3600">
                <a:solidFill>
                  <a:schemeClr val="accent1"/>
                </a:solidFill>
              </a:defRPr>
            </a:lvl7pPr>
            <a:lvl8pPr lvl="7" algn="ctr" rtl="0">
              <a:spcBef>
                <a:spcPts val="0"/>
              </a:spcBef>
              <a:spcAft>
                <a:spcPts val="0"/>
              </a:spcAft>
              <a:buClr>
                <a:schemeClr val="accent1"/>
              </a:buClr>
              <a:buSzPts val="3600"/>
              <a:buNone/>
              <a:defRPr sz="3600">
                <a:solidFill>
                  <a:schemeClr val="accent1"/>
                </a:solidFill>
              </a:defRPr>
            </a:lvl8pPr>
            <a:lvl9pPr lvl="8" algn="ctr" rtl="0">
              <a:spcBef>
                <a:spcPts val="0"/>
              </a:spcBef>
              <a:spcAft>
                <a:spcPts val="0"/>
              </a:spcAft>
              <a:buClr>
                <a:schemeClr val="accent1"/>
              </a:buClr>
              <a:buSzPts val="3600"/>
              <a:buNone/>
              <a:defRPr sz="3600">
                <a:solidFill>
                  <a:schemeClr val="accent1"/>
                </a:solidFill>
              </a:defRPr>
            </a:lvl9pPr>
          </a:lstStyle>
          <a:p>
            <a:r>
              <a:t>xx%</a:t>
            </a:r>
          </a:p>
        </p:txBody>
      </p:sp>
      <p:sp>
        <p:nvSpPr>
          <p:cNvPr id="987" name="Google Shape;987;p20"/>
          <p:cNvSpPr txBox="1">
            <a:spLocks noGrp="1"/>
          </p:cNvSpPr>
          <p:nvPr>
            <p:ph type="subTitle" idx="1"/>
          </p:nvPr>
        </p:nvSpPr>
        <p:spPr>
          <a:xfrm>
            <a:off x="2825496" y="1225296"/>
            <a:ext cx="3483900" cy="274200"/>
          </a:xfrm>
          <a:prstGeom prst="rect">
            <a:avLst/>
          </a:prstGeom>
          <a:noFill/>
          <a:ln>
            <a:noFill/>
          </a:ln>
        </p:spPr>
        <p:txBody>
          <a:bodyPr spcFirstLastPara="1" wrap="square" lIns="121897" tIns="121897" rIns="121897" bIns="121897" anchor="ctr" anchorCtr="0">
            <a:noAutofit/>
          </a:bodyPr>
          <a:lstStyle>
            <a:lvl1pPr lvl="0"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1pPr>
            <a:lvl2pPr lvl="1"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2pPr>
            <a:lvl3pPr lvl="2"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3pPr>
            <a:lvl4pPr lvl="3"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4pPr>
            <a:lvl5pPr lvl="4"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5pPr>
            <a:lvl6pPr lvl="5"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6pPr>
            <a:lvl7pPr lvl="6"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7pPr>
            <a:lvl8pPr lvl="7"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8pPr>
            <a:lvl9pPr lvl="8"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9pPr>
          </a:lstStyle>
          <a:p>
            <a:endParaRPr/>
          </a:p>
        </p:txBody>
      </p:sp>
      <p:sp>
        <p:nvSpPr>
          <p:cNvPr id="988" name="Google Shape;988;p20"/>
          <p:cNvSpPr txBox="1">
            <a:spLocks noGrp="1"/>
          </p:cNvSpPr>
          <p:nvPr>
            <p:ph type="title" idx="2" hasCustomPrompt="1"/>
          </p:nvPr>
        </p:nvSpPr>
        <p:spPr>
          <a:xfrm>
            <a:off x="2825496" y="2185416"/>
            <a:ext cx="3483900" cy="567000"/>
          </a:xfrm>
          <a:prstGeom prst="rect">
            <a:avLst/>
          </a:prstGeom>
        </p:spPr>
        <p:txBody>
          <a:bodyPr spcFirstLastPara="1" wrap="square" lIns="121897" tIns="121897" rIns="121897" bIns="121897" anchor="b" anchorCtr="0">
            <a:noAutofit/>
          </a:bodyPr>
          <a:lstStyle>
            <a:lvl1pPr lvl="0" algn="ctr" rtl="0">
              <a:spcBef>
                <a:spcPts val="0"/>
              </a:spcBef>
              <a:spcAft>
                <a:spcPts val="0"/>
              </a:spcAft>
              <a:buClr>
                <a:schemeClr val="accent1"/>
              </a:buClr>
              <a:buSzPts val="3600"/>
              <a:buNone/>
              <a:defRPr sz="3600">
                <a:solidFill>
                  <a:schemeClr val="accent1"/>
                </a:solidFill>
              </a:defRPr>
            </a:lvl1pPr>
            <a:lvl2pPr lvl="1" algn="ctr" rtl="0">
              <a:spcBef>
                <a:spcPts val="0"/>
              </a:spcBef>
              <a:spcAft>
                <a:spcPts val="0"/>
              </a:spcAft>
              <a:buClr>
                <a:schemeClr val="accent1"/>
              </a:buClr>
              <a:buSzPts val="3600"/>
              <a:buNone/>
              <a:defRPr sz="3600">
                <a:solidFill>
                  <a:schemeClr val="accent1"/>
                </a:solidFill>
              </a:defRPr>
            </a:lvl2pPr>
            <a:lvl3pPr lvl="2" algn="ctr" rtl="0">
              <a:spcBef>
                <a:spcPts val="0"/>
              </a:spcBef>
              <a:spcAft>
                <a:spcPts val="0"/>
              </a:spcAft>
              <a:buClr>
                <a:schemeClr val="accent1"/>
              </a:buClr>
              <a:buSzPts val="3600"/>
              <a:buNone/>
              <a:defRPr sz="3600">
                <a:solidFill>
                  <a:schemeClr val="accent1"/>
                </a:solidFill>
              </a:defRPr>
            </a:lvl3pPr>
            <a:lvl4pPr lvl="3" algn="ctr" rtl="0">
              <a:spcBef>
                <a:spcPts val="0"/>
              </a:spcBef>
              <a:spcAft>
                <a:spcPts val="0"/>
              </a:spcAft>
              <a:buClr>
                <a:schemeClr val="accent1"/>
              </a:buClr>
              <a:buSzPts val="3600"/>
              <a:buNone/>
              <a:defRPr sz="3600">
                <a:solidFill>
                  <a:schemeClr val="accent1"/>
                </a:solidFill>
              </a:defRPr>
            </a:lvl4pPr>
            <a:lvl5pPr lvl="4" algn="ctr" rtl="0">
              <a:spcBef>
                <a:spcPts val="0"/>
              </a:spcBef>
              <a:spcAft>
                <a:spcPts val="0"/>
              </a:spcAft>
              <a:buClr>
                <a:schemeClr val="accent1"/>
              </a:buClr>
              <a:buSzPts val="3600"/>
              <a:buNone/>
              <a:defRPr sz="3600">
                <a:solidFill>
                  <a:schemeClr val="accent1"/>
                </a:solidFill>
              </a:defRPr>
            </a:lvl5pPr>
            <a:lvl6pPr lvl="5" algn="ctr" rtl="0">
              <a:spcBef>
                <a:spcPts val="0"/>
              </a:spcBef>
              <a:spcAft>
                <a:spcPts val="0"/>
              </a:spcAft>
              <a:buClr>
                <a:schemeClr val="accent1"/>
              </a:buClr>
              <a:buSzPts val="3600"/>
              <a:buNone/>
              <a:defRPr sz="3600">
                <a:solidFill>
                  <a:schemeClr val="accent1"/>
                </a:solidFill>
              </a:defRPr>
            </a:lvl6pPr>
            <a:lvl7pPr lvl="6" algn="ctr" rtl="0">
              <a:spcBef>
                <a:spcPts val="0"/>
              </a:spcBef>
              <a:spcAft>
                <a:spcPts val="0"/>
              </a:spcAft>
              <a:buClr>
                <a:schemeClr val="accent1"/>
              </a:buClr>
              <a:buSzPts val="3600"/>
              <a:buNone/>
              <a:defRPr sz="3600">
                <a:solidFill>
                  <a:schemeClr val="accent1"/>
                </a:solidFill>
              </a:defRPr>
            </a:lvl7pPr>
            <a:lvl8pPr lvl="7" algn="ctr" rtl="0">
              <a:spcBef>
                <a:spcPts val="0"/>
              </a:spcBef>
              <a:spcAft>
                <a:spcPts val="0"/>
              </a:spcAft>
              <a:buClr>
                <a:schemeClr val="accent1"/>
              </a:buClr>
              <a:buSzPts val="3600"/>
              <a:buNone/>
              <a:defRPr sz="3600">
                <a:solidFill>
                  <a:schemeClr val="accent1"/>
                </a:solidFill>
              </a:defRPr>
            </a:lvl8pPr>
            <a:lvl9pPr lvl="8" algn="ctr" rtl="0">
              <a:spcBef>
                <a:spcPts val="0"/>
              </a:spcBef>
              <a:spcAft>
                <a:spcPts val="0"/>
              </a:spcAft>
              <a:buClr>
                <a:schemeClr val="accent1"/>
              </a:buClr>
              <a:buSzPts val="3600"/>
              <a:buNone/>
              <a:defRPr sz="3600">
                <a:solidFill>
                  <a:schemeClr val="accent1"/>
                </a:solidFill>
              </a:defRPr>
            </a:lvl9pPr>
          </a:lstStyle>
          <a:p>
            <a:r>
              <a:t>xx%</a:t>
            </a:r>
          </a:p>
        </p:txBody>
      </p:sp>
      <p:sp>
        <p:nvSpPr>
          <p:cNvPr id="989" name="Google Shape;989;p20"/>
          <p:cNvSpPr txBox="1">
            <a:spLocks noGrp="1"/>
          </p:cNvSpPr>
          <p:nvPr>
            <p:ph type="subTitle" idx="3"/>
          </p:nvPr>
        </p:nvSpPr>
        <p:spPr>
          <a:xfrm>
            <a:off x="2825496" y="2697480"/>
            <a:ext cx="3483900" cy="274200"/>
          </a:xfrm>
          <a:prstGeom prst="rect">
            <a:avLst/>
          </a:prstGeom>
          <a:noFill/>
          <a:ln>
            <a:noFill/>
          </a:ln>
        </p:spPr>
        <p:txBody>
          <a:bodyPr spcFirstLastPara="1" wrap="square" lIns="121897" tIns="121897" rIns="121897" bIns="121897" anchor="ctr" anchorCtr="0">
            <a:noAutofit/>
          </a:bodyPr>
          <a:lstStyle>
            <a:lvl1pPr lvl="0"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1pPr>
            <a:lvl2pPr lvl="1"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2pPr>
            <a:lvl3pPr lvl="2"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3pPr>
            <a:lvl4pPr lvl="3"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4pPr>
            <a:lvl5pPr lvl="4"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5pPr>
            <a:lvl6pPr lvl="5"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6pPr>
            <a:lvl7pPr lvl="6"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7pPr>
            <a:lvl8pPr lvl="7"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8pPr>
            <a:lvl9pPr lvl="8"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9pPr>
          </a:lstStyle>
          <a:p>
            <a:endParaRPr/>
          </a:p>
        </p:txBody>
      </p:sp>
      <p:sp>
        <p:nvSpPr>
          <p:cNvPr id="990" name="Google Shape;990;p20"/>
          <p:cNvSpPr txBox="1">
            <a:spLocks noGrp="1"/>
          </p:cNvSpPr>
          <p:nvPr>
            <p:ph type="title" idx="4" hasCustomPrompt="1"/>
          </p:nvPr>
        </p:nvSpPr>
        <p:spPr>
          <a:xfrm>
            <a:off x="2825496" y="3648456"/>
            <a:ext cx="3483900" cy="567000"/>
          </a:xfrm>
          <a:prstGeom prst="rect">
            <a:avLst/>
          </a:prstGeom>
        </p:spPr>
        <p:txBody>
          <a:bodyPr spcFirstLastPara="1" wrap="square" lIns="121897" tIns="121897" rIns="121897" bIns="121897" anchor="b" anchorCtr="0">
            <a:noAutofit/>
          </a:bodyPr>
          <a:lstStyle>
            <a:lvl1pPr lvl="0" algn="ctr" rtl="0">
              <a:spcBef>
                <a:spcPts val="0"/>
              </a:spcBef>
              <a:spcAft>
                <a:spcPts val="0"/>
              </a:spcAft>
              <a:buClr>
                <a:schemeClr val="accent1"/>
              </a:buClr>
              <a:buSzPts val="3600"/>
              <a:buNone/>
              <a:defRPr sz="3600">
                <a:solidFill>
                  <a:schemeClr val="accent1"/>
                </a:solidFill>
              </a:defRPr>
            </a:lvl1pPr>
            <a:lvl2pPr lvl="1" algn="ctr" rtl="0">
              <a:spcBef>
                <a:spcPts val="0"/>
              </a:spcBef>
              <a:spcAft>
                <a:spcPts val="0"/>
              </a:spcAft>
              <a:buClr>
                <a:schemeClr val="accent1"/>
              </a:buClr>
              <a:buSzPts val="3600"/>
              <a:buNone/>
              <a:defRPr sz="3600">
                <a:solidFill>
                  <a:schemeClr val="accent1"/>
                </a:solidFill>
              </a:defRPr>
            </a:lvl2pPr>
            <a:lvl3pPr lvl="2" algn="ctr" rtl="0">
              <a:spcBef>
                <a:spcPts val="0"/>
              </a:spcBef>
              <a:spcAft>
                <a:spcPts val="0"/>
              </a:spcAft>
              <a:buClr>
                <a:schemeClr val="accent1"/>
              </a:buClr>
              <a:buSzPts val="3600"/>
              <a:buNone/>
              <a:defRPr sz="3600">
                <a:solidFill>
                  <a:schemeClr val="accent1"/>
                </a:solidFill>
              </a:defRPr>
            </a:lvl3pPr>
            <a:lvl4pPr lvl="3" algn="ctr" rtl="0">
              <a:spcBef>
                <a:spcPts val="0"/>
              </a:spcBef>
              <a:spcAft>
                <a:spcPts val="0"/>
              </a:spcAft>
              <a:buClr>
                <a:schemeClr val="accent1"/>
              </a:buClr>
              <a:buSzPts val="3600"/>
              <a:buNone/>
              <a:defRPr sz="3600">
                <a:solidFill>
                  <a:schemeClr val="accent1"/>
                </a:solidFill>
              </a:defRPr>
            </a:lvl4pPr>
            <a:lvl5pPr lvl="4" algn="ctr" rtl="0">
              <a:spcBef>
                <a:spcPts val="0"/>
              </a:spcBef>
              <a:spcAft>
                <a:spcPts val="0"/>
              </a:spcAft>
              <a:buClr>
                <a:schemeClr val="accent1"/>
              </a:buClr>
              <a:buSzPts val="3600"/>
              <a:buNone/>
              <a:defRPr sz="3600">
                <a:solidFill>
                  <a:schemeClr val="accent1"/>
                </a:solidFill>
              </a:defRPr>
            </a:lvl5pPr>
            <a:lvl6pPr lvl="5" algn="ctr" rtl="0">
              <a:spcBef>
                <a:spcPts val="0"/>
              </a:spcBef>
              <a:spcAft>
                <a:spcPts val="0"/>
              </a:spcAft>
              <a:buClr>
                <a:schemeClr val="accent1"/>
              </a:buClr>
              <a:buSzPts val="3600"/>
              <a:buNone/>
              <a:defRPr sz="3600">
                <a:solidFill>
                  <a:schemeClr val="accent1"/>
                </a:solidFill>
              </a:defRPr>
            </a:lvl6pPr>
            <a:lvl7pPr lvl="6" algn="ctr" rtl="0">
              <a:spcBef>
                <a:spcPts val="0"/>
              </a:spcBef>
              <a:spcAft>
                <a:spcPts val="0"/>
              </a:spcAft>
              <a:buClr>
                <a:schemeClr val="accent1"/>
              </a:buClr>
              <a:buSzPts val="3600"/>
              <a:buNone/>
              <a:defRPr sz="3600">
                <a:solidFill>
                  <a:schemeClr val="accent1"/>
                </a:solidFill>
              </a:defRPr>
            </a:lvl7pPr>
            <a:lvl8pPr lvl="7" algn="ctr" rtl="0">
              <a:spcBef>
                <a:spcPts val="0"/>
              </a:spcBef>
              <a:spcAft>
                <a:spcPts val="0"/>
              </a:spcAft>
              <a:buClr>
                <a:schemeClr val="accent1"/>
              </a:buClr>
              <a:buSzPts val="3600"/>
              <a:buNone/>
              <a:defRPr sz="3600">
                <a:solidFill>
                  <a:schemeClr val="accent1"/>
                </a:solidFill>
              </a:defRPr>
            </a:lvl8pPr>
            <a:lvl9pPr lvl="8" algn="ctr" rtl="0">
              <a:spcBef>
                <a:spcPts val="0"/>
              </a:spcBef>
              <a:spcAft>
                <a:spcPts val="0"/>
              </a:spcAft>
              <a:buClr>
                <a:schemeClr val="accent1"/>
              </a:buClr>
              <a:buSzPts val="3600"/>
              <a:buNone/>
              <a:defRPr sz="3600">
                <a:solidFill>
                  <a:schemeClr val="accent1"/>
                </a:solidFill>
              </a:defRPr>
            </a:lvl9pPr>
          </a:lstStyle>
          <a:p>
            <a:r>
              <a:t>xx%</a:t>
            </a:r>
          </a:p>
        </p:txBody>
      </p:sp>
      <p:sp>
        <p:nvSpPr>
          <p:cNvPr id="991" name="Google Shape;991;p20"/>
          <p:cNvSpPr txBox="1">
            <a:spLocks noGrp="1"/>
          </p:cNvSpPr>
          <p:nvPr>
            <p:ph type="subTitle" idx="5"/>
          </p:nvPr>
        </p:nvSpPr>
        <p:spPr>
          <a:xfrm>
            <a:off x="2834640" y="4169664"/>
            <a:ext cx="3483900" cy="274200"/>
          </a:xfrm>
          <a:prstGeom prst="rect">
            <a:avLst/>
          </a:prstGeom>
          <a:noFill/>
          <a:ln>
            <a:noFill/>
          </a:ln>
        </p:spPr>
        <p:txBody>
          <a:bodyPr spcFirstLastPara="1" wrap="square" lIns="121897" tIns="121897" rIns="121897" bIns="121897" anchor="ctr" anchorCtr="0">
            <a:noAutofit/>
          </a:bodyPr>
          <a:lstStyle>
            <a:lvl1pPr lvl="0"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1pPr>
            <a:lvl2pPr lvl="1"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2pPr>
            <a:lvl3pPr lvl="2"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3pPr>
            <a:lvl4pPr lvl="3"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4pPr>
            <a:lvl5pPr lvl="4"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5pPr>
            <a:lvl6pPr lvl="5"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6pPr>
            <a:lvl7pPr lvl="6"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7pPr>
            <a:lvl8pPr lvl="7"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8pPr>
            <a:lvl9pPr lvl="8" algn="ctr" rtl="0">
              <a:spcBef>
                <a:spcPts val="0"/>
              </a:spcBef>
              <a:spcAft>
                <a:spcPts val="0"/>
              </a:spcAft>
              <a:buNone/>
              <a:defRPr>
                <a:solidFill>
                  <a:schemeClr val="dk2"/>
                </a:solidFill>
                <a:latin typeface="Barlow Semi Condensed"/>
                <a:ea typeface="Barlow Semi Condensed"/>
                <a:cs typeface="Barlow Semi Condensed"/>
                <a:sym typeface="Barlow Semi Condensed"/>
              </a:defRPr>
            </a:lvl9pPr>
          </a:lstStyle>
          <a:p>
            <a:endParaRPr/>
          </a:p>
        </p:txBody>
      </p:sp>
      <p:cxnSp>
        <p:nvCxnSpPr>
          <p:cNvPr id="992" name="Google Shape;992;p20"/>
          <p:cNvCxnSpPr/>
          <p:nvPr/>
        </p:nvCxnSpPr>
        <p:spPr>
          <a:xfrm rot="5400000">
            <a:off x="7269708" y="3324550"/>
            <a:ext cx="1133100" cy="306300"/>
          </a:xfrm>
          <a:prstGeom prst="straightConnector1">
            <a:avLst/>
          </a:prstGeom>
          <a:noFill/>
          <a:ln w="9525" cap="flat" cmpd="sng">
            <a:solidFill>
              <a:schemeClr val="dk2"/>
            </a:solidFill>
            <a:prstDash val="solid"/>
            <a:round/>
            <a:headEnd type="none" w="med" len="med"/>
            <a:tailEnd type="none" w="med" len="med"/>
          </a:ln>
        </p:spPr>
      </p:cxnSp>
      <p:cxnSp>
        <p:nvCxnSpPr>
          <p:cNvPr id="993" name="Google Shape;993;p20"/>
          <p:cNvCxnSpPr/>
          <p:nvPr/>
        </p:nvCxnSpPr>
        <p:spPr>
          <a:xfrm rot="-5400000" flipH="1">
            <a:off x="7181408" y="2082400"/>
            <a:ext cx="1342200" cy="315300"/>
          </a:xfrm>
          <a:prstGeom prst="straightConnector1">
            <a:avLst/>
          </a:prstGeom>
          <a:noFill/>
          <a:ln w="9525" cap="flat" cmpd="sng">
            <a:solidFill>
              <a:schemeClr val="dk2"/>
            </a:solidFill>
            <a:prstDash val="solid"/>
            <a:round/>
            <a:headEnd type="none" w="med" len="med"/>
            <a:tailEnd type="none" w="med" len="med"/>
          </a:ln>
        </p:spPr>
      </p:cxnSp>
      <p:cxnSp>
        <p:nvCxnSpPr>
          <p:cNvPr id="994" name="Google Shape;994;p20"/>
          <p:cNvCxnSpPr/>
          <p:nvPr/>
        </p:nvCxnSpPr>
        <p:spPr>
          <a:xfrm rot="5400000">
            <a:off x="7232433" y="736375"/>
            <a:ext cx="1332000" cy="392100"/>
          </a:xfrm>
          <a:prstGeom prst="straightConnector1">
            <a:avLst/>
          </a:prstGeom>
          <a:noFill/>
          <a:ln w="9525" cap="flat" cmpd="sng">
            <a:solidFill>
              <a:schemeClr val="dk2"/>
            </a:solidFill>
            <a:prstDash val="solid"/>
            <a:round/>
            <a:headEnd type="none" w="med" len="med"/>
            <a:tailEnd type="none" w="med" len="med"/>
          </a:ln>
        </p:spPr>
      </p:cxnSp>
      <p:cxnSp>
        <p:nvCxnSpPr>
          <p:cNvPr id="995" name="Google Shape;995;p20"/>
          <p:cNvCxnSpPr/>
          <p:nvPr/>
        </p:nvCxnSpPr>
        <p:spPr>
          <a:xfrm rot="5400000">
            <a:off x="8168433" y="-66600"/>
            <a:ext cx="273900" cy="407100"/>
          </a:xfrm>
          <a:prstGeom prst="straightConnector1">
            <a:avLst/>
          </a:prstGeom>
          <a:noFill/>
          <a:ln w="9525" cap="flat" cmpd="sng">
            <a:solidFill>
              <a:schemeClr val="dk2"/>
            </a:solidFill>
            <a:prstDash val="solid"/>
            <a:round/>
            <a:headEnd type="none" w="med" len="med"/>
            <a:tailEnd type="none" w="med" len="med"/>
          </a:ln>
        </p:spPr>
      </p:cxnSp>
      <p:grpSp>
        <p:nvGrpSpPr>
          <p:cNvPr id="996" name="Google Shape;996;p20"/>
          <p:cNvGrpSpPr/>
          <p:nvPr/>
        </p:nvGrpSpPr>
        <p:grpSpPr>
          <a:xfrm rot="5400000" flipH="1">
            <a:off x="7407333" y="1284925"/>
            <a:ext cx="581800" cy="582350"/>
            <a:chOff x="8064275" y="887850"/>
            <a:chExt cx="581800" cy="582350"/>
          </a:xfrm>
        </p:grpSpPr>
        <p:sp>
          <p:nvSpPr>
            <p:cNvPr id="997" name="Google Shape;997;p20"/>
            <p:cNvSpPr/>
            <p:nvPr/>
          </p:nvSpPr>
          <p:spPr>
            <a:xfrm>
              <a:off x="8068750" y="892875"/>
              <a:ext cx="572875" cy="572325"/>
            </a:xfrm>
            <a:custGeom>
              <a:avLst/>
              <a:gdLst/>
              <a:ahLst/>
              <a:cxnLst/>
              <a:rect l="l" t="t" r="r" b="b"/>
              <a:pathLst>
                <a:path w="22915" h="22893" extrusionOk="0">
                  <a:moveTo>
                    <a:pt x="11457" y="0"/>
                  </a:moveTo>
                  <a:cubicBezTo>
                    <a:pt x="5127" y="0"/>
                    <a:pt x="0" y="5127"/>
                    <a:pt x="0" y="11435"/>
                  </a:cubicBezTo>
                  <a:cubicBezTo>
                    <a:pt x="0" y="17766"/>
                    <a:pt x="5127" y="22892"/>
                    <a:pt x="11457" y="22892"/>
                  </a:cubicBezTo>
                  <a:cubicBezTo>
                    <a:pt x="17788" y="22892"/>
                    <a:pt x="22914" y="17766"/>
                    <a:pt x="22914" y="11435"/>
                  </a:cubicBezTo>
                  <a:cubicBezTo>
                    <a:pt x="22914" y="5127"/>
                    <a:pt x="17788" y="0"/>
                    <a:pt x="11457" y="0"/>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998" name="Google Shape;998;p20"/>
            <p:cNvSpPr/>
            <p:nvPr/>
          </p:nvSpPr>
          <p:spPr>
            <a:xfrm>
              <a:off x="8064275" y="887850"/>
              <a:ext cx="581800" cy="582350"/>
            </a:xfrm>
            <a:custGeom>
              <a:avLst/>
              <a:gdLst/>
              <a:ahLst/>
              <a:cxnLst/>
              <a:rect l="l" t="t" r="r" b="b"/>
              <a:pathLst>
                <a:path w="23272" h="23294" extrusionOk="0">
                  <a:moveTo>
                    <a:pt x="11636" y="380"/>
                  </a:moveTo>
                  <a:cubicBezTo>
                    <a:pt x="14757" y="380"/>
                    <a:pt x="17566" y="1628"/>
                    <a:pt x="19594" y="3679"/>
                  </a:cubicBezTo>
                  <a:cubicBezTo>
                    <a:pt x="21645" y="5707"/>
                    <a:pt x="22893" y="8538"/>
                    <a:pt x="22893" y="11636"/>
                  </a:cubicBezTo>
                  <a:cubicBezTo>
                    <a:pt x="22893" y="14757"/>
                    <a:pt x="21645" y="17565"/>
                    <a:pt x="19594" y="19616"/>
                  </a:cubicBezTo>
                  <a:cubicBezTo>
                    <a:pt x="17566" y="21644"/>
                    <a:pt x="14757" y="22915"/>
                    <a:pt x="11636" y="22915"/>
                  </a:cubicBezTo>
                  <a:cubicBezTo>
                    <a:pt x="8516" y="22915"/>
                    <a:pt x="5707" y="21644"/>
                    <a:pt x="3657" y="19616"/>
                  </a:cubicBezTo>
                  <a:cubicBezTo>
                    <a:pt x="1628" y="17565"/>
                    <a:pt x="358" y="14757"/>
                    <a:pt x="358" y="11636"/>
                  </a:cubicBezTo>
                  <a:cubicBezTo>
                    <a:pt x="358" y="8538"/>
                    <a:pt x="1628" y="5707"/>
                    <a:pt x="3657" y="3679"/>
                  </a:cubicBezTo>
                  <a:cubicBezTo>
                    <a:pt x="5707" y="1628"/>
                    <a:pt x="8516" y="380"/>
                    <a:pt x="11636" y="380"/>
                  </a:cubicBezTo>
                  <a:close/>
                  <a:moveTo>
                    <a:pt x="11636" y="1"/>
                  </a:moveTo>
                  <a:cubicBezTo>
                    <a:pt x="5217" y="1"/>
                    <a:pt x="1" y="5217"/>
                    <a:pt x="1" y="11636"/>
                  </a:cubicBezTo>
                  <a:cubicBezTo>
                    <a:pt x="1" y="18078"/>
                    <a:pt x="5217" y="23294"/>
                    <a:pt x="11636" y="23294"/>
                  </a:cubicBezTo>
                  <a:cubicBezTo>
                    <a:pt x="18056" y="23294"/>
                    <a:pt x="23272" y="18078"/>
                    <a:pt x="23272" y="11636"/>
                  </a:cubicBezTo>
                  <a:cubicBezTo>
                    <a:pt x="23272" y="5217"/>
                    <a:pt x="18056" y="1"/>
                    <a:pt x="11636"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999" name="Google Shape;999;p20"/>
            <p:cNvSpPr/>
            <p:nvPr/>
          </p:nvSpPr>
          <p:spPr>
            <a:xfrm>
              <a:off x="8141175" y="965325"/>
              <a:ext cx="428000" cy="427425"/>
            </a:xfrm>
            <a:custGeom>
              <a:avLst/>
              <a:gdLst/>
              <a:ahLst/>
              <a:cxnLst/>
              <a:rect l="l" t="t" r="r" b="b"/>
              <a:pathLst>
                <a:path w="17120" h="17097" extrusionOk="0">
                  <a:moveTo>
                    <a:pt x="8560" y="0"/>
                  </a:moveTo>
                  <a:cubicBezTo>
                    <a:pt x="3835" y="0"/>
                    <a:pt x="1" y="3812"/>
                    <a:pt x="1" y="8537"/>
                  </a:cubicBezTo>
                  <a:cubicBezTo>
                    <a:pt x="1" y="13263"/>
                    <a:pt x="3835" y="17097"/>
                    <a:pt x="8560" y="17097"/>
                  </a:cubicBezTo>
                  <a:cubicBezTo>
                    <a:pt x="13286" y="17097"/>
                    <a:pt x="17120" y="13263"/>
                    <a:pt x="17120" y="8537"/>
                  </a:cubicBezTo>
                  <a:cubicBezTo>
                    <a:pt x="17120" y="3812"/>
                    <a:pt x="13286" y="0"/>
                    <a:pt x="8560"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00" name="Google Shape;1000;p20"/>
            <p:cNvSpPr/>
            <p:nvPr/>
          </p:nvSpPr>
          <p:spPr>
            <a:xfrm>
              <a:off x="8136725" y="960300"/>
              <a:ext cx="436925" cy="437475"/>
            </a:xfrm>
            <a:custGeom>
              <a:avLst/>
              <a:gdLst/>
              <a:ahLst/>
              <a:cxnLst/>
              <a:rect l="l" t="t" r="r" b="b"/>
              <a:pathLst>
                <a:path w="17477" h="17499" extrusionOk="0">
                  <a:moveTo>
                    <a:pt x="8738" y="379"/>
                  </a:moveTo>
                  <a:cubicBezTo>
                    <a:pt x="11057" y="379"/>
                    <a:pt x="13130" y="1316"/>
                    <a:pt x="14645" y="2831"/>
                  </a:cubicBezTo>
                  <a:cubicBezTo>
                    <a:pt x="16161" y="4347"/>
                    <a:pt x="17097" y="6442"/>
                    <a:pt x="17097" y="8738"/>
                  </a:cubicBezTo>
                  <a:cubicBezTo>
                    <a:pt x="17097" y="11056"/>
                    <a:pt x="16161" y="13152"/>
                    <a:pt x="14645" y="14667"/>
                  </a:cubicBezTo>
                  <a:cubicBezTo>
                    <a:pt x="13130" y="16183"/>
                    <a:pt x="11057" y="17119"/>
                    <a:pt x="8738" y="17119"/>
                  </a:cubicBezTo>
                  <a:cubicBezTo>
                    <a:pt x="6420" y="17119"/>
                    <a:pt x="4325" y="16183"/>
                    <a:pt x="2809" y="14667"/>
                  </a:cubicBezTo>
                  <a:cubicBezTo>
                    <a:pt x="1293" y="13152"/>
                    <a:pt x="357" y="11056"/>
                    <a:pt x="357" y="8738"/>
                  </a:cubicBezTo>
                  <a:cubicBezTo>
                    <a:pt x="357" y="6442"/>
                    <a:pt x="1293" y="4347"/>
                    <a:pt x="2809" y="2831"/>
                  </a:cubicBezTo>
                  <a:cubicBezTo>
                    <a:pt x="4325" y="1316"/>
                    <a:pt x="6420" y="379"/>
                    <a:pt x="8738" y="379"/>
                  </a:cubicBezTo>
                  <a:close/>
                  <a:moveTo>
                    <a:pt x="8738" y="0"/>
                  </a:moveTo>
                  <a:cubicBezTo>
                    <a:pt x="3901" y="0"/>
                    <a:pt x="1" y="3924"/>
                    <a:pt x="1" y="8738"/>
                  </a:cubicBezTo>
                  <a:cubicBezTo>
                    <a:pt x="1" y="13575"/>
                    <a:pt x="3901" y="17498"/>
                    <a:pt x="8738" y="17498"/>
                  </a:cubicBezTo>
                  <a:cubicBezTo>
                    <a:pt x="13553" y="17498"/>
                    <a:pt x="17476" y="13575"/>
                    <a:pt x="17476" y="8738"/>
                  </a:cubicBezTo>
                  <a:cubicBezTo>
                    <a:pt x="17476" y="3924"/>
                    <a:pt x="13553" y="0"/>
                    <a:pt x="8738"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01" name="Google Shape;1001;p20"/>
            <p:cNvSpPr/>
            <p:nvPr/>
          </p:nvSpPr>
          <p:spPr>
            <a:xfrm>
              <a:off x="8219750" y="1043875"/>
              <a:ext cx="270300" cy="270300"/>
            </a:xfrm>
            <a:custGeom>
              <a:avLst/>
              <a:gdLst/>
              <a:ahLst/>
              <a:cxnLst/>
              <a:rect l="l" t="t" r="r" b="b"/>
              <a:pathLst>
                <a:path w="10812" h="10812" extrusionOk="0">
                  <a:moveTo>
                    <a:pt x="5417" y="1"/>
                  </a:moveTo>
                  <a:cubicBezTo>
                    <a:pt x="2430" y="1"/>
                    <a:pt x="1" y="2431"/>
                    <a:pt x="1" y="5395"/>
                  </a:cubicBezTo>
                  <a:cubicBezTo>
                    <a:pt x="1" y="8382"/>
                    <a:pt x="2430" y="10812"/>
                    <a:pt x="5417" y="10812"/>
                  </a:cubicBezTo>
                  <a:cubicBezTo>
                    <a:pt x="8404" y="10812"/>
                    <a:pt x="10812" y="8382"/>
                    <a:pt x="10812" y="5395"/>
                  </a:cubicBezTo>
                  <a:cubicBezTo>
                    <a:pt x="10812" y="2431"/>
                    <a:pt x="8404" y="1"/>
                    <a:pt x="5417"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02" name="Google Shape;1002;p20"/>
            <p:cNvSpPr/>
            <p:nvPr/>
          </p:nvSpPr>
          <p:spPr>
            <a:xfrm>
              <a:off x="8215300" y="1039425"/>
              <a:ext cx="279775" cy="279225"/>
            </a:xfrm>
            <a:custGeom>
              <a:avLst/>
              <a:gdLst/>
              <a:ahLst/>
              <a:cxnLst/>
              <a:rect l="l" t="t" r="r" b="b"/>
              <a:pathLst>
                <a:path w="11191" h="11169" extrusionOk="0">
                  <a:moveTo>
                    <a:pt x="5595" y="357"/>
                  </a:moveTo>
                  <a:cubicBezTo>
                    <a:pt x="7044" y="357"/>
                    <a:pt x="8337" y="937"/>
                    <a:pt x="9273" y="1895"/>
                  </a:cubicBezTo>
                  <a:cubicBezTo>
                    <a:pt x="10232" y="2832"/>
                    <a:pt x="10811" y="4147"/>
                    <a:pt x="10811" y="5573"/>
                  </a:cubicBezTo>
                  <a:cubicBezTo>
                    <a:pt x="10811" y="7022"/>
                    <a:pt x="10232" y="8337"/>
                    <a:pt x="9273" y="9273"/>
                  </a:cubicBezTo>
                  <a:cubicBezTo>
                    <a:pt x="8337" y="10210"/>
                    <a:pt x="7044" y="10789"/>
                    <a:pt x="5595" y="10789"/>
                  </a:cubicBezTo>
                  <a:cubicBezTo>
                    <a:pt x="4147" y="10789"/>
                    <a:pt x="2854" y="10210"/>
                    <a:pt x="1895" y="9273"/>
                  </a:cubicBezTo>
                  <a:cubicBezTo>
                    <a:pt x="959" y="8337"/>
                    <a:pt x="379" y="7022"/>
                    <a:pt x="379" y="5573"/>
                  </a:cubicBezTo>
                  <a:cubicBezTo>
                    <a:pt x="379" y="4147"/>
                    <a:pt x="959" y="2832"/>
                    <a:pt x="1895" y="1895"/>
                  </a:cubicBezTo>
                  <a:cubicBezTo>
                    <a:pt x="2854" y="937"/>
                    <a:pt x="4147" y="357"/>
                    <a:pt x="5595" y="357"/>
                  </a:cubicBezTo>
                  <a:close/>
                  <a:moveTo>
                    <a:pt x="5595" y="1"/>
                  </a:moveTo>
                  <a:cubicBezTo>
                    <a:pt x="2497" y="1"/>
                    <a:pt x="1" y="2497"/>
                    <a:pt x="1" y="5573"/>
                  </a:cubicBezTo>
                  <a:cubicBezTo>
                    <a:pt x="1" y="8672"/>
                    <a:pt x="2497" y="11168"/>
                    <a:pt x="5595" y="11168"/>
                  </a:cubicBezTo>
                  <a:cubicBezTo>
                    <a:pt x="8671" y="11168"/>
                    <a:pt x="11190" y="8672"/>
                    <a:pt x="11190" y="5573"/>
                  </a:cubicBezTo>
                  <a:cubicBezTo>
                    <a:pt x="11190" y="2497"/>
                    <a:pt x="8671" y="1"/>
                    <a:pt x="5595"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1003" name="Google Shape;1003;p20"/>
          <p:cNvGrpSpPr/>
          <p:nvPr/>
        </p:nvGrpSpPr>
        <p:grpSpPr>
          <a:xfrm rot="5400000" flipH="1">
            <a:off x="7869721" y="2754200"/>
            <a:ext cx="292025" cy="292575"/>
            <a:chOff x="7353050" y="316275"/>
            <a:chExt cx="292025" cy="292575"/>
          </a:xfrm>
        </p:grpSpPr>
        <p:sp>
          <p:nvSpPr>
            <p:cNvPr id="1004" name="Google Shape;1004;p20"/>
            <p:cNvSpPr/>
            <p:nvPr/>
          </p:nvSpPr>
          <p:spPr>
            <a:xfrm>
              <a:off x="7358075" y="321275"/>
              <a:ext cx="282550" cy="282550"/>
            </a:xfrm>
            <a:custGeom>
              <a:avLst/>
              <a:gdLst/>
              <a:ahLst/>
              <a:cxnLst/>
              <a:rect l="l" t="t" r="r" b="b"/>
              <a:pathLst>
                <a:path w="11302" h="11302" extrusionOk="0">
                  <a:moveTo>
                    <a:pt x="5640" y="1"/>
                  </a:moveTo>
                  <a:cubicBezTo>
                    <a:pt x="2519" y="1"/>
                    <a:pt x="0" y="2520"/>
                    <a:pt x="0" y="5640"/>
                  </a:cubicBezTo>
                  <a:cubicBezTo>
                    <a:pt x="0" y="8783"/>
                    <a:pt x="2519" y="11302"/>
                    <a:pt x="5640" y="11302"/>
                  </a:cubicBezTo>
                  <a:cubicBezTo>
                    <a:pt x="8783" y="11302"/>
                    <a:pt x="11301" y="8783"/>
                    <a:pt x="11301" y="5640"/>
                  </a:cubicBezTo>
                  <a:cubicBezTo>
                    <a:pt x="11301" y="2520"/>
                    <a:pt x="8783" y="1"/>
                    <a:pt x="5640"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05" name="Google Shape;1005;p20"/>
            <p:cNvSpPr/>
            <p:nvPr/>
          </p:nvSpPr>
          <p:spPr>
            <a:xfrm>
              <a:off x="7353050" y="316275"/>
              <a:ext cx="292025" cy="292575"/>
            </a:xfrm>
            <a:custGeom>
              <a:avLst/>
              <a:gdLst/>
              <a:ahLst/>
              <a:cxnLst/>
              <a:rect l="l" t="t" r="r" b="b"/>
              <a:pathLst>
                <a:path w="11681" h="11703" extrusionOk="0">
                  <a:moveTo>
                    <a:pt x="5841" y="379"/>
                  </a:moveTo>
                  <a:cubicBezTo>
                    <a:pt x="7356" y="379"/>
                    <a:pt x="8716" y="981"/>
                    <a:pt x="9719" y="1984"/>
                  </a:cubicBezTo>
                  <a:cubicBezTo>
                    <a:pt x="10700" y="2965"/>
                    <a:pt x="11324" y="4347"/>
                    <a:pt x="11324" y="5840"/>
                  </a:cubicBezTo>
                  <a:cubicBezTo>
                    <a:pt x="11324" y="7356"/>
                    <a:pt x="10700" y="8738"/>
                    <a:pt x="9719" y="9719"/>
                  </a:cubicBezTo>
                  <a:cubicBezTo>
                    <a:pt x="8716" y="10699"/>
                    <a:pt x="7356" y="11324"/>
                    <a:pt x="5841" y="11324"/>
                  </a:cubicBezTo>
                  <a:cubicBezTo>
                    <a:pt x="4347" y="11324"/>
                    <a:pt x="2965" y="10699"/>
                    <a:pt x="1984" y="9719"/>
                  </a:cubicBezTo>
                  <a:cubicBezTo>
                    <a:pt x="981" y="8738"/>
                    <a:pt x="380" y="7356"/>
                    <a:pt x="380" y="5840"/>
                  </a:cubicBezTo>
                  <a:cubicBezTo>
                    <a:pt x="380" y="4347"/>
                    <a:pt x="981" y="2965"/>
                    <a:pt x="1984" y="1984"/>
                  </a:cubicBezTo>
                  <a:cubicBezTo>
                    <a:pt x="2965" y="981"/>
                    <a:pt x="4347" y="379"/>
                    <a:pt x="5841" y="379"/>
                  </a:cubicBezTo>
                  <a:close/>
                  <a:moveTo>
                    <a:pt x="5841" y="0"/>
                  </a:moveTo>
                  <a:cubicBezTo>
                    <a:pt x="2631" y="0"/>
                    <a:pt x="1" y="2630"/>
                    <a:pt x="1" y="5840"/>
                  </a:cubicBezTo>
                  <a:cubicBezTo>
                    <a:pt x="1" y="9072"/>
                    <a:pt x="2631" y="11703"/>
                    <a:pt x="5841" y="11703"/>
                  </a:cubicBezTo>
                  <a:cubicBezTo>
                    <a:pt x="9073" y="11703"/>
                    <a:pt x="11681" y="9072"/>
                    <a:pt x="11681" y="5840"/>
                  </a:cubicBezTo>
                  <a:cubicBezTo>
                    <a:pt x="11681" y="2630"/>
                    <a:pt x="9073" y="0"/>
                    <a:pt x="5841"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06" name="Google Shape;1006;p20"/>
            <p:cNvSpPr/>
            <p:nvPr/>
          </p:nvSpPr>
          <p:spPr>
            <a:xfrm>
              <a:off x="7419925" y="383125"/>
              <a:ext cx="158275" cy="158300"/>
            </a:xfrm>
            <a:custGeom>
              <a:avLst/>
              <a:gdLst/>
              <a:ahLst/>
              <a:cxnLst/>
              <a:rect l="l" t="t" r="r" b="b"/>
              <a:pathLst>
                <a:path w="6331" h="6332" extrusionOk="0">
                  <a:moveTo>
                    <a:pt x="3166" y="1"/>
                  </a:moveTo>
                  <a:cubicBezTo>
                    <a:pt x="1427" y="1"/>
                    <a:pt x="0" y="1428"/>
                    <a:pt x="0" y="3166"/>
                  </a:cubicBezTo>
                  <a:cubicBezTo>
                    <a:pt x="0" y="4927"/>
                    <a:pt x="1427" y="6331"/>
                    <a:pt x="3166" y="6331"/>
                  </a:cubicBezTo>
                  <a:cubicBezTo>
                    <a:pt x="4927" y="6331"/>
                    <a:pt x="6331" y="4927"/>
                    <a:pt x="6331" y="3166"/>
                  </a:cubicBezTo>
                  <a:cubicBezTo>
                    <a:pt x="6331" y="1428"/>
                    <a:pt x="4927" y="1"/>
                    <a:pt x="3166"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07" name="Google Shape;1007;p20"/>
            <p:cNvSpPr/>
            <p:nvPr/>
          </p:nvSpPr>
          <p:spPr>
            <a:xfrm>
              <a:off x="7415475" y="378675"/>
              <a:ext cx="167750" cy="167775"/>
            </a:xfrm>
            <a:custGeom>
              <a:avLst/>
              <a:gdLst/>
              <a:ahLst/>
              <a:cxnLst/>
              <a:rect l="l" t="t" r="r" b="b"/>
              <a:pathLst>
                <a:path w="6710" h="6711" extrusionOk="0">
                  <a:moveTo>
                    <a:pt x="3344" y="380"/>
                  </a:moveTo>
                  <a:cubicBezTo>
                    <a:pt x="4168" y="380"/>
                    <a:pt x="4926" y="714"/>
                    <a:pt x="5461" y="1249"/>
                  </a:cubicBezTo>
                  <a:cubicBezTo>
                    <a:pt x="5996" y="1784"/>
                    <a:pt x="6330" y="2519"/>
                    <a:pt x="6330" y="3344"/>
                  </a:cubicBezTo>
                  <a:cubicBezTo>
                    <a:pt x="6330" y="4169"/>
                    <a:pt x="5996" y="4927"/>
                    <a:pt x="5461" y="5462"/>
                  </a:cubicBezTo>
                  <a:cubicBezTo>
                    <a:pt x="4926" y="5997"/>
                    <a:pt x="4168" y="6331"/>
                    <a:pt x="3344" y="6331"/>
                  </a:cubicBezTo>
                  <a:cubicBezTo>
                    <a:pt x="2519" y="6331"/>
                    <a:pt x="1783" y="5997"/>
                    <a:pt x="1248" y="5462"/>
                  </a:cubicBezTo>
                  <a:cubicBezTo>
                    <a:pt x="713" y="4927"/>
                    <a:pt x="379" y="4169"/>
                    <a:pt x="379" y="3344"/>
                  </a:cubicBezTo>
                  <a:cubicBezTo>
                    <a:pt x="379" y="2519"/>
                    <a:pt x="713" y="1784"/>
                    <a:pt x="1248" y="1249"/>
                  </a:cubicBezTo>
                  <a:cubicBezTo>
                    <a:pt x="1783" y="714"/>
                    <a:pt x="2519" y="380"/>
                    <a:pt x="3344" y="380"/>
                  </a:cubicBezTo>
                  <a:close/>
                  <a:moveTo>
                    <a:pt x="3344" y="1"/>
                  </a:moveTo>
                  <a:cubicBezTo>
                    <a:pt x="1494" y="1"/>
                    <a:pt x="0" y="1494"/>
                    <a:pt x="0" y="3344"/>
                  </a:cubicBezTo>
                  <a:cubicBezTo>
                    <a:pt x="0" y="5194"/>
                    <a:pt x="1494" y="6710"/>
                    <a:pt x="3344" y="6710"/>
                  </a:cubicBezTo>
                  <a:cubicBezTo>
                    <a:pt x="5194" y="6710"/>
                    <a:pt x="6709" y="5194"/>
                    <a:pt x="6709" y="3344"/>
                  </a:cubicBezTo>
                  <a:cubicBezTo>
                    <a:pt x="6709" y="1494"/>
                    <a:pt x="5194" y="1"/>
                    <a:pt x="3344"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1008" name="Google Shape;1008;p20"/>
          <p:cNvGrpSpPr/>
          <p:nvPr/>
        </p:nvGrpSpPr>
        <p:grpSpPr>
          <a:xfrm rot="5400000" flipH="1">
            <a:off x="8012459" y="178176"/>
            <a:ext cx="175000" cy="175000"/>
            <a:chOff x="8792300" y="321275"/>
            <a:chExt cx="175000" cy="175000"/>
          </a:xfrm>
        </p:grpSpPr>
        <p:sp>
          <p:nvSpPr>
            <p:cNvPr id="1009" name="Google Shape;1009;p20"/>
            <p:cNvSpPr/>
            <p:nvPr/>
          </p:nvSpPr>
          <p:spPr>
            <a:xfrm>
              <a:off x="8796750" y="326300"/>
              <a:ext cx="166100" cy="165525"/>
            </a:xfrm>
            <a:custGeom>
              <a:avLst/>
              <a:gdLst/>
              <a:ahLst/>
              <a:cxnLst/>
              <a:rect l="l" t="t" r="r" b="b"/>
              <a:pathLst>
                <a:path w="6644" h="6621" extrusionOk="0">
                  <a:moveTo>
                    <a:pt x="3322" y="0"/>
                  </a:moveTo>
                  <a:cubicBezTo>
                    <a:pt x="1494" y="0"/>
                    <a:pt x="1" y="1471"/>
                    <a:pt x="1" y="3299"/>
                  </a:cubicBezTo>
                  <a:cubicBezTo>
                    <a:pt x="1" y="5127"/>
                    <a:pt x="1494" y="6620"/>
                    <a:pt x="3322" y="6620"/>
                  </a:cubicBezTo>
                  <a:cubicBezTo>
                    <a:pt x="5150" y="6620"/>
                    <a:pt x="6643" y="5127"/>
                    <a:pt x="6643" y="3299"/>
                  </a:cubicBezTo>
                  <a:cubicBezTo>
                    <a:pt x="6643" y="1471"/>
                    <a:pt x="5150" y="0"/>
                    <a:pt x="3322"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10" name="Google Shape;1010;p20"/>
            <p:cNvSpPr/>
            <p:nvPr/>
          </p:nvSpPr>
          <p:spPr>
            <a:xfrm>
              <a:off x="8792300" y="321275"/>
              <a:ext cx="175000" cy="175000"/>
            </a:xfrm>
            <a:custGeom>
              <a:avLst/>
              <a:gdLst/>
              <a:ahLst/>
              <a:cxnLst/>
              <a:rect l="l" t="t" r="r" b="b"/>
              <a:pathLst>
                <a:path w="7000" h="7000" extrusionOk="0">
                  <a:moveTo>
                    <a:pt x="3500" y="380"/>
                  </a:moveTo>
                  <a:cubicBezTo>
                    <a:pt x="4369" y="380"/>
                    <a:pt x="5149" y="736"/>
                    <a:pt x="5707" y="1293"/>
                  </a:cubicBezTo>
                  <a:cubicBezTo>
                    <a:pt x="6286" y="1873"/>
                    <a:pt x="6621" y="2653"/>
                    <a:pt x="6621" y="3500"/>
                  </a:cubicBezTo>
                  <a:cubicBezTo>
                    <a:pt x="6621" y="4370"/>
                    <a:pt x="6286" y="5150"/>
                    <a:pt x="5707" y="5729"/>
                  </a:cubicBezTo>
                  <a:cubicBezTo>
                    <a:pt x="5149" y="6286"/>
                    <a:pt x="4369" y="6643"/>
                    <a:pt x="3500" y="6643"/>
                  </a:cubicBezTo>
                  <a:cubicBezTo>
                    <a:pt x="2631" y="6643"/>
                    <a:pt x="1851" y="6286"/>
                    <a:pt x="1293" y="5729"/>
                  </a:cubicBezTo>
                  <a:cubicBezTo>
                    <a:pt x="714" y="5150"/>
                    <a:pt x="379" y="4370"/>
                    <a:pt x="379" y="3500"/>
                  </a:cubicBezTo>
                  <a:cubicBezTo>
                    <a:pt x="379" y="2653"/>
                    <a:pt x="714" y="1873"/>
                    <a:pt x="1293" y="1293"/>
                  </a:cubicBezTo>
                  <a:cubicBezTo>
                    <a:pt x="1851" y="736"/>
                    <a:pt x="2631" y="380"/>
                    <a:pt x="3500" y="380"/>
                  </a:cubicBezTo>
                  <a:close/>
                  <a:moveTo>
                    <a:pt x="3500" y="1"/>
                  </a:moveTo>
                  <a:cubicBezTo>
                    <a:pt x="1561" y="1"/>
                    <a:pt x="0" y="1583"/>
                    <a:pt x="0" y="3500"/>
                  </a:cubicBezTo>
                  <a:cubicBezTo>
                    <a:pt x="0" y="5439"/>
                    <a:pt x="1561" y="7000"/>
                    <a:pt x="3500" y="7000"/>
                  </a:cubicBezTo>
                  <a:cubicBezTo>
                    <a:pt x="5439" y="7000"/>
                    <a:pt x="7000" y="5439"/>
                    <a:pt x="7000" y="3500"/>
                  </a:cubicBezTo>
                  <a:cubicBezTo>
                    <a:pt x="7000" y="1583"/>
                    <a:pt x="5439" y="1"/>
                    <a:pt x="3500"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11" name="Google Shape;1011;p20"/>
            <p:cNvSpPr/>
            <p:nvPr/>
          </p:nvSpPr>
          <p:spPr>
            <a:xfrm>
              <a:off x="8833525" y="362525"/>
              <a:ext cx="92550" cy="93075"/>
            </a:xfrm>
            <a:custGeom>
              <a:avLst/>
              <a:gdLst/>
              <a:ahLst/>
              <a:cxnLst/>
              <a:rect l="l" t="t" r="r" b="b"/>
              <a:pathLst>
                <a:path w="3702" h="3723" extrusionOk="0">
                  <a:moveTo>
                    <a:pt x="1851" y="0"/>
                  </a:moveTo>
                  <a:cubicBezTo>
                    <a:pt x="826" y="0"/>
                    <a:pt x="1" y="825"/>
                    <a:pt x="1" y="1850"/>
                  </a:cubicBezTo>
                  <a:cubicBezTo>
                    <a:pt x="1" y="2876"/>
                    <a:pt x="826" y="3723"/>
                    <a:pt x="1851" y="3723"/>
                  </a:cubicBezTo>
                  <a:cubicBezTo>
                    <a:pt x="2876" y="3723"/>
                    <a:pt x="3701" y="2876"/>
                    <a:pt x="3701" y="1850"/>
                  </a:cubicBezTo>
                  <a:cubicBezTo>
                    <a:pt x="3701" y="825"/>
                    <a:pt x="2876" y="0"/>
                    <a:pt x="1851" y="0"/>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12" name="Google Shape;1012;p20"/>
            <p:cNvSpPr/>
            <p:nvPr/>
          </p:nvSpPr>
          <p:spPr>
            <a:xfrm>
              <a:off x="8828525" y="358050"/>
              <a:ext cx="102550" cy="102000"/>
            </a:xfrm>
            <a:custGeom>
              <a:avLst/>
              <a:gdLst/>
              <a:ahLst/>
              <a:cxnLst/>
              <a:rect l="l" t="t" r="r" b="b"/>
              <a:pathLst>
                <a:path w="4102" h="4080" extrusionOk="0">
                  <a:moveTo>
                    <a:pt x="2051" y="357"/>
                  </a:moveTo>
                  <a:cubicBezTo>
                    <a:pt x="2519" y="357"/>
                    <a:pt x="2920" y="558"/>
                    <a:pt x="3232" y="848"/>
                  </a:cubicBezTo>
                  <a:cubicBezTo>
                    <a:pt x="3544" y="1160"/>
                    <a:pt x="3723" y="1583"/>
                    <a:pt x="3723" y="2029"/>
                  </a:cubicBezTo>
                  <a:cubicBezTo>
                    <a:pt x="3723" y="2497"/>
                    <a:pt x="3544" y="2921"/>
                    <a:pt x="3232" y="3211"/>
                  </a:cubicBezTo>
                  <a:cubicBezTo>
                    <a:pt x="2920" y="3523"/>
                    <a:pt x="2519" y="3701"/>
                    <a:pt x="2051" y="3701"/>
                  </a:cubicBezTo>
                  <a:cubicBezTo>
                    <a:pt x="1583" y="3701"/>
                    <a:pt x="1182" y="3523"/>
                    <a:pt x="870" y="3211"/>
                  </a:cubicBezTo>
                  <a:cubicBezTo>
                    <a:pt x="558" y="2921"/>
                    <a:pt x="379" y="2497"/>
                    <a:pt x="379" y="2029"/>
                  </a:cubicBezTo>
                  <a:cubicBezTo>
                    <a:pt x="379" y="1583"/>
                    <a:pt x="558" y="1160"/>
                    <a:pt x="870" y="848"/>
                  </a:cubicBezTo>
                  <a:cubicBezTo>
                    <a:pt x="1182" y="558"/>
                    <a:pt x="1583" y="357"/>
                    <a:pt x="2051" y="357"/>
                  </a:cubicBezTo>
                  <a:close/>
                  <a:moveTo>
                    <a:pt x="2051" y="1"/>
                  </a:moveTo>
                  <a:cubicBezTo>
                    <a:pt x="914" y="1"/>
                    <a:pt x="0" y="915"/>
                    <a:pt x="0" y="2029"/>
                  </a:cubicBezTo>
                  <a:cubicBezTo>
                    <a:pt x="0" y="3166"/>
                    <a:pt x="914" y="4080"/>
                    <a:pt x="2051" y="4080"/>
                  </a:cubicBezTo>
                  <a:cubicBezTo>
                    <a:pt x="3188" y="4080"/>
                    <a:pt x="4102" y="3166"/>
                    <a:pt x="4102" y="2029"/>
                  </a:cubicBezTo>
                  <a:cubicBezTo>
                    <a:pt x="4102" y="915"/>
                    <a:pt x="3188" y="1"/>
                    <a:pt x="2051"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1013" name="Google Shape;1013;p20"/>
          <p:cNvGrpSpPr/>
          <p:nvPr/>
        </p:nvGrpSpPr>
        <p:grpSpPr>
          <a:xfrm rot="5400000">
            <a:off x="7551684" y="3879926"/>
            <a:ext cx="293111" cy="293388"/>
            <a:chOff x="3164039" y="430875"/>
            <a:chExt cx="293111" cy="293388"/>
          </a:xfrm>
        </p:grpSpPr>
        <p:sp>
          <p:nvSpPr>
            <p:cNvPr id="1014" name="Google Shape;1014;p20"/>
            <p:cNvSpPr/>
            <p:nvPr/>
          </p:nvSpPr>
          <p:spPr>
            <a:xfrm flipH="1">
              <a:off x="3166281" y="433407"/>
              <a:ext cx="288614" cy="288337"/>
            </a:xfrm>
            <a:custGeom>
              <a:avLst/>
              <a:gdLst/>
              <a:ahLst/>
              <a:cxnLst/>
              <a:rect l="l" t="t" r="r" b="b"/>
              <a:pathLst>
                <a:path w="22915" h="22893" extrusionOk="0">
                  <a:moveTo>
                    <a:pt x="11457" y="0"/>
                  </a:moveTo>
                  <a:cubicBezTo>
                    <a:pt x="5127" y="0"/>
                    <a:pt x="0" y="5127"/>
                    <a:pt x="0" y="11435"/>
                  </a:cubicBezTo>
                  <a:cubicBezTo>
                    <a:pt x="0" y="17766"/>
                    <a:pt x="5127" y="22892"/>
                    <a:pt x="11457" y="22892"/>
                  </a:cubicBezTo>
                  <a:cubicBezTo>
                    <a:pt x="17788" y="22892"/>
                    <a:pt x="22914" y="17766"/>
                    <a:pt x="22914" y="11435"/>
                  </a:cubicBezTo>
                  <a:cubicBezTo>
                    <a:pt x="22914" y="5127"/>
                    <a:pt x="17788" y="0"/>
                    <a:pt x="11457" y="0"/>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15" name="Google Shape;1015;p20"/>
            <p:cNvSpPr/>
            <p:nvPr/>
          </p:nvSpPr>
          <p:spPr>
            <a:xfrm flipH="1">
              <a:off x="3164039" y="430875"/>
              <a:ext cx="293111" cy="293388"/>
            </a:xfrm>
            <a:custGeom>
              <a:avLst/>
              <a:gdLst/>
              <a:ahLst/>
              <a:cxnLst/>
              <a:rect l="l" t="t" r="r" b="b"/>
              <a:pathLst>
                <a:path w="23272" h="23294" extrusionOk="0">
                  <a:moveTo>
                    <a:pt x="11636" y="380"/>
                  </a:moveTo>
                  <a:cubicBezTo>
                    <a:pt x="14757" y="380"/>
                    <a:pt x="17566" y="1628"/>
                    <a:pt x="19594" y="3679"/>
                  </a:cubicBezTo>
                  <a:cubicBezTo>
                    <a:pt x="21645" y="5707"/>
                    <a:pt x="22893" y="8538"/>
                    <a:pt x="22893" y="11636"/>
                  </a:cubicBezTo>
                  <a:cubicBezTo>
                    <a:pt x="22893" y="14757"/>
                    <a:pt x="21645" y="17565"/>
                    <a:pt x="19594" y="19616"/>
                  </a:cubicBezTo>
                  <a:cubicBezTo>
                    <a:pt x="17566" y="21644"/>
                    <a:pt x="14757" y="22915"/>
                    <a:pt x="11636" y="22915"/>
                  </a:cubicBezTo>
                  <a:cubicBezTo>
                    <a:pt x="8516" y="22915"/>
                    <a:pt x="5707" y="21644"/>
                    <a:pt x="3657" y="19616"/>
                  </a:cubicBezTo>
                  <a:cubicBezTo>
                    <a:pt x="1628" y="17565"/>
                    <a:pt x="358" y="14757"/>
                    <a:pt x="358" y="11636"/>
                  </a:cubicBezTo>
                  <a:cubicBezTo>
                    <a:pt x="358" y="8538"/>
                    <a:pt x="1628" y="5707"/>
                    <a:pt x="3657" y="3679"/>
                  </a:cubicBezTo>
                  <a:cubicBezTo>
                    <a:pt x="5707" y="1628"/>
                    <a:pt x="8516" y="380"/>
                    <a:pt x="11636" y="380"/>
                  </a:cubicBezTo>
                  <a:close/>
                  <a:moveTo>
                    <a:pt x="11636" y="1"/>
                  </a:moveTo>
                  <a:cubicBezTo>
                    <a:pt x="5217" y="1"/>
                    <a:pt x="1" y="5217"/>
                    <a:pt x="1" y="11636"/>
                  </a:cubicBezTo>
                  <a:cubicBezTo>
                    <a:pt x="1" y="18078"/>
                    <a:pt x="5217" y="23294"/>
                    <a:pt x="11636" y="23294"/>
                  </a:cubicBezTo>
                  <a:cubicBezTo>
                    <a:pt x="18056" y="23294"/>
                    <a:pt x="23272" y="18078"/>
                    <a:pt x="23272" y="11636"/>
                  </a:cubicBezTo>
                  <a:cubicBezTo>
                    <a:pt x="23272" y="5217"/>
                    <a:pt x="18056" y="1"/>
                    <a:pt x="11636"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16" name="Google Shape;1016;p20"/>
            <p:cNvSpPr/>
            <p:nvPr/>
          </p:nvSpPr>
          <p:spPr>
            <a:xfrm flipH="1">
              <a:off x="3202780" y="469909"/>
              <a:ext cx="215626" cy="215337"/>
            </a:xfrm>
            <a:custGeom>
              <a:avLst/>
              <a:gdLst/>
              <a:ahLst/>
              <a:cxnLst/>
              <a:rect l="l" t="t" r="r" b="b"/>
              <a:pathLst>
                <a:path w="17120" h="17097" extrusionOk="0">
                  <a:moveTo>
                    <a:pt x="8560" y="0"/>
                  </a:moveTo>
                  <a:cubicBezTo>
                    <a:pt x="3835" y="0"/>
                    <a:pt x="1" y="3812"/>
                    <a:pt x="1" y="8537"/>
                  </a:cubicBezTo>
                  <a:cubicBezTo>
                    <a:pt x="1" y="13263"/>
                    <a:pt x="3835" y="17097"/>
                    <a:pt x="8560" y="17097"/>
                  </a:cubicBezTo>
                  <a:cubicBezTo>
                    <a:pt x="13286" y="17097"/>
                    <a:pt x="17120" y="13263"/>
                    <a:pt x="17120" y="8537"/>
                  </a:cubicBezTo>
                  <a:cubicBezTo>
                    <a:pt x="17120" y="3812"/>
                    <a:pt x="13286" y="0"/>
                    <a:pt x="8560"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17" name="Google Shape;1017;p20"/>
            <p:cNvSpPr/>
            <p:nvPr/>
          </p:nvSpPr>
          <p:spPr>
            <a:xfrm flipH="1">
              <a:off x="3200525" y="467377"/>
              <a:ext cx="220123" cy="220400"/>
            </a:xfrm>
            <a:custGeom>
              <a:avLst/>
              <a:gdLst/>
              <a:ahLst/>
              <a:cxnLst/>
              <a:rect l="l" t="t" r="r" b="b"/>
              <a:pathLst>
                <a:path w="17477" h="17499" extrusionOk="0">
                  <a:moveTo>
                    <a:pt x="8738" y="379"/>
                  </a:moveTo>
                  <a:cubicBezTo>
                    <a:pt x="11057" y="379"/>
                    <a:pt x="13130" y="1316"/>
                    <a:pt x="14645" y="2831"/>
                  </a:cubicBezTo>
                  <a:cubicBezTo>
                    <a:pt x="16161" y="4347"/>
                    <a:pt x="17097" y="6442"/>
                    <a:pt x="17097" y="8738"/>
                  </a:cubicBezTo>
                  <a:cubicBezTo>
                    <a:pt x="17097" y="11056"/>
                    <a:pt x="16161" y="13152"/>
                    <a:pt x="14645" y="14667"/>
                  </a:cubicBezTo>
                  <a:cubicBezTo>
                    <a:pt x="13130" y="16183"/>
                    <a:pt x="11057" y="17119"/>
                    <a:pt x="8738" y="17119"/>
                  </a:cubicBezTo>
                  <a:cubicBezTo>
                    <a:pt x="6420" y="17119"/>
                    <a:pt x="4325" y="16183"/>
                    <a:pt x="2809" y="14667"/>
                  </a:cubicBezTo>
                  <a:cubicBezTo>
                    <a:pt x="1293" y="13152"/>
                    <a:pt x="357" y="11056"/>
                    <a:pt x="357" y="8738"/>
                  </a:cubicBezTo>
                  <a:cubicBezTo>
                    <a:pt x="357" y="6442"/>
                    <a:pt x="1293" y="4347"/>
                    <a:pt x="2809" y="2831"/>
                  </a:cubicBezTo>
                  <a:cubicBezTo>
                    <a:pt x="4325" y="1316"/>
                    <a:pt x="6420" y="379"/>
                    <a:pt x="8738" y="379"/>
                  </a:cubicBezTo>
                  <a:close/>
                  <a:moveTo>
                    <a:pt x="8738" y="0"/>
                  </a:moveTo>
                  <a:cubicBezTo>
                    <a:pt x="3901" y="0"/>
                    <a:pt x="1" y="3924"/>
                    <a:pt x="1" y="8738"/>
                  </a:cubicBezTo>
                  <a:cubicBezTo>
                    <a:pt x="1" y="13575"/>
                    <a:pt x="3901" y="17498"/>
                    <a:pt x="8738" y="17498"/>
                  </a:cubicBezTo>
                  <a:cubicBezTo>
                    <a:pt x="13553" y="17498"/>
                    <a:pt x="17476" y="13575"/>
                    <a:pt x="17476" y="8738"/>
                  </a:cubicBezTo>
                  <a:cubicBezTo>
                    <a:pt x="17476" y="3924"/>
                    <a:pt x="13553" y="0"/>
                    <a:pt x="8738"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18" name="Google Shape;1018;p20"/>
            <p:cNvSpPr/>
            <p:nvPr/>
          </p:nvSpPr>
          <p:spPr>
            <a:xfrm flipH="1">
              <a:off x="3242641" y="509484"/>
              <a:ext cx="136177" cy="136177"/>
            </a:xfrm>
            <a:custGeom>
              <a:avLst/>
              <a:gdLst/>
              <a:ahLst/>
              <a:cxnLst/>
              <a:rect l="l" t="t" r="r" b="b"/>
              <a:pathLst>
                <a:path w="10812" h="10812" extrusionOk="0">
                  <a:moveTo>
                    <a:pt x="5417" y="1"/>
                  </a:moveTo>
                  <a:cubicBezTo>
                    <a:pt x="2430" y="1"/>
                    <a:pt x="1" y="2431"/>
                    <a:pt x="1" y="5395"/>
                  </a:cubicBezTo>
                  <a:cubicBezTo>
                    <a:pt x="1" y="8382"/>
                    <a:pt x="2430" y="10812"/>
                    <a:pt x="5417" y="10812"/>
                  </a:cubicBezTo>
                  <a:cubicBezTo>
                    <a:pt x="8404" y="10812"/>
                    <a:pt x="10812" y="8382"/>
                    <a:pt x="10812" y="5395"/>
                  </a:cubicBezTo>
                  <a:cubicBezTo>
                    <a:pt x="10812" y="2431"/>
                    <a:pt x="8404" y="1"/>
                    <a:pt x="5417"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19" name="Google Shape;1019;p20"/>
            <p:cNvSpPr/>
            <p:nvPr/>
          </p:nvSpPr>
          <p:spPr>
            <a:xfrm flipH="1">
              <a:off x="3240109" y="507242"/>
              <a:ext cx="140951" cy="140674"/>
            </a:xfrm>
            <a:custGeom>
              <a:avLst/>
              <a:gdLst/>
              <a:ahLst/>
              <a:cxnLst/>
              <a:rect l="l" t="t" r="r" b="b"/>
              <a:pathLst>
                <a:path w="11191" h="11169" extrusionOk="0">
                  <a:moveTo>
                    <a:pt x="5595" y="357"/>
                  </a:moveTo>
                  <a:cubicBezTo>
                    <a:pt x="7044" y="357"/>
                    <a:pt x="8337" y="937"/>
                    <a:pt x="9273" y="1895"/>
                  </a:cubicBezTo>
                  <a:cubicBezTo>
                    <a:pt x="10232" y="2832"/>
                    <a:pt x="10811" y="4147"/>
                    <a:pt x="10811" y="5573"/>
                  </a:cubicBezTo>
                  <a:cubicBezTo>
                    <a:pt x="10811" y="7022"/>
                    <a:pt x="10232" y="8337"/>
                    <a:pt x="9273" y="9273"/>
                  </a:cubicBezTo>
                  <a:cubicBezTo>
                    <a:pt x="8337" y="10210"/>
                    <a:pt x="7044" y="10789"/>
                    <a:pt x="5595" y="10789"/>
                  </a:cubicBezTo>
                  <a:cubicBezTo>
                    <a:pt x="4147" y="10789"/>
                    <a:pt x="2854" y="10210"/>
                    <a:pt x="1895" y="9273"/>
                  </a:cubicBezTo>
                  <a:cubicBezTo>
                    <a:pt x="959" y="8337"/>
                    <a:pt x="379" y="7022"/>
                    <a:pt x="379" y="5573"/>
                  </a:cubicBezTo>
                  <a:cubicBezTo>
                    <a:pt x="379" y="4147"/>
                    <a:pt x="959" y="2832"/>
                    <a:pt x="1895" y="1895"/>
                  </a:cubicBezTo>
                  <a:cubicBezTo>
                    <a:pt x="2854" y="937"/>
                    <a:pt x="4147" y="357"/>
                    <a:pt x="5595" y="357"/>
                  </a:cubicBezTo>
                  <a:close/>
                  <a:moveTo>
                    <a:pt x="5595" y="1"/>
                  </a:moveTo>
                  <a:cubicBezTo>
                    <a:pt x="2497" y="1"/>
                    <a:pt x="1" y="2497"/>
                    <a:pt x="1" y="5573"/>
                  </a:cubicBezTo>
                  <a:cubicBezTo>
                    <a:pt x="1" y="8672"/>
                    <a:pt x="2497" y="11168"/>
                    <a:pt x="5595" y="11168"/>
                  </a:cubicBezTo>
                  <a:cubicBezTo>
                    <a:pt x="8671" y="11168"/>
                    <a:pt x="11190" y="8672"/>
                    <a:pt x="11190" y="5573"/>
                  </a:cubicBezTo>
                  <a:cubicBezTo>
                    <a:pt x="11190" y="2497"/>
                    <a:pt x="8671" y="1"/>
                    <a:pt x="5595"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1020" name="Google Shape;1020;p20"/>
          <p:cNvGrpSpPr/>
          <p:nvPr/>
        </p:nvGrpSpPr>
        <p:grpSpPr>
          <a:xfrm rot="5400000" flipH="1">
            <a:off x="8259053" y="323144"/>
            <a:ext cx="175013" cy="27000"/>
            <a:chOff x="5662375" y="212375"/>
            <a:chExt cx="175013" cy="27000"/>
          </a:xfrm>
        </p:grpSpPr>
        <p:sp>
          <p:nvSpPr>
            <p:cNvPr id="1021" name="Google Shape;1021;p20"/>
            <p:cNvSpPr/>
            <p:nvPr/>
          </p:nvSpPr>
          <p:spPr>
            <a:xfrm>
              <a:off x="5662375" y="212375"/>
              <a:ext cx="27000" cy="27000"/>
            </a:xfrm>
            <a:prstGeom prst="ellipse">
              <a:avLst/>
            </a:prstGeom>
            <a:solidFill>
              <a:schemeClr val="dk2"/>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22" name="Google Shape;1022;p20"/>
            <p:cNvSpPr/>
            <p:nvPr/>
          </p:nvSpPr>
          <p:spPr>
            <a:xfrm>
              <a:off x="5736381" y="212375"/>
              <a:ext cx="27000" cy="27000"/>
            </a:xfrm>
            <a:prstGeom prst="ellipse">
              <a:avLst/>
            </a:prstGeom>
            <a:solidFill>
              <a:schemeClr val="dk2"/>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23" name="Google Shape;1023;p20"/>
            <p:cNvSpPr/>
            <p:nvPr/>
          </p:nvSpPr>
          <p:spPr>
            <a:xfrm>
              <a:off x="5810388" y="212375"/>
              <a:ext cx="27000" cy="27000"/>
            </a:xfrm>
            <a:prstGeom prst="ellipse">
              <a:avLst/>
            </a:prstGeom>
            <a:solidFill>
              <a:schemeClr val="dk2"/>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cxnSp>
        <p:nvCxnSpPr>
          <p:cNvPr id="1024" name="Google Shape;1024;p20"/>
          <p:cNvCxnSpPr/>
          <p:nvPr/>
        </p:nvCxnSpPr>
        <p:spPr>
          <a:xfrm rot="5400000" flipH="1">
            <a:off x="740850" y="2598325"/>
            <a:ext cx="1672500" cy="126000"/>
          </a:xfrm>
          <a:prstGeom prst="straightConnector1">
            <a:avLst/>
          </a:prstGeom>
          <a:noFill/>
          <a:ln w="9525" cap="flat" cmpd="sng">
            <a:solidFill>
              <a:schemeClr val="dk2"/>
            </a:solidFill>
            <a:prstDash val="solid"/>
            <a:round/>
            <a:headEnd type="none" w="med" len="med"/>
            <a:tailEnd type="none" w="med" len="med"/>
          </a:ln>
        </p:spPr>
      </p:cxnSp>
      <p:cxnSp>
        <p:nvCxnSpPr>
          <p:cNvPr id="1025" name="Google Shape;1025;p20"/>
          <p:cNvCxnSpPr/>
          <p:nvPr/>
        </p:nvCxnSpPr>
        <p:spPr>
          <a:xfrm rot="-5400000">
            <a:off x="847100" y="3554000"/>
            <a:ext cx="829500" cy="743400"/>
          </a:xfrm>
          <a:prstGeom prst="straightConnector1">
            <a:avLst/>
          </a:prstGeom>
          <a:noFill/>
          <a:ln w="9525" cap="flat" cmpd="sng">
            <a:solidFill>
              <a:schemeClr val="dk2"/>
            </a:solidFill>
            <a:prstDash val="solid"/>
            <a:round/>
            <a:headEnd type="none" w="med" len="med"/>
            <a:tailEnd type="none" w="med" len="med"/>
          </a:ln>
        </p:spPr>
      </p:cxnSp>
      <p:cxnSp>
        <p:nvCxnSpPr>
          <p:cNvPr id="1026" name="Google Shape;1026;p20"/>
          <p:cNvCxnSpPr/>
          <p:nvPr/>
        </p:nvCxnSpPr>
        <p:spPr>
          <a:xfrm rot="5400000" flipH="1">
            <a:off x="1105775" y="4151250"/>
            <a:ext cx="796500" cy="1188000"/>
          </a:xfrm>
          <a:prstGeom prst="straightConnector1">
            <a:avLst/>
          </a:prstGeom>
          <a:noFill/>
          <a:ln w="9525" cap="flat" cmpd="sng">
            <a:solidFill>
              <a:schemeClr val="dk2"/>
            </a:solidFill>
            <a:prstDash val="solid"/>
            <a:round/>
            <a:headEnd type="none" w="med" len="med"/>
            <a:tailEnd type="none" w="med" len="med"/>
          </a:ln>
        </p:spPr>
      </p:cxnSp>
      <p:grpSp>
        <p:nvGrpSpPr>
          <p:cNvPr id="1027" name="Google Shape;1027;p20"/>
          <p:cNvGrpSpPr/>
          <p:nvPr/>
        </p:nvGrpSpPr>
        <p:grpSpPr>
          <a:xfrm rot="5400000">
            <a:off x="621476" y="4062025"/>
            <a:ext cx="581800" cy="582350"/>
            <a:chOff x="8064275" y="887850"/>
            <a:chExt cx="581800" cy="582350"/>
          </a:xfrm>
        </p:grpSpPr>
        <p:sp>
          <p:nvSpPr>
            <p:cNvPr id="1028" name="Google Shape;1028;p20"/>
            <p:cNvSpPr/>
            <p:nvPr/>
          </p:nvSpPr>
          <p:spPr>
            <a:xfrm>
              <a:off x="8068750" y="892875"/>
              <a:ext cx="572875" cy="572325"/>
            </a:xfrm>
            <a:custGeom>
              <a:avLst/>
              <a:gdLst/>
              <a:ahLst/>
              <a:cxnLst/>
              <a:rect l="l" t="t" r="r" b="b"/>
              <a:pathLst>
                <a:path w="22915" h="22893" extrusionOk="0">
                  <a:moveTo>
                    <a:pt x="11457" y="0"/>
                  </a:moveTo>
                  <a:cubicBezTo>
                    <a:pt x="5127" y="0"/>
                    <a:pt x="0" y="5127"/>
                    <a:pt x="0" y="11435"/>
                  </a:cubicBezTo>
                  <a:cubicBezTo>
                    <a:pt x="0" y="17766"/>
                    <a:pt x="5127" y="22892"/>
                    <a:pt x="11457" y="22892"/>
                  </a:cubicBezTo>
                  <a:cubicBezTo>
                    <a:pt x="17788" y="22892"/>
                    <a:pt x="22914" y="17766"/>
                    <a:pt x="22914" y="11435"/>
                  </a:cubicBezTo>
                  <a:cubicBezTo>
                    <a:pt x="22914" y="5127"/>
                    <a:pt x="17788" y="0"/>
                    <a:pt x="11457" y="0"/>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29" name="Google Shape;1029;p20"/>
            <p:cNvSpPr/>
            <p:nvPr/>
          </p:nvSpPr>
          <p:spPr>
            <a:xfrm>
              <a:off x="8064275" y="887850"/>
              <a:ext cx="581800" cy="582350"/>
            </a:xfrm>
            <a:custGeom>
              <a:avLst/>
              <a:gdLst/>
              <a:ahLst/>
              <a:cxnLst/>
              <a:rect l="l" t="t" r="r" b="b"/>
              <a:pathLst>
                <a:path w="23272" h="23294" extrusionOk="0">
                  <a:moveTo>
                    <a:pt x="11636" y="380"/>
                  </a:moveTo>
                  <a:cubicBezTo>
                    <a:pt x="14757" y="380"/>
                    <a:pt x="17566" y="1628"/>
                    <a:pt x="19594" y="3679"/>
                  </a:cubicBezTo>
                  <a:cubicBezTo>
                    <a:pt x="21645" y="5707"/>
                    <a:pt x="22893" y="8538"/>
                    <a:pt x="22893" y="11636"/>
                  </a:cubicBezTo>
                  <a:cubicBezTo>
                    <a:pt x="22893" y="14757"/>
                    <a:pt x="21645" y="17565"/>
                    <a:pt x="19594" y="19616"/>
                  </a:cubicBezTo>
                  <a:cubicBezTo>
                    <a:pt x="17566" y="21644"/>
                    <a:pt x="14757" y="22915"/>
                    <a:pt x="11636" y="22915"/>
                  </a:cubicBezTo>
                  <a:cubicBezTo>
                    <a:pt x="8516" y="22915"/>
                    <a:pt x="5707" y="21644"/>
                    <a:pt x="3657" y="19616"/>
                  </a:cubicBezTo>
                  <a:cubicBezTo>
                    <a:pt x="1628" y="17565"/>
                    <a:pt x="358" y="14757"/>
                    <a:pt x="358" y="11636"/>
                  </a:cubicBezTo>
                  <a:cubicBezTo>
                    <a:pt x="358" y="8538"/>
                    <a:pt x="1628" y="5707"/>
                    <a:pt x="3657" y="3679"/>
                  </a:cubicBezTo>
                  <a:cubicBezTo>
                    <a:pt x="5707" y="1628"/>
                    <a:pt x="8516" y="380"/>
                    <a:pt x="11636" y="380"/>
                  </a:cubicBezTo>
                  <a:close/>
                  <a:moveTo>
                    <a:pt x="11636" y="1"/>
                  </a:moveTo>
                  <a:cubicBezTo>
                    <a:pt x="5217" y="1"/>
                    <a:pt x="1" y="5217"/>
                    <a:pt x="1" y="11636"/>
                  </a:cubicBezTo>
                  <a:cubicBezTo>
                    <a:pt x="1" y="18078"/>
                    <a:pt x="5217" y="23294"/>
                    <a:pt x="11636" y="23294"/>
                  </a:cubicBezTo>
                  <a:cubicBezTo>
                    <a:pt x="18056" y="23294"/>
                    <a:pt x="23272" y="18078"/>
                    <a:pt x="23272" y="11636"/>
                  </a:cubicBezTo>
                  <a:cubicBezTo>
                    <a:pt x="23272" y="5217"/>
                    <a:pt x="18056" y="1"/>
                    <a:pt x="11636"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30" name="Google Shape;1030;p20"/>
            <p:cNvSpPr/>
            <p:nvPr/>
          </p:nvSpPr>
          <p:spPr>
            <a:xfrm>
              <a:off x="8141175" y="965325"/>
              <a:ext cx="428000" cy="427425"/>
            </a:xfrm>
            <a:custGeom>
              <a:avLst/>
              <a:gdLst/>
              <a:ahLst/>
              <a:cxnLst/>
              <a:rect l="l" t="t" r="r" b="b"/>
              <a:pathLst>
                <a:path w="17120" h="17097" extrusionOk="0">
                  <a:moveTo>
                    <a:pt x="8560" y="0"/>
                  </a:moveTo>
                  <a:cubicBezTo>
                    <a:pt x="3835" y="0"/>
                    <a:pt x="1" y="3812"/>
                    <a:pt x="1" y="8537"/>
                  </a:cubicBezTo>
                  <a:cubicBezTo>
                    <a:pt x="1" y="13263"/>
                    <a:pt x="3835" y="17097"/>
                    <a:pt x="8560" y="17097"/>
                  </a:cubicBezTo>
                  <a:cubicBezTo>
                    <a:pt x="13286" y="17097"/>
                    <a:pt x="17120" y="13263"/>
                    <a:pt x="17120" y="8537"/>
                  </a:cubicBezTo>
                  <a:cubicBezTo>
                    <a:pt x="17120" y="3812"/>
                    <a:pt x="13286" y="0"/>
                    <a:pt x="8560"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31" name="Google Shape;1031;p20"/>
            <p:cNvSpPr/>
            <p:nvPr/>
          </p:nvSpPr>
          <p:spPr>
            <a:xfrm>
              <a:off x="8136725" y="960300"/>
              <a:ext cx="436925" cy="437475"/>
            </a:xfrm>
            <a:custGeom>
              <a:avLst/>
              <a:gdLst/>
              <a:ahLst/>
              <a:cxnLst/>
              <a:rect l="l" t="t" r="r" b="b"/>
              <a:pathLst>
                <a:path w="17477" h="17499" extrusionOk="0">
                  <a:moveTo>
                    <a:pt x="8738" y="379"/>
                  </a:moveTo>
                  <a:cubicBezTo>
                    <a:pt x="11057" y="379"/>
                    <a:pt x="13130" y="1316"/>
                    <a:pt x="14645" y="2831"/>
                  </a:cubicBezTo>
                  <a:cubicBezTo>
                    <a:pt x="16161" y="4347"/>
                    <a:pt x="17097" y="6442"/>
                    <a:pt x="17097" y="8738"/>
                  </a:cubicBezTo>
                  <a:cubicBezTo>
                    <a:pt x="17097" y="11056"/>
                    <a:pt x="16161" y="13152"/>
                    <a:pt x="14645" y="14667"/>
                  </a:cubicBezTo>
                  <a:cubicBezTo>
                    <a:pt x="13130" y="16183"/>
                    <a:pt x="11057" y="17119"/>
                    <a:pt x="8738" y="17119"/>
                  </a:cubicBezTo>
                  <a:cubicBezTo>
                    <a:pt x="6420" y="17119"/>
                    <a:pt x="4325" y="16183"/>
                    <a:pt x="2809" y="14667"/>
                  </a:cubicBezTo>
                  <a:cubicBezTo>
                    <a:pt x="1293" y="13152"/>
                    <a:pt x="357" y="11056"/>
                    <a:pt x="357" y="8738"/>
                  </a:cubicBezTo>
                  <a:cubicBezTo>
                    <a:pt x="357" y="6442"/>
                    <a:pt x="1293" y="4347"/>
                    <a:pt x="2809" y="2831"/>
                  </a:cubicBezTo>
                  <a:cubicBezTo>
                    <a:pt x="4325" y="1316"/>
                    <a:pt x="6420" y="379"/>
                    <a:pt x="8738" y="379"/>
                  </a:cubicBezTo>
                  <a:close/>
                  <a:moveTo>
                    <a:pt x="8738" y="0"/>
                  </a:moveTo>
                  <a:cubicBezTo>
                    <a:pt x="3901" y="0"/>
                    <a:pt x="1" y="3924"/>
                    <a:pt x="1" y="8738"/>
                  </a:cubicBezTo>
                  <a:cubicBezTo>
                    <a:pt x="1" y="13575"/>
                    <a:pt x="3901" y="17498"/>
                    <a:pt x="8738" y="17498"/>
                  </a:cubicBezTo>
                  <a:cubicBezTo>
                    <a:pt x="13553" y="17498"/>
                    <a:pt x="17476" y="13575"/>
                    <a:pt x="17476" y="8738"/>
                  </a:cubicBezTo>
                  <a:cubicBezTo>
                    <a:pt x="17476" y="3924"/>
                    <a:pt x="13553" y="0"/>
                    <a:pt x="8738"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32" name="Google Shape;1032;p20"/>
            <p:cNvSpPr/>
            <p:nvPr/>
          </p:nvSpPr>
          <p:spPr>
            <a:xfrm>
              <a:off x="8219750" y="1043875"/>
              <a:ext cx="270300" cy="270300"/>
            </a:xfrm>
            <a:custGeom>
              <a:avLst/>
              <a:gdLst/>
              <a:ahLst/>
              <a:cxnLst/>
              <a:rect l="l" t="t" r="r" b="b"/>
              <a:pathLst>
                <a:path w="10812" h="10812" extrusionOk="0">
                  <a:moveTo>
                    <a:pt x="5417" y="1"/>
                  </a:moveTo>
                  <a:cubicBezTo>
                    <a:pt x="2430" y="1"/>
                    <a:pt x="1" y="2431"/>
                    <a:pt x="1" y="5395"/>
                  </a:cubicBezTo>
                  <a:cubicBezTo>
                    <a:pt x="1" y="8382"/>
                    <a:pt x="2430" y="10812"/>
                    <a:pt x="5417" y="10812"/>
                  </a:cubicBezTo>
                  <a:cubicBezTo>
                    <a:pt x="8404" y="10812"/>
                    <a:pt x="10812" y="8382"/>
                    <a:pt x="10812" y="5395"/>
                  </a:cubicBezTo>
                  <a:cubicBezTo>
                    <a:pt x="10812" y="2431"/>
                    <a:pt x="8404" y="1"/>
                    <a:pt x="5417"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33" name="Google Shape;1033;p20"/>
            <p:cNvSpPr/>
            <p:nvPr/>
          </p:nvSpPr>
          <p:spPr>
            <a:xfrm>
              <a:off x="8215300" y="1039425"/>
              <a:ext cx="279775" cy="279225"/>
            </a:xfrm>
            <a:custGeom>
              <a:avLst/>
              <a:gdLst/>
              <a:ahLst/>
              <a:cxnLst/>
              <a:rect l="l" t="t" r="r" b="b"/>
              <a:pathLst>
                <a:path w="11191" h="11169" extrusionOk="0">
                  <a:moveTo>
                    <a:pt x="5595" y="357"/>
                  </a:moveTo>
                  <a:cubicBezTo>
                    <a:pt x="7044" y="357"/>
                    <a:pt x="8337" y="937"/>
                    <a:pt x="9273" y="1895"/>
                  </a:cubicBezTo>
                  <a:cubicBezTo>
                    <a:pt x="10232" y="2832"/>
                    <a:pt x="10811" y="4147"/>
                    <a:pt x="10811" y="5573"/>
                  </a:cubicBezTo>
                  <a:cubicBezTo>
                    <a:pt x="10811" y="7022"/>
                    <a:pt x="10232" y="8337"/>
                    <a:pt x="9273" y="9273"/>
                  </a:cubicBezTo>
                  <a:cubicBezTo>
                    <a:pt x="8337" y="10210"/>
                    <a:pt x="7044" y="10789"/>
                    <a:pt x="5595" y="10789"/>
                  </a:cubicBezTo>
                  <a:cubicBezTo>
                    <a:pt x="4147" y="10789"/>
                    <a:pt x="2854" y="10210"/>
                    <a:pt x="1895" y="9273"/>
                  </a:cubicBezTo>
                  <a:cubicBezTo>
                    <a:pt x="959" y="8337"/>
                    <a:pt x="379" y="7022"/>
                    <a:pt x="379" y="5573"/>
                  </a:cubicBezTo>
                  <a:cubicBezTo>
                    <a:pt x="379" y="4147"/>
                    <a:pt x="959" y="2832"/>
                    <a:pt x="1895" y="1895"/>
                  </a:cubicBezTo>
                  <a:cubicBezTo>
                    <a:pt x="2854" y="937"/>
                    <a:pt x="4147" y="357"/>
                    <a:pt x="5595" y="357"/>
                  </a:cubicBezTo>
                  <a:close/>
                  <a:moveTo>
                    <a:pt x="5595" y="1"/>
                  </a:moveTo>
                  <a:cubicBezTo>
                    <a:pt x="2497" y="1"/>
                    <a:pt x="1" y="2497"/>
                    <a:pt x="1" y="5573"/>
                  </a:cubicBezTo>
                  <a:cubicBezTo>
                    <a:pt x="1" y="8672"/>
                    <a:pt x="2497" y="11168"/>
                    <a:pt x="5595" y="11168"/>
                  </a:cubicBezTo>
                  <a:cubicBezTo>
                    <a:pt x="8671" y="11168"/>
                    <a:pt x="11190" y="8672"/>
                    <a:pt x="11190" y="5573"/>
                  </a:cubicBezTo>
                  <a:cubicBezTo>
                    <a:pt x="11190" y="2497"/>
                    <a:pt x="8671" y="1"/>
                    <a:pt x="5595"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1034" name="Google Shape;1034;p20"/>
          <p:cNvGrpSpPr/>
          <p:nvPr/>
        </p:nvGrpSpPr>
        <p:grpSpPr>
          <a:xfrm rot="5400000">
            <a:off x="1482826" y="3350801"/>
            <a:ext cx="292025" cy="292575"/>
            <a:chOff x="7353050" y="316275"/>
            <a:chExt cx="292025" cy="292575"/>
          </a:xfrm>
        </p:grpSpPr>
        <p:sp>
          <p:nvSpPr>
            <p:cNvPr id="1035" name="Google Shape;1035;p20"/>
            <p:cNvSpPr/>
            <p:nvPr/>
          </p:nvSpPr>
          <p:spPr>
            <a:xfrm>
              <a:off x="7358075" y="321275"/>
              <a:ext cx="282550" cy="282550"/>
            </a:xfrm>
            <a:custGeom>
              <a:avLst/>
              <a:gdLst/>
              <a:ahLst/>
              <a:cxnLst/>
              <a:rect l="l" t="t" r="r" b="b"/>
              <a:pathLst>
                <a:path w="11302" h="11302" extrusionOk="0">
                  <a:moveTo>
                    <a:pt x="5640" y="1"/>
                  </a:moveTo>
                  <a:cubicBezTo>
                    <a:pt x="2519" y="1"/>
                    <a:pt x="0" y="2520"/>
                    <a:pt x="0" y="5640"/>
                  </a:cubicBezTo>
                  <a:cubicBezTo>
                    <a:pt x="0" y="8783"/>
                    <a:pt x="2519" y="11302"/>
                    <a:pt x="5640" y="11302"/>
                  </a:cubicBezTo>
                  <a:cubicBezTo>
                    <a:pt x="8783" y="11302"/>
                    <a:pt x="11301" y="8783"/>
                    <a:pt x="11301" y="5640"/>
                  </a:cubicBezTo>
                  <a:cubicBezTo>
                    <a:pt x="11301" y="2520"/>
                    <a:pt x="8783" y="1"/>
                    <a:pt x="5640" y="1"/>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36" name="Google Shape;1036;p20"/>
            <p:cNvSpPr/>
            <p:nvPr/>
          </p:nvSpPr>
          <p:spPr>
            <a:xfrm>
              <a:off x="7353050" y="316275"/>
              <a:ext cx="292025" cy="292575"/>
            </a:xfrm>
            <a:custGeom>
              <a:avLst/>
              <a:gdLst/>
              <a:ahLst/>
              <a:cxnLst/>
              <a:rect l="l" t="t" r="r" b="b"/>
              <a:pathLst>
                <a:path w="11681" h="11703" extrusionOk="0">
                  <a:moveTo>
                    <a:pt x="5841" y="379"/>
                  </a:moveTo>
                  <a:cubicBezTo>
                    <a:pt x="7356" y="379"/>
                    <a:pt x="8716" y="981"/>
                    <a:pt x="9719" y="1984"/>
                  </a:cubicBezTo>
                  <a:cubicBezTo>
                    <a:pt x="10700" y="2965"/>
                    <a:pt x="11324" y="4347"/>
                    <a:pt x="11324" y="5840"/>
                  </a:cubicBezTo>
                  <a:cubicBezTo>
                    <a:pt x="11324" y="7356"/>
                    <a:pt x="10700" y="8738"/>
                    <a:pt x="9719" y="9719"/>
                  </a:cubicBezTo>
                  <a:cubicBezTo>
                    <a:pt x="8716" y="10699"/>
                    <a:pt x="7356" y="11324"/>
                    <a:pt x="5841" y="11324"/>
                  </a:cubicBezTo>
                  <a:cubicBezTo>
                    <a:pt x="4347" y="11324"/>
                    <a:pt x="2965" y="10699"/>
                    <a:pt x="1984" y="9719"/>
                  </a:cubicBezTo>
                  <a:cubicBezTo>
                    <a:pt x="981" y="8738"/>
                    <a:pt x="380" y="7356"/>
                    <a:pt x="380" y="5840"/>
                  </a:cubicBezTo>
                  <a:cubicBezTo>
                    <a:pt x="380" y="4347"/>
                    <a:pt x="981" y="2965"/>
                    <a:pt x="1984" y="1984"/>
                  </a:cubicBezTo>
                  <a:cubicBezTo>
                    <a:pt x="2965" y="981"/>
                    <a:pt x="4347" y="379"/>
                    <a:pt x="5841" y="379"/>
                  </a:cubicBezTo>
                  <a:close/>
                  <a:moveTo>
                    <a:pt x="5841" y="0"/>
                  </a:moveTo>
                  <a:cubicBezTo>
                    <a:pt x="2631" y="0"/>
                    <a:pt x="1" y="2630"/>
                    <a:pt x="1" y="5840"/>
                  </a:cubicBezTo>
                  <a:cubicBezTo>
                    <a:pt x="1" y="9072"/>
                    <a:pt x="2631" y="11703"/>
                    <a:pt x="5841" y="11703"/>
                  </a:cubicBezTo>
                  <a:cubicBezTo>
                    <a:pt x="9073" y="11703"/>
                    <a:pt x="11681" y="9072"/>
                    <a:pt x="11681" y="5840"/>
                  </a:cubicBezTo>
                  <a:cubicBezTo>
                    <a:pt x="11681" y="2630"/>
                    <a:pt x="9073" y="0"/>
                    <a:pt x="5841" y="0"/>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37" name="Google Shape;1037;p20"/>
            <p:cNvSpPr/>
            <p:nvPr/>
          </p:nvSpPr>
          <p:spPr>
            <a:xfrm>
              <a:off x="7419925" y="383125"/>
              <a:ext cx="158275" cy="158300"/>
            </a:xfrm>
            <a:custGeom>
              <a:avLst/>
              <a:gdLst/>
              <a:ahLst/>
              <a:cxnLst/>
              <a:rect l="l" t="t" r="r" b="b"/>
              <a:pathLst>
                <a:path w="6331" h="6332" extrusionOk="0">
                  <a:moveTo>
                    <a:pt x="3166" y="1"/>
                  </a:moveTo>
                  <a:cubicBezTo>
                    <a:pt x="1427" y="1"/>
                    <a:pt x="0" y="1428"/>
                    <a:pt x="0" y="3166"/>
                  </a:cubicBezTo>
                  <a:cubicBezTo>
                    <a:pt x="0" y="4927"/>
                    <a:pt x="1427" y="6331"/>
                    <a:pt x="3166" y="6331"/>
                  </a:cubicBezTo>
                  <a:cubicBezTo>
                    <a:pt x="4927" y="6331"/>
                    <a:pt x="6331" y="4927"/>
                    <a:pt x="6331" y="3166"/>
                  </a:cubicBezTo>
                  <a:cubicBezTo>
                    <a:pt x="6331" y="1428"/>
                    <a:pt x="4927" y="1"/>
                    <a:pt x="3166" y="1"/>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38" name="Google Shape;1038;p20"/>
            <p:cNvSpPr/>
            <p:nvPr/>
          </p:nvSpPr>
          <p:spPr>
            <a:xfrm>
              <a:off x="7415475" y="378675"/>
              <a:ext cx="167750" cy="167775"/>
            </a:xfrm>
            <a:custGeom>
              <a:avLst/>
              <a:gdLst/>
              <a:ahLst/>
              <a:cxnLst/>
              <a:rect l="l" t="t" r="r" b="b"/>
              <a:pathLst>
                <a:path w="6710" h="6711" extrusionOk="0">
                  <a:moveTo>
                    <a:pt x="3344" y="380"/>
                  </a:moveTo>
                  <a:cubicBezTo>
                    <a:pt x="4168" y="380"/>
                    <a:pt x="4926" y="714"/>
                    <a:pt x="5461" y="1249"/>
                  </a:cubicBezTo>
                  <a:cubicBezTo>
                    <a:pt x="5996" y="1784"/>
                    <a:pt x="6330" y="2519"/>
                    <a:pt x="6330" y="3344"/>
                  </a:cubicBezTo>
                  <a:cubicBezTo>
                    <a:pt x="6330" y="4169"/>
                    <a:pt x="5996" y="4927"/>
                    <a:pt x="5461" y="5462"/>
                  </a:cubicBezTo>
                  <a:cubicBezTo>
                    <a:pt x="4926" y="5997"/>
                    <a:pt x="4168" y="6331"/>
                    <a:pt x="3344" y="6331"/>
                  </a:cubicBezTo>
                  <a:cubicBezTo>
                    <a:pt x="2519" y="6331"/>
                    <a:pt x="1783" y="5997"/>
                    <a:pt x="1248" y="5462"/>
                  </a:cubicBezTo>
                  <a:cubicBezTo>
                    <a:pt x="713" y="4927"/>
                    <a:pt x="379" y="4169"/>
                    <a:pt x="379" y="3344"/>
                  </a:cubicBezTo>
                  <a:cubicBezTo>
                    <a:pt x="379" y="2519"/>
                    <a:pt x="713" y="1784"/>
                    <a:pt x="1248" y="1249"/>
                  </a:cubicBezTo>
                  <a:cubicBezTo>
                    <a:pt x="1783" y="714"/>
                    <a:pt x="2519" y="380"/>
                    <a:pt x="3344" y="380"/>
                  </a:cubicBezTo>
                  <a:close/>
                  <a:moveTo>
                    <a:pt x="3344" y="1"/>
                  </a:moveTo>
                  <a:cubicBezTo>
                    <a:pt x="1494" y="1"/>
                    <a:pt x="0" y="1494"/>
                    <a:pt x="0" y="3344"/>
                  </a:cubicBezTo>
                  <a:cubicBezTo>
                    <a:pt x="0" y="5194"/>
                    <a:pt x="1494" y="6710"/>
                    <a:pt x="3344" y="6710"/>
                  </a:cubicBezTo>
                  <a:cubicBezTo>
                    <a:pt x="5194" y="6710"/>
                    <a:pt x="6709" y="5194"/>
                    <a:pt x="6709" y="3344"/>
                  </a:cubicBezTo>
                  <a:cubicBezTo>
                    <a:pt x="6709" y="1494"/>
                    <a:pt x="5194" y="1"/>
                    <a:pt x="3344"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1039" name="Google Shape;1039;p20"/>
          <p:cNvGrpSpPr/>
          <p:nvPr/>
        </p:nvGrpSpPr>
        <p:grpSpPr>
          <a:xfrm rot="5400000">
            <a:off x="1595126" y="4790325"/>
            <a:ext cx="175000" cy="175000"/>
            <a:chOff x="8792300" y="321275"/>
            <a:chExt cx="175000" cy="175000"/>
          </a:xfrm>
        </p:grpSpPr>
        <p:sp>
          <p:nvSpPr>
            <p:cNvPr id="1040" name="Google Shape;1040;p20"/>
            <p:cNvSpPr/>
            <p:nvPr/>
          </p:nvSpPr>
          <p:spPr>
            <a:xfrm>
              <a:off x="8796750" y="326300"/>
              <a:ext cx="166100" cy="165525"/>
            </a:xfrm>
            <a:custGeom>
              <a:avLst/>
              <a:gdLst/>
              <a:ahLst/>
              <a:cxnLst/>
              <a:rect l="l" t="t" r="r" b="b"/>
              <a:pathLst>
                <a:path w="6644" h="6621" extrusionOk="0">
                  <a:moveTo>
                    <a:pt x="3322" y="0"/>
                  </a:moveTo>
                  <a:cubicBezTo>
                    <a:pt x="1494" y="0"/>
                    <a:pt x="1" y="1471"/>
                    <a:pt x="1" y="3299"/>
                  </a:cubicBezTo>
                  <a:cubicBezTo>
                    <a:pt x="1" y="5127"/>
                    <a:pt x="1494" y="6620"/>
                    <a:pt x="3322" y="6620"/>
                  </a:cubicBezTo>
                  <a:cubicBezTo>
                    <a:pt x="5150" y="6620"/>
                    <a:pt x="6643" y="5127"/>
                    <a:pt x="6643" y="3299"/>
                  </a:cubicBezTo>
                  <a:cubicBezTo>
                    <a:pt x="6643" y="1471"/>
                    <a:pt x="5150" y="0"/>
                    <a:pt x="3322" y="0"/>
                  </a:cubicBezTo>
                  <a:close/>
                </a:path>
              </a:pathLst>
            </a:custGeom>
            <a:solidFill>
              <a:srgbClr val="FFFFFF"/>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41" name="Google Shape;1041;p20"/>
            <p:cNvSpPr/>
            <p:nvPr/>
          </p:nvSpPr>
          <p:spPr>
            <a:xfrm>
              <a:off x="8792300" y="321275"/>
              <a:ext cx="175000" cy="175000"/>
            </a:xfrm>
            <a:custGeom>
              <a:avLst/>
              <a:gdLst/>
              <a:ahLst/>
              <a:cxnLst/>
              <a:rect l="l" t="t" r="r" b="b"/>
              <a:pathLst>
                <a:path w="7000" h="7000" extrusionOk="0">
                  <a:moveTo>
                    <a:pt x="3500" y="380"/>
                  </a:moveTo>
                  <a:cubicBezTo>
                    <a:pt x="4369" y="380"/>
                    <a:pt x="5149" y="736"/>
                    <a:pt x="5707" y="1293"/>
                  </a:cubicBezTo>
                  <a:cubicBezTo>
                    <a:pt x="6286" y="1873"/>
                    <a:pt x="6621" y="2653"/>
                    <a:pt x="6621" y="3500"/>
                  </a:cubicBezTo>
                  <a:cubicBezTo>
                    <a:pt x="6621" y="4370"/>
                    <a:pt x="6286" y="5150"/>
                    <a:pt x="5707" y="5729"/>
                  </a:cubicBezTo>
                  <a:cubicBezTo>
                    <a:pt x="5149" y="6286"/>
                    <a:pt x="4369" y="6643"/>
                    <a:pt x="3500" y="6643"/>
                  </a:cubicBezTo>
                  <a:cubicBezTo>
                    <a:pt x="2631" y="6643"/>
                    <a:pt x="1851" y="6286"/>
                    <a:pt x="1293" y="5729"/>
                  </a:cubicBezTo>
                  <a:cubicBezTo>
                    <a:pt x="714" y="5150"/>
                    <a:pt x="379" y="4370"/>
                    <a:pt x="379" y="3500"/>
                  </a:cubicBezTo>
                  <a:cubicBezTo>
                    <a:pt x="379" y="2653"/>
                    <a:pt x="714" y="1873"/>
                    <a:pt x="1293" y="1293"/>
                  </a:cubicBezTo>
                  <a:cubicBezTo>
                    <a:pt x="1851" y="736"/>
                    <a:pt x="2631" y="380"/>
                    <a:pt x="3500" y="380"/>
                  </a:cubicBezTo>
                  <a:close/>
                  <a:moveTo>
                    <a:pt x="3500" y="1"/>
                  </a:moveTo>
                  <a:cubicBezTo>
                    <a:pt x="1561" y="1"/>
                    <a:pt x="0" y="1583"/>
                    <a:pt x="0" y="3500"/>
                  </a:cubicBezTo>
                  <a:cubicBezTo>
                    <a:pt x="0" y="5439"/>
                    <a:pt x="1561" y="7000"/>
                    <a:pt x="3500" y="7000"/>
                  </a:cubicBezTo>
                  <a:cubicBezTo>
                    <a:pt x="5439" y="7000"/>
                    <a:pt x="7000" y="5439"/>
                    <a:pt x="7000" y="3500"/>
                  </a:cubicBezTo>
                  <a:cubicBezTo>
                    <a:pt x="7000" y="1583"/>
                    <a:pt x="5439" y="1"/>
                    <a:pt x="3500"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42" name="Google Shape;1042;p20"/>
            <p:cNvSpPr/>
            <p:nvPr/>
          </p:nvSpPr>
          <p:spPr>
            <a:xfrm>
              <a:off x="8833525" y="362525"/>
              <a:ext cx="92550" cy="93075"/>
            </a:xfrm>
            <a:custGeom>
              <a:avLst/>
              <a:gdLst/>
              <a:ahLst/>
              <a:cxnLst/>
              <a:rect l="l" t="t" r="r" b="b"/>
              <a:pathLst>
                <a:path w="3702" h="3723" extrusionOk="0">
                  <a:moveTo>
                    <a:pt x="1851" y="0"/>
                  </a:moveTo>
                  <a:cubicBezTo>
                    <a:pt x="826" y="0"/>
                    <a:pt x="1" y="825"/>
                    <a:pt x="1" y="1850"/>
                  </a:cubicBezTo>
                  <a:cubicBezTo>
                    <a:pt x="1" y="2876"/>
                    <a:pt x="826" y="3723"/>
                    <a:pt x="1851" y="3723"/>
                  </a:cubicBezTo>
                  <a:cubicBezTo>
                    <a:pt x="2876" y="3723"/>
                    <a:pt x="3701" y="2876"/>
                    <a:pt x="3701" y="1850"/>
                  </a:cubicBezTo>
                  <a:cubicBezTo>
                    <a:pt x="3701" y="825"/>
                    <a:pt x="2876" y="0"/>
                    <a:pt x="1851" y="0"/>
                  </a:cubicBezTo>
                  <a:close/>
                </a:path>
              </a:pathLst>
            </a:custGeom>
            <a:solidFill>
              <a:schemeClr val="accent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43" name="Google Shape;1043;p20"/>
            <p:cNvSpPr/>
            <p:nvPr/>
          </p:nvSpPr>
          <p:spPr>
            <a:xfrm>
              <a:off x="8828525" y="358050"/>
              <a:ext cx="102550" cy="102000"/>
            </a:xfrm>
            <a:custGeom>
              <a:avLst/>
              <a:gdLst/>
              <a:ahLst/>
              <a:cxnLst/>
              <a:rect l="l" t="t" r="r" b="b"/>
              <a:pathLst>
                <a:path w="4102" h="4080" extrusionOk="0">
                  <a:moveTo>
                    <a:pt x="2051" y="357"/>
                  </a:moveTo>
                  <a:cubicBezTo>
                    <a:pt x="2519" y="357"/>
                    <a:pt x="2920" y="558"/>
                    <a:pt x="3232" y="848"/>
                  </a:cubicBezTo>
                  <a:cubicBezTo>
                    <a:pt x="3544" y="1160"/>
                    <a:pt x="3723" y="1583"/>
                    <a:pt x="3723" y="2029"/>
                  </a:cubicBezTo>
                  <a:cubicBezTo>
                    <a:pt x="3723" y="2497"/>
                    <a:pt x="3544" y="2921"/>
                    <a:pt x="3232" y="3211"/>
                  </a:cubicBezTo>
                  <a:cubicBezTo>
                    <a:pt x="2920" y="3523"/>
                    <a:pt x="2519" y="3701"/>
                    <a:pt x="2051" y="3701"/>
                  </a:cubicBezTo>
                  <a:cubicBezTo>
                    <a:pt x="1583" y="3701"/>
                    <a:pt x="1182" y="3523"/>
                    <a:pt x="870" y="3211"/>
                  </a:cubicBezTo>
                  <a:cubicBezTo>
                    <a:pt x="558" y="2921"/>
                    <a:pt x="379" y="2497"/>
                    <a:pt x="379" y="2029"/>
                  </a:cubicBezTo>
                  <a:cubicBezTo>
                    <a:pt x="379" y="1583"/>
                    <a:pt x="558" y="1160"/>
                    <a:pt x="870" y="848"/>
                  </a:cubicBezTo>
                  <a:cubicBezTo>
                    <a:pt x="1182" y="558"/>
                    <a:pt x="1583" y="357"/>
                    <a:pt x="2051" y="357"/>
                  </a:cubicBezTo>
                  <a:close/>
                  <a:moveTo>
                    <a:pt x="2051" y="1"/>
                  </a:moveTo>
                  <a:cubicBezTo>
                    <a:pt x="914" y="1"/>
                    <a:pt x="0" y="915"/>
                    <a:pt x="0" y="2029"/>
                  </a:cubicBezTo>
                  <a:cubicBezTo>
                    <a:pt x="0" y="3166"/>
                    <a:pt x="914" y="4080"/>
                    <a:pt x="2051" y="4080"/>
                  </a:cubicBezTo>
                  <a:cubicBezTo>
                    <a:pt x="3188" y="4080"/>
                    <a:pt x="4102" y="3166"/>
                    <a:pt x="4102" y="2029"/>
                  </a:cubicBezTo>
                  <a:cubicBezTo>
                    <a:pt x="4102" y="915"/>
                    <a:pt x="3188" y="1"/>
                    <a:pt x="2051" y="1"/>
                  </a:cubicBezTo>
                  <a:close/>
                </a:path>
              </a:pathLst>
            </a:custGeom>
            <a:solidFill>
              <a:schemeClr val="dk1"/>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sp>
        <p:nvSpPr>
          <p:cNvPr id="1044" name="Google Shape;1044;p20"/>
          <p:cNvSpPr/>
          <p:nvPr/>
        </p:nvSpPr>
        <p:spPr>
          <a:xfrm rot="5400000">
            <a:off x="1377118" y="1688744"/>
            <a:ext cx="288614" cy="288337"/>
          </a:xfrm>
          <a:custGeom>
            <a:avLst/>
            <a:gdLst/>
            <a:ahLst/>
            <a:cxnLst/>
            <a:rect l="l" t="t" r="r" b="b"/>
            <a:pathLst>
              <a:path w="22915" h="22893" extrusionOk="0">
                <a:moveTo>
                  <a:pt x="11457" y="0"/>
                </a:moveTo>
                <a:cubicBezTo>
                  <a:pt x="5127" y="0"/>
                  <a:pt x="0" y="5127"/>
                  <a:pt x="0" y="11435"/>
                </a:cubicBezTo>
                <a:cubicBezTo>
                  <a:pt x="0" y="17766"/>
                  <a:pt x="5127" y="22892"/>
                  <a:pt x="11457" y="22892"/>
                </a:cubicBezTo>
                <a:cubicBezTo>
                  <a:pt x="17788" y="22892"/>
                  <a:pt x="22914" y="17766"/>
                  <a:pt x="22914" y="11435"/>
                </a:cubicBezTo>
                <a:cubicBezTo>
                  <a:pt x="22914" y="5127"/>
                  <a:pt x="17788" y="0"/>
                  <a:pt x="11457" y="0"/>
                </a:cubicBezTo>
                <a:close/>
              </a:path>
            </a:pathLst>
          </a:custGeom>
          <a:solidFill>
            <a:schemeClr val="accent1"/>
          </a:solidFill>
          <a:ln>
            <a:noFill/>
          </a:ln>
        </p:spPr>
        <p:txBody>
          <a:bodyPr spcFirstLastPara="1" wrap="square" lIns="91423" tIns="91423" rIns="91423" bIns="91423"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45" name="Google Shape;1045;p20"/>
          <p:cNvSpPr/>
          <p:nvPr/>
        </p:nvSpPr>
        <p:spPr>
          <a:xfrm rot="5400000">
            <a:off x="1374877" y="1686211"/>
            <a:ext cx="293111" cy="293388"/>
          </a:xfrm>
          <a:custGeom>
            <a:avLst/>
            <a:gdLst/>
            <a:ahLst/>
            <a:cxnLst/>
            <a:rect l="l" t="t" r="r" b="b"/>
            <a:pathLst>
              <a:path w="23272" h="23294" extrusionOk="0">
                <a:moveTo>
                  <a:pt x="11636" y="380"/>
                </a:moveTo>
                <a:cubicBezTo>
                  <a:pt x="14757" y="380"/>
                  <a:pt x="17566" y="1628"/>
                  <a:pt x="19594" y="3679"/>
                </a:cubicBezTo>
                <a:cubicBezTo>
                  <a:pt x="21645" y="5707"/>
                  <a:pt x="22893" y="8538"/>
                  <a:pt x="22893" y="11636"/>
                </a:cubicBezTo>
                <a:cubicBezTo>
                  <a:pt x="22893" y="14757"/>
                  <a:pt x="21645" y="17565"/>
                  <a:pt x="19594" y="19616"/>
                </a:cubicBezTo>
                <a:cubicBezTo>
                  <a:pt x="17566" y="21644"/>
                  <a:pt x="14757" y="22915"/>
                  <a:pt x="11636" y="22915"/>
                </a:cubicBezTo>
                <a:cubicBezTo>
                  <a:pt x="8516" y="22915"/>
                  <a:pt x="5707" y="21644"/>
                  <a:pt x="3657" y="19616"/>
                </a:cubicBezTo>
                <a:cubicBezTo>
                  <a:pt x="1628" y="17565"/>
                  <a:pt x="358" y="14757"/>
                  <a:pt x="358" y="11636"/>
                </a:cubicBezTo>
                <a:cubicBezTo>
                  <a:pt x="358" y="8538"/>
                  <a:pt x="1628" y="5707"/>
                  <a:pt x="3657" y="3679"/>
                </a:cubicBezTo>
                <a:cubicBezTo>
                  <a:pt x="5707" y="1628"/>
                  <a:pt x="8516" y="380"/>
                  <a:pt x="11636" y="380"/>
                </a:cubicBezTo>
                <a:close/>
                <a:moveTo>
                  <a:pt x="11636" y="1"/>
                </a:moveTo>
                <a:cubicBezTo>
                  <a:pt x="5217" y="1"/>
                  <a:pt x="1" y="5217"/>
                  <a:pt x="1" y="11636"/>
                </a:cubicBezTo>
                <a:cubicBezTo>
                  <a:pt x="1" y="18078"/>
                  <a:pt x="5217" y="23294"/>
                  <a:pt x="11636" y="23294"/>
                </a:cubicBezTo>
                <a:cubicBezTo>
                  <a:pt x="18056" y="23294"/>
                  <a:pt x="23272" y="18078"/>
                  <a:pt x="23272" y="11636"/>
                </a:cubicBezTo>
                <a:cubicBezTo>
                  <a:pt x="23272" y="5217"/>
                  <a:pt x="18056" y="1"/>
                  <a:pt x="11636" y="1"/>
                </a:cubicBezTo>
                <a:close/>
              </a:path>
            </a:pathLst>
          </a:custGeom>
          <a:solidFill>
            <a:schemeClr val="dk1"/>
          </a:solidFill>
          <a:ln>
            <a:noFill/>
          </a:ln>
        </p:spPr>
        <p:txBody>
          <a:bodyPr spcFirstLastPara="1" wrap="square" lIns="91423" tIns="91423" rIns="91423" bIns="91423"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46" name="Google Shape;1046;p20"/>
          <p:cNvSpPr/>
          <p:nvPr/>
        </p:nvSpPr>
        <p:spPr>
          <a:xfrm rot="5400000">
            <a:off x="1413611" y="1725239"/>
            <a:ext cx="215626" cy="215337"/>
          </a:xfrm>
          <a:custGeom>
            <a:avLst/>
            <a:gdLst/>
            <a:ahLst/>
            <a:cxnLst/>
            <a:rect l="l" t="t" r="r" b="b"/>
            <a:pathLst>
              <a:path w="17120" h="17097" extrusionOk="0">
                <a:moveTo>
                  <a:pt x="8560" y="0"/>
                </a:moveTo>
                <a:cubicBezTo>
                  <a:pt x="3835" y="0"/>
                  <a:pt x="1" y="3812"/>
                  <a:pt x="1" y="8537"/>
                </a:cubicBezTo>
                <a:cubicBezTo>
                  <a:pt x="1" y="13263"/>
                  <a:pt x="3835" y="17097"/>
                  <a:pt x="8560" y="17097"/>
                </a:cubicBezTo>
                <a:cubicBezTo>
                  <a:pt x="13286" y="17097"/>
                  <a:pt x="17120" y="13263"/>
                  <a:pt x="17120" y="8537"/>
                </a:cubicBezTo>
                <a:cubicBezTo>
                  <a:pt x="17120" y="3812"/>
                  <a:pt x="13286" y="0"/>
                  <a:pt x="8560" y="0"/>
                </a:cubicBezTo>
                <a:close/>
              </a:path>
            </a:pathLst>
          </a:custGeom>
          <a:solidFill>
            <a:srgbClr val="FFFFFF"/>
          </a:solidFill>
          <a:ln>
            <a:noFill/>
          </a:ln>
        </p:spPr>
        <p:txBody>
          <a:bodyPr spcFirstLastPara="1" wrap="square" lIns="91423" tIns="91423" rIns="91423" bIns="91423"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47" name="Google Shape;1047;p20"/>
          <p:cNvSpPr/>
          <p:nvPr/>
        </p:nvSpPr>
        <p:spPr>
          <a:xfrm rot="5400000">
            <a:off x="1411363" y="1722715"/>
            <a:ext cx="220123" cy="220400"/>
          </a:xfrm>
          <a:custGeom>
            <a:avLst/>
            <a:gdLst/>
            <a:ahLst/>
            <a:cxnLst/>
            <a:rect l="l" t="t" r="r" b="b"/>
            <a:pathLst>
              <a:path w="17477" h="17499" extrusionOk="0">
                <a:moveTo>
                  <a:pt x="8738" y="379"/>
                </a:moveTo>
                <a:cubicBezTo>
                  <a:pt x="11057" y="379"/>
                  <a:pt x="13130" y="1316"/>
                  <a:pt x="14645" y="2831"/>
                </a:cubicBezTo>
                <a:cubicBezTo>
                  <a:pt x="16161" y="4347"/>
                  <a:pt x="17097" y="6442"/>
                  <a:pt x="17097" y="8738"/>
                </a:cubicBezTo>
                <a:cubicBezTo>
                  <a:pt x="17097" y="11056"/>
                  <a:pt x="16161" y="13152"/>
                  <a:pt x="14645" y="14667"/>
                </a:cubicBezTo>
                <a:cubicBezTo>
                  <a:pt x="13130" y="16183"/>
                  <a:pt x="11057" y="17119"/>
                  <a:pt x="8738" y="17119"/>
                </a:cubicBezTo>
                <a:cubicBezTo>
                  <a:pt x="6420" y="17119"/>
                  <a:pt x="4325" y="16183"/>
                  <a:pt x="2809" y="14667"/>
                </a:cubicBezTo>
                <a:cubicBezTo>
                  <a:pt x="1293" y="13152"/>
                  <a:pt x="357" y="11056"/>
                  <a:pt x="357" y="8738"/>
                </a:cubicBezTo>
                <a:cubicBezTo>
                  <a:pt x="357" y="6442"/>
                  <a:pt x="1293" y="4347"/>
                  <a:pt x="2809" y="2831"/>
                </a:cubicBezTo>
                <a:cubicBezTo>
                  <a:pt x="4325" y="1316"/>
                  <a:pt x="6420" y="379"/>
                  <a:pt x="8738" y="379"/>
                </a:cubicBezTo>
                <a:close/>
                <a:moveTo>
                  <a:pt x="8738" y="0"/>
                </a:moveTo>
                <a:cubicBezTo>
                  <a:pt x="3901" y="0"/>
                  <a:pt x="1" y="3924"/>
                  <a:pt x="1" y="8738"/>
                </a:cubicBezTo>
                <a:cubicBezTo>
                  <a:pt x="1" y="13575"/>
                  <a:pt x="3901" y="17498"/>
                  <a:pt x="8738" y="17498"/>
                </a:cubicBezTo>
                <a:cubicBezTo>
                  <a:pt x="13553" y="17498"/>
                  <a:pt x="17476" y="13575"/>
                  <a:pt x="17476" y="8738"/>
                </a:cubicBezTo>
                <a:cubicBezTo>
                  <a:pt x="17476" y="3924"/>
                  <a:pt x="13553" y="0"/>
                  <a:pt x="8738" y="0"/>
                </a:cubicBezTo>
                <a:close/>
              </a:path>
            </a:pathLst>
          </a:custGeom>
          <a:solidFill>
            <a:schemeClr val="dk1"/>
          </a:solidFill>
          <a:ln>
            <a:noFill/>
          </a:ln>
        </p:spPr>
        <p:txBody>
          <a:bodyPr spcFirstLastPara="1" wrap="square" lIns="91423" tIns="91423" rIns="91423" bIns="91423"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48" name="Google Shape;1048;p20"/>
          <p:cNvSpPr/>
          <p:nvPr/>
        </p:nvSpPr>
        <p:spPr>
          <a:xfrm rot="5400000">
            <a:off x="1453340" y="1764683"/>
            <a:ext cx="136177" cy="136177"/>
          </a:xfrm>
          <a:custGeom>
            <a:avLst/>
            <a:gdLst/>
            <a:ahLst/>
            <a:cxnLst/>
            <a:rect l="l" t="t" r="r" b="b"/>
            <a:pathLst>
              <a:path w="10812" h="10812" extrusionOk="0">
                <a:moveTo>
                  <a:pt x="5417" y="1"/>
                </a:moveTo>
                <a:cubicBezTo>
                  <a:pt x="2430" y="1"/>
                  <a:pt x="1" y="2431"/>
                  <a:pt x="1" y="5395"/>
                </a:cubicBezTo>
                <a:cubicBezTo>
                  <a:pt x="1" y="8382"/>
                  <a:pt x="2430" y="10812"/>
                  <a:pt x="5417" y="10812"/>
                </a:cubicBezTo>
                <a:cubicBezTo>
                  <a:pt x="8404" y="10812"/>
                  <a:pt x="10812" y="8382"/>
                  <a:pt x="10812" y="5395"/>
                </a:cubicBezTo>
                <a:cubicBezTo>
                  <a:pt x="10812" y="2431"/>
                  <a:pt x="8404" y="1"/>
                  <a:pt x="5417" y="1"/>
                </a:cubicBezTo>
                <a:close/>
              </a:path>
            </a:pathLst>
          </a:custGeom>
          <a:solidFill>
            <a:schemeClr val="accent1"/>
          </a:solidFill>
          <a:ln>
            <a:noFill/>
          </a:ln>
        </p:spPr>
        <p:txBody>
          <a:bodyPr spcFirstLastPara="1" wrap="square" lIns="91423" tIns="91423" rIns="91423" bIns="91423"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49" name="Google Shape;1049;p20"/>
          <p:cNvSpPr/>
          <p:nvPr/>
        </p:nvSpPr>
        <p:spPr>
          <a:xfrm rot="5400000">
            <a:off x="1450947" y="1762580"/>
            <a:ext cx="140951" cy="140674"/>
          </a:xfrm>
          <a:custGeom>
            <a:avLst/>
            <a:gdLst/>
            <a:ahLst/>
            <a:cxnLst/>
            <a:rect l="l" t="t" r="r" b="b"/>
            <a:pathLst>
              <a:path w="11191" h="11169" extrusionOk="0">
                <a:moveTo>
                  <a:pt x="5595" y="357"/>
                </a:moveTo>
                <a:cubicBezTo>
                  <a:pt x="7044" y="357"/>
                  <a:pt x="8337" y="937"/>
                  <a:pt x="9273" y="1895"/>
                </a:cubicBezTo>
                <a:cubicBezTo>
                  <a:pt x="10232" y="2832"/>
                  <a:pt x="10811" y="4147"/>
                  <a:pt x="10811" y="5573"/>
                </a:cubicBezTo>
                <a:cubicBezTo>
                  <a:pt x="10811" y="7022"/>
                  <a:pt x="10232" y="8337"/>
                  <a:pt x="9273" y="9273"/>
                </a:cubicBezTo>
                <a:cubicBezTo>
                  <a:pt x="8337" y="10210"/>
                  <a:pt x="7044" y="10789"/>
                  <a:pt x="5595" y="10789"/>
                </a:cubicBezTo>
                <a:cubicBezTo>
                  <a:pt x="4147" y="10789"/>
                  <a:pt x="2854" y="10210"/>
                  <a:pt x="1895" y="9273"/>
                </a:cubicBezTo>
                <a:cubicBezTo>
                  <a:pt x="959" y="8337"/>
                  <a:pt x="379" y="7022"/>
                  <a:pt x="379" y="5573"/>
                </a:cubicBezTo>
                <a:cubicBezTo>
                  <a:pt x="379" y="4147"/>
                  <a:pt x="959" y="2832"/>
                  <a:pt x="1895" y="1895"/>
                </a:cubicBezTo>
                <a:cubicBezTo>
                  <a:pt x="2854" y="937"/>
                  <a:pt x="4147" y="357"/>
                  <a:pt x="5595" y="357"/>
                </a:cubicBezTo>
                <a:close/>
                <a:moveTo>
                  <a:pt x="5595" y="1"/>
                </a:moveTo>
                <a:cubicBezTo>
                  <a:pt x="2497" y="1"/>
                  <a:pt x="1" y="2497"/>
                  <a:pt x="1" y="5573"/>
                </a:cubicBezTo>
                <a:cubicBezTo>
                  <a:pt x="1" y="8672"/>
                  <a:pt x="2497" y="11168"/>
                  <a:pt x="5595" y="11168"/>
                </a:cubicBezTo>
                <a:cubicBezTo>
                  <a:pt x="8671" y="11168"/>
                  <a:pt x="11190" y="8672"/>
                  <a:pt x="11190" y="5573"/>
                </a:cubicBezTo>
                <a:cubicBezTo>
                  <a:pt x="11190" y="2497"/>
                  <a:pt x="8671" y="1"/>
                  <a:pt x="5595" y="1"/>
                </a:cubicBezTo>
                <a:close/>
              </a:path>
            </a:pathLst>
          </a:custGeom>
          <a:solidFill>
            <a:schemeClr val="dk1"/>
          </a:solidFill>
          <a:ln>
            <a:noFill/>
          </a:ln>
        </p:spPr>
        <p:txBody>
          <a:bodyPr spcFirstLastPara="1" wrap="square" lIns="91423" tIns="91423" rIns="91423" bIns="91423" anchor="ctr" anchorCtr="0">
            <a:noAutofit/>
          </a:bodyPr>
          <a:lstStyle/>
          <a:p>
            <a:pPr>
              <a:buClr>
                <a:srgbClr val="000000"/>
              </a:buClr>
              <a:buFont typeface="Arial"/>
              <a:buNone/>
            </a:pPr>
            <a:endParaRPr sz="1425" kern="0">
              <a:solidFill>
                <a:srgbClr val="000000"/>
              </a:solidFill>
              <a:cs typeface="Arial"/>
              <a:sym typeface="Arial"/>
            </a:endParaRPr>
          </a:p>
        </p:txBody>
      </p:sp>
      <p:grpSp>
        <p:nvGrpSpPr>
          <p:cNvPr id="1050" name="Google Shape;1050;p20"/>
          <p:cNvGrpSpPr/>
          <p:nvPr/>
        </p:nvGrpSpPr>
        <p:grpSpPr>
          <a:xfrm rot="5400000">
            <a:off x="1701120" y="1515381"/>
            <a:ext cx="175013" cy="27000"/>
            <a:chOff x="5662375" y="212375"/>
            <a:chExt cx="175013" cy="27000"/>
          </a:xfrm>
        </p:grpSpPr>
        <p:sp>
          <p:nvSpPr>
            <p:cNvPr id="1051" name="Google Shape;1051;p20"/>
            <p:cNvSpPr/>
            <p:nvPr/>
          </p:nvSpPr>
          <p:spPr>
            <a:xfrm>
              <a:off x="5662375" y="212375"/>
              <a:ext cx="27000" cy="27000"/>
            </a:xfrm>
            <a:prstGeom prst="ellipse">
              <a:avLst/>
            </a:prstGeom>
            <a:solidFill>
              <a:schemeClr val="dk2"/>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52" name="Google Shape;1052;p20"/>
            <p:cNvSpPr/>
            <p:nvPr/>
          </p:nvSpPr>
          <p:spPr>
            <a:xfrm>
              <a:off x="5736381" y="212375"/>
              <a:ext cx="27000" cy="27000"/>
            </a:xfrm>
            <a:prstGeom prst="ellipse">
              <a:avLst/>
            </a:prstGeom>
            <a:solidFill>
              <a:schemeClr val="dk2"/>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53" name="Google Shape;1053;p20"/>
            <p:cNvSpPr/>
            <p:nvPr/>
          </p:nvSpPr>
          <p:spPr>
            <a:xfrm>
              <a:off x="5810388" y="212375"/>
              <a:ext cx="27000" cy="27000"/>
            </a:xfrm>
            <a:prstGeom prst="ellipse">
              <a:avLst/>
            </a:prstGeom>
            <a:solidFill>
              <a:schemeClr val="dk2"/>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1054" name="Google Shape;1054;p20"/>
          <p:cNvGrpSpPr/>
          <p:nvPr/>
        </p:nvGrpSpPr>
        <p:grpSpPr>
          <a:xfrm rot="5400000">
            <a:off x="1819520" y="4562081"/>
            <a:ext cx="175013" cy="27000"/>
            <a:chOff x="5662375" y="212375"/>
            <a:chExt cx="175013" cy="27000"/>
          </a:xfrm>
        </p:grpSpPr>
        <p:sp>
          <p:nvSpPr>
            <p:cNvPr id="1055" name="Google Shape;1055;p20"/>
            <p:cNvSpPr/>
            <p:nvPr/>
          </p:nvSpPr>
          <p:spPr>
            <a:xfrm>
              <a:off x="5662375" y="212375"/>
              <a:ext cx="27000" cy="27000"/>
            </a:xfrm>
            <a:prstGeom prst="ellipse">
              <a:avLst/>
            </a:prstGeom>
            <a:solidFill>
              <a:schemeClr val="dk2"/>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56" name="Google Shape;1056;p20"/>
            <p:cNvSpPr/>
            <p:nvPr/>
          </p:nvSpPr>
          <p:spPr>
            <a:xfrm>
              <a:off x="5736381" y="212375"/>
              <a:ext cx="27000" cy="27000"/>
            </a:xfrm>
            <a:prstGeom prst="ellipse">
              <a:avLst/>
            </a:prstGeom>
            <a:solidFill>
              <a:schemeClr val="dk2"/>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57" name="Google Shape;1057;p20"/>
            <p:cNvSpPr/>
            <p:nvPr/>
          </p:nvSpPr>
          <p:spPr>
            <a:xfrm>
              <a:off x="5810388" y="212375"/>
              <a:ext cx="27000" cy="27000"/>
            </a:xfrm>
            <a:prstGeom prst="ellipse">
              <a:avLst/>
            </a:prstGeom>
            <a:solidFill>
              <a:schemeClr val="dk2"/>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grpSp>
        <p:nvGrpSpPr>
          <p:cNvPr id="1058" name="Google Shape;1058;p20"/>
          <p:cNvGrpSpPr/>
          <p:nvPr/>
        </p:nvGrpSpPr>
        <p:grpSpPr>
          <a:xfrm rot="5400000">
            <a:off x="408595" y="4140781"/>
            <a:ext cx="175013" cy="27000"/>
            <a:chOff x="5662375" y="212375"/>
            <a:chExt cx="175013" cy="27000"/>
          </a:xfrm>
        </p:grpSpPr>
        <p:sp>
          <p:nvSpPr>
            <p:cNvPr id="1059" name="Google Shape;1059;p20"/>
            <p:cNvSpPr/>
            <p:nvPr/>
          </p:nvSpPr>
          <p:spPr>
            <a:xfrm>
              <a:off x="5662375" y="212375"/>
              <a:ext cx="27000" cy="27000"/>
            </a:xfrm>
            <a:prstGeom prst="ellipse">
              <a:avLst/>
            </a:prstGeom>
            <a:solidFill>
              <a:srgbClr val="595959"/>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60" name="Google Shape;1060;p20"/>
            <p:cNvSpPr/>
            <p:nvPr/>
          </p:nvSpPr>
          <p:spPr>
            <a:xfrm>
              <a:off x="5736381" y="212375"/>
              <a:ext cx="27000" cy="27000"/>
            </a:xfrm>
            <a:prstGeom prst="ellipse">
              <a:avLst/>
            </a:prstGeom>
            <a:solidFill>
              <a:srgbClr val="595959"/>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sp>
          <p:nvSpPr>
            <p:cNvPr id="1061" name="Google Shape;1061;p20"/>
            <p:cNvSpPr/>
            <p:nvPr/>
          </p:nvSpPr>
          <p:spPr>
            <a:xfrm>
              <a:off x="5810388" y="212375"/>
              <a:ext cx="27000" cy="27000"/>
            </a:xfrm>
            <a:prstGeom prst="ellipse">
              <a:avLst/>
            </a:prstGeom>
            <a:solidFill>
              <a:srgbClr val="595959"/>
            </a:solidFill>
            <a:ln>
              <a:noFill/>
            </a:ln>
          </p:spPr>
          <p:txBody>
            <a:bodyPr spcFirstLastPara="1" wrap="square" lIns="91425" tIns="91425" rIns="91425" bIns="91425" anchor="ctr" anchorCtr="0">
              <a:noAutofit/>
            </a:bodyPr>
            <a:lstStyle/>
            <a:p>
              <a:pPr>
                <a:buClr>
                  <a:srgbClr val="000000"/>
                </a:buClr>
                <a:buFont typeface="Arial"/>
                <a:buNone/>
              </a:pPr>
              <a:endParaRPr sz="1425" kern="0">
                <a:solidFill>
                  <a:srgbClr val="000000"/>
                </a:solidFill>
                <a:cs typeface="Arial"/>
                <a:sym typeface="Arial"/>
              </a:endParaRPr>
            </a:p>
          </p:txBody>
        </p:sp>
      </p:grpSp>
    </p:spTree>
    <p:extLst>
      <p:ext uri="{BB962C8B-B14F-4D97-AF65-F5344CB8AC3E}">
        <p14:creationId xmlns:p14="http://schemas.microsoft.com/office/powerpoint/2010/main" val="6538715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32"/>
        <p:cNvGrpSpPr/>
        <p:nvPr/>
      </p:nvGrpSpPr>
      <p:grpSpPr>
        <a:xfrm>
          <a:off x="0" y="0"/>
          <a:ext cx="0" cy="0"/>
          <a:chOff x="0" y="0"/>
          <a:chExt cx="0" cy="0"/>
        </a:xfrm>
      </p:grpSpPr>
      <p:sp>
        <p:nvSpPr>
          <p:cNvPr id="233" name="Google Shape;233;p5"/>
          <p:cNvSpPr txBox="1">
            <a:spLocks noGrp="1"/>
          </p:cNvSpPr>
          <p:nvPr>
            <p:ph type="title"/>
          </p:nvPr>
        </p:nvSpPr>
        <p:spPr>
          <a:xfrm>
            <a:off x="713275" y="445025"/>
            <a:ext cx="7717500" cy="740700"/>
          </a:xfrm>
          <a:prstGeom prst="rect">
            <a:avLst/>
          </a:prstGeom>
        </p:spPr>
        <p:txBody>
          <a:bodyPr spcFirstLastPara="1" wrap="square" lIns="91425" tIns="91425" rIns="91425" bIns="91425" anchor="t" anchorCtr="0">
            <a:noAutofit/>
          </a:bodyPr>
          <a:lstStyle>
            <a:lvl1pPr lvl="0" algn="ctr">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sp>
        <p:nvSpPr>
          <p:cNvPr id="234" name="Google Shape;234;p5"/>
          <p:cNvSpPr txBox="1">
            <a:spLocks noGrp="1"/>
          </p:cNvSpPr>
          <p:nvPr>
            <p:ph type="title" idx="2"/>
          </p:nvPr>
        </p:nvSpPr>
        <p:spPr>
          <a:xfrm>
            <a:off x="1287363" y="2851300"/>
            <a:ext cx="2959800" cy="5277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2500"/>
              <a:buNone/>
              <a:defRPr sz="24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235" name="Google Shape;235;p5"/>
          <p:cNvSpPr txBox="1">
            <a:spLocks noGrp="1"/>
          </p:cNvSpPr>
          <p:nvPr>
            <p:ph type="subTitle" idx="1"/>
          </p:nvPr>
        </p:nvSpPr>
        <p:spPr>
          <a:xfrm>
            <a:off x="1287363" y="3280848"/>
            <a:ext cx="2959800" cy="1046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
        <p:nvSpPr>
          <p:cNvPr id="236" name="Google Shape;236;p5"/>
          <p:cNvSpPr txBox="1">
            <a:spLocks noGrp="1"/>
          </p:cNvSpPr>
          <p:nvPr>
            <p:ph type="title" idx="3"/>
          </p:nvPr>
        </p:nvSpPr>
        <p:spPr>
          <a:xfrm>
            <a:off x="4896828" y="2851300"/>
            <a:ext cx="2959800" cy="5277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2500"/>
              <a:buNone/>
              <a:defRPr sz="24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237" name="Google Shape;237;p5"/>
          <p:cNvSpPr txBox="1">
            <a:spLocks noGrp="1"/>
          </p:cNvSpPr>
          <p:nvPr>
            <p:ph type="subTitle" idx="4"/>
          </p:nvPr>
        </p:nvSpPr>
        <p:spPr>
          <a:xfrm>
            <a:off x="4896828" y="3280848"/>
            <a:ext cx="2959800" cy="1046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grpSp>
        <p:nvGrpSpPr>
          <p:cNvPr id="238" name="Google Shape;238;p5"/>
          <p:cNvGrpSpPr/>
          <p:nvPr/>
        </p:nvGrpSpPr>
        <p:grpSpPr>
          <a:xfrm>
            <a:off x="-805972" y="586468"/>
            <a:ext cx="11162228" cy="4271552"/>
            <a:chOff x="-805972" y="586468"/>
            <a:chExt cx="11162228" cy="4271552"/>
          </a:xfrm>
        </p:grpSpPr>
        <p:grpSp>
          <p:nvGrpSpPr>
            <p:cNvPr id="239" name="Google Shape;239;p5"/>
            <p:cNvGrpSpPr/>
            <p:nvPr/>
          </p:nvGrpSpPr>
          <p:grpSpPr>
            <a:xfrm rot="1142277">
              <a:off x="-658667" y="1471301"/>
              <a:ext cx="1434735" cy="1143936"/>
              <a:chOff x="12004800" y="5638575"/>
              <a:chExt cx="810675" cy="646375"/>
            </a:xfrm>
          </p:grpSpPr>
          <p:grpSp>
            <p:nvGrpSpPr>
              <p:cNvPr id="240" name="Google Shape;240;p5"/>
              <p:cNvGrpSpPr/>
              <p:nvPr/>
            </p:nvGrpSpPr>
            <p:grpSpPr>
              <a:xfrm>
                <a:off x="12004800" y="5638575"/>
                <a:ext cx="810675" cy="646375"/>
                <a:chOff x="12004800" y="5638575"/>
                <a:chExt cx="810675" cy="646375"/>
              </a:xfrm>
            </p:grpSpPr>
            <p:sp>
              <p:nvSpPr>
                <p:cNvPr id="241" name="Google Shape;241;p5"/>
                <p:cNvSpPr/>
                <p:nvPr/>
              </p:nvSpPr>
              <p:spPr>
                <a:xfrm>
                  <a:off x="12004800" y="5638950"/>
                  <a:ext cx="587750" cy="461350"/>
                </a:xfrm>
                <a:custGeom>
                  <a:avLst/>
                  <a:gdLst/>
                  <a:ahLst/>
                  <a:cxnLst/>
                  <a:rect l="l" t="t" r="r" b="b"/>
                  <a:pathLst>
                    <a:path w="23510" h="18454" extrusionOk="0">
                      <a:moveTo>
                        <a:pt x="23510" y="1"/>
                      </a:moveTo>
                      <a:cubicBezTo>
                        <a:pt x="23092" y="598"/>
                        <a:pt x="20702" y="3077"/>
                        <a:pt x="20702" y="3077"/>
                      </a:cubicBezTo>
                      <a:lnTo>
                        <a:pt x="20478" y="2599"/>
                      </a:lnTo>
                      <a:cubicBezTo>
                        <a:pt x="19880" y="3481"/>
                        <a:pt x="18521" y="4810"/>
                        <a:pt x="18521" y="4810"/>
                      </a:cubicBezTo>
                      <a:lnTo>
                        <a:pt x="18222" y="4332"/>
                      </a:lnTo>
                      <a:cubicBezTo>
                        <a:pt x="17595" y="4840"/>
                        <a:pt x="16565" y="6647"/>
                        <a:pt x="16565" y="6647"/>
                      </a:cubicBezTo>
                      <a:lnTo>
                        <a:pt x="16176" y="6124"/>
                      </a:lnTo>
                      <a:cubicBezTo>
                        <a:pt x="15566" y="7129"/>
                        <a:pt x="15497" y="8268"/>
                        <a:pt x="15490" y="8468"/>
                      </a:cubicBezTo>
                      <a:lnTo>
                        <a:pt x="15490" y="8468"/>
                      </a:lnTo>
                      <a:cubicBezTo>
                        <a:pt x="15519" y="7158"/>
                        <a:pt x="14578" y="5452"/>
                        <a:pt x="14578" y="5452"/>
                      </a:cubicBezTo>
                      <a:lnTo>
                        <a:pt x="14399" y="6020"/>
                      </a:lnTo>
                      <a:cubicBezTo>
                        <a:pt x="13936" y="4974"/>
                        <a:pt x="12562" y="3690"/>
                        <a:pt x="12562" y="3690"/>
                      </a:cubicBezTo>
                      <a:lnTo>
                        <a:pt x="12383" y="4123"/>
                      </a:lnTo>
                      <a:cubicBezTo>
                        <a:pt x="11979" y="3481"/>
                        <a:pt x="10560" y="1957"/>
                        <a:pt x="10560" y="1957"/>
                      </a:cubicBezTo>
                      <a:lnTo>
                        <a:pt x="10531" y="2495"/>
                      </a:lnTo>
                      <a:cubicBezTo>
                        <a:pt x="9709" y="1763"/>
                        <a:pt x="7424" y="61"/>
                        <a:pt x="7424" y="60"/>
                      </a:cubicBezTo>
                      <a:lnTo>
                        <a:pt x="7424" y="60"/>
                      </a:lnTo>
                      <a:cubicBezTo>
                        <a:pt x="7767" y="777"/>
                        <a:pt x="7917" y="3062"/>
                        <a:pt x="7917" y="3062"/>
                      </a:cubicBezTo>
                      <a:lnTo>
                        <a:pt x="7469" y="3062"/>
                      </a:lnTo>
                      <a:cubicBezTo>
                        <a:pt x="7842" y="3944"/>
                        <a:pt x="8260" y="5721"/>
                        <a:pt x="8260" y="5721"/>
                      </a:cubicBezTo>
                      <a:lnTo>
                        <a:pt x="7723" y="5661"/>
                      </a:lnTo>
                      <a:lnTo>
                        <a:pt x="7723" y="5661"/>
                      </a:lnTo>
                      <a:cubicBezTo>
                        <a:pt x="7887" y="6617"/>
                        <a:pt x="8768" y="8141"/>
                        <a:pt x="8768" y="8141"/>
                      </a:cubicBezTo>
                      <a:lnTo>
                        <a:pt x="8051" y="8141"/>
                      </a:lnTo>
                      <a:cubicBezTo>
                        <a:pt x="8678" y="9365"/>
                        <a:pt x="10112" y="10500"/>
                        <a:pt x="10112" y="10500"/>
                      </a:cubicBezTo>
                      <a:cubicBezTo>
                        <a:pt x="9052" y="9813"/>
                        <a:pt x="6752" y="9679"/>
                        <a:pt x="6752" y="9679"/>
                      </a:cubicBezTo>
                      <a:lnTo>
                        <a:pt x="6752" y="9679"/>
                      </a:lnTo>
                      <a:lnTo>
                        <a:pt x="6841" y="10187"/>
                      </a:lnTo>
                      <a:cubicBezTo>
                        <a:pt x="6162" y="10086"/>
                        <a:pt x="5549" y="10057"/>
                        <a:pt x="5067" y="10057"/>
                      </a:cubicBezTo>
                      <a:cubicBezTo>
                        <a:pt x="4404" y="10057"/>
                        <a:pt x="3989" y="10112"/>
                        <a:pt x="3989" y="10112"/>
                      </a:cubicBezTo>
                      <a:lnTo>
                        <a:pt x="4317" y="10485"/>
                      </a:lnTo>
                      <a:cubicBezTo>
                        <a:pt x="3033" y="10530"/>
                        <a:pt x="1" y="11307"/>
                        <a:pt x="1" y="11307"/>
                      </a:cubicBezTo>
                      <a:cubicBezTo>
                        <a:pt x="1793" y="12756"/>
                        <a:pt x="3839" y="13921"/>
                        <a:pt x="3839" y="13921"/>
                      </a:cubicBezTo>
                      <a:lnTo>
                        <a:pt x="3436" y="14175"/>
                      </a:lnTo>
                      <a:cubicBezTo>
                        <a:pt x="4482" y="14712"/>
                        <a:pt x="6767" y="16505"/>
                        <a:pt x="6767" y="16505"/>
                      </a:cubicBezTo>
                      <a:lnTo>
                        <a:pt x="6423" y="16788"/>
                      </a:lnTo>
                      <a:cubicBezTo>
                        <a:pt x="7648" y="17640"/>
                        <a:pt x="10277" y="17983"/>
                        <a:pt x="10277" y="17983"/>
                      </a:cubicBezTo>
                      <a:lnTo>
                        <a:pt x="10067" y="18431"/>
                      </a:lnTo>
                      <a:cubicBezTo>
                        <a:pt x="10308" y="18447"/>
                        <a:pt x="10537" y="18454"/>
                        <a:pt x="10755" y="18454"/>
                      </a:cubicBezTo>
                      <a:cubicBezTo>
                        <a:pt x="13074" y="18454"/>
                        <a:pt x="14085" y="17655"/>
                        <a:pt x="14085" y="17655"/>
                      </a:cubicBezTo>
                      <a:lnTo>
                        <a:pt x="23510"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2" name="Google Shape;242;p5"/>
                <p:cNvSpPr/>
                <p:nvPr/>
              </p:nvSpPr>
              <p:spPr>
                <a:xfrm>
                  <a:off x="12354300" y="5638575"/>
                  <a:ext cx="461175" cy="646375"/>
                </a:xfrm>
                <a:custGeom>
                  <a:avLst/>
                  <a:gdLst/>
                  <a:ahLst/>
                  <a:cxnLst/>
                  <a:rect l="l" t="t" r="r" b="b"/>
                  <a:pathLst>
                    <a:path w="18447" h="25855" extrusionOk="0">
                      <a:moveTo>
                        <a:pt x="9545" y="1"/>
                      </a:moveTo>
                      <a:lnTo>
                        <a:pt x="105" y="17670"/>
                      </a:lnTo>
                      <a:cubicBezTo>
                        <a:pt x="105" y="17670"/>
                        <a:pt x="1" y="19208"/>
                        <a:pt x="1688" y="21434"/>
                      </a:cubicBezTo>
                      <a:lnTo>
                        <a:pt x="1957" y="21015"/>
                      </a:lnTo>
                      <a:cubicBezTo>
                        <a:pt x="1957" y="21015"/>
                        <a:pt x="3705" y="23017"/>
                        <a:pt x="5079" y="23554"/>
                      </a:cubicBezTo>
                      <a:lnTo>
                        <a:pt x="5124" y="23106"/>
                      </a:lnTo>
                      <a:cubicBezTo>
                        <a:pt x="5124" y="23106"/>
                        <a:pt x="7872" y="24017"/>
                        <a:pt x="8917" y="24585"/>
                      </a:cubicBezTo>
                      <a:lnTo>
                        <a:pt x="8902" y="24107"/>
                      </a:lnTo>
                      <a:lnTo>
                        <a:pt x="8902" y="24107"/>
                      </a:lnTo>
                      <a:cubicBezTo>
                        <a:pt x="8903" y="24107"/>
                        <a:pt x="11023" y="25153"/>
                        <a:pt x="13219" y="25855"/>
                      </a:cubicBezTo>
                      <a:cubicBezTo>
                        <a:pt x="13219" y="25855"/>
                        <a:pt x="12173" y="22897"/>
                        <a:pt x="11501" y="21792"/>
                      </a:cubicBezTo>
                      <a:lnTo>
                        <a:pt x="11501" y="21792"/>
                      </a:lnTo>
                      <a:lnTo>
                        <a:pt x="11994" y="21852"/>
                      </a:lnTo>
                      <a:cubicBezTo>
                        <a:pt x="11994" y="21852"/>
                        <a:pt x="11441" y="20717"/>
                        <a:pt x="10351" y="19522"/>
                      </a:cubicBezTo>
                      <a:lnTo>
                        <a:pt x="10814" y="19313"/>
                      </a:lnTo>
                      <a:cubicBezTo>
                        <a:pt x="10814" y="19313"/>
                        <a:pt x="9410" y="17461"/>
                        <a:pt x="8260" y="16983"/>
                      </a:cubicBezTo>
                      <a:lnTo>
                        <a:pt x="8260" y="16983"/>
                      </a:lnTo>
                      <a:cubicBezTo>
                        <a:pt x="8261" y="16983"/>
                        <a:pt x="9641" y="17407"/>
                        <a:pt x="10902" y="17407"/>
                      </a:cubicBezTo>
                      <a:cubicBezTo>
                        <a:pt x="11060" y="17407"/>
                        <a:pt x="11216" y="17401"/>
                        <a:pt x="11367" y="17386"/>
                      </a:cubicBezTo>
                      <a:lnTo>
                        <a:pt x="10964" y="16803"/>
                      </a:lnTo>
                      <a:cubicBezTo>
                        <a:pt x="10964" y="16803"/>
                        <a:pt x="12726" y="16669"/>
                        <a:pt x="13607" y="16296"/>
                      </a:cubicBezTo>
                      <a:lnTo>
                        <a:pt x="13249" y="15892"/>
                      </a:lnTo>
                      <a:cubicBezTo>
                        <a:pt x="13249" y="15892"/>
                        <a:pt x="14966" y="15250"/>
                        <a:pt x="15922" y="15071"/>
                      </a:cubicBezTo>
                      <a:lnTo>
                        <a:pt x="15668" y="14683"/>
                      </a:lnTo>
                      <a:cubicBezTo>
                        <a:pt x="15668" y="14683"/>
                        <a:pt x="17655" y="13532"/>
                        <a:pt x="18446" y="13428"/>
                      </a:cubicBezTo>
                      <a:cubicBezTo>
                        <a:pt x="18446" y="13428"/>
                        <a:pt x="15758" y="12457"/>
                        <a:pt x="14683" y="12218"/>
                      </a:cubicBezTo>
                      <a:lnTo>
                        <a:pt x="15116" y="11875"/>
                      </a:lnTo>
                      <a:cubicBezTo>
                        <a:pt x="15116" y="11875"/>
                        <a:pt x="13335" y="11587"/>
                        <a:pt x="12471" y="11587"/>
                      </a:cubicBezTo>
                      <a:cubicBezTo>
                        <a:pt x="12412" y="11587"/>
                        <a:pt x="12357" y="11588"/>
                        <a:pt x="12308" y="11591"/>
                      </a:cubicBezTo>
                      <a:lnTo>
                        <a:pt x="12577" y="11202"/>
                      </a:lnTo>
                      <a:cubicBezTo>
                        <a:pt x="12577" y="11202"/>
                        <a:pt x="11336" y="10900"/>
                        <a:pt x="10272" y="10900"/>
                      </a:cubicBezTo>
                      <a:cubicBezTo>
                        <a:pt x="10041" y="10900"/>
                        <a:pt x="9819" y="10914"/>
                        <a:pt x="9619" y="10949"/>
                      </a:cubicBezTo>
                      <a:lnTo>
                        <a:pt x="9978" y="10471"/>
                      </a:lnTo>
                      <a:lnTo>
                        <a:pt x="9978" y="10471"/>
                      </a:lnTo>
                      <a:cubicBezTo>
                        <a:pt x="9977" y="10471"/>
                        <a:pt x="8024" y="10650"/>
                        <a:pt x="6948" y="11410"/>
                      </a:cubicBezTo>
                      <a:lnTo>
                        <a:pt x="6948" y="11410"/>
                      </a:lnTo>
                      <a:cubicBezTo>
                        <a:pt x="7006" y="11369"/>
                        <a:pt x="8007" y="10646"/>
                        <a:pt x="8529" y="9515"/>
                      </a:cubicBezTo>
                      <a:lnTo>
                        <a:pt x="7887" y="9470"/>
                      </a:lnTo>
                      <a:cubicBezTo>
                        <a:pt x="7887" y="9470"/>
                        <a:pt x="8813" y="7603"/>
                        <a:pt x="8873" y="6811"/>
                      </a:cubicBezTo>
                      <a:lnTo>
                        <a:pt x="8873" y="6811"/>
                      </a:lnTo>
                      <a:lnTo>
                        <a:pt x="8320" y="6826"/>
                      </a:lnTo>
                      <a:cubicBezTo>
                        <a:pt x="8320" y="6826"/>
                        <a:pt x="8678" y="4944"/>
                        <a:pt x="9052" y="3974"/>
                      </a:cubicBezTo>
                      <a:lnTo>
                        <a:pt x="9052" y="3974"/>
                      </a:lnTo>
                      <a:lnTo>
                        <a:pt x="8529" y="4033"/>
                      </a:lnTo>
                      <a:cubicBezTo>
                        <a:pt x="8529" y="4033"/>
                        <a:pt x="9276" y="658"/>
                        <a:pt x="954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43" name="Google Shape;243;p5"/>
              <p:cNvGrpSpPr/>
              <p:nvPr/>
            </p:nvGrpSpPr>
            <p:grpSpPr>
              <a:xfrm>
                <a:off x="12117950" y="5719225"/>
                <a:ext cx="604550" cy="543325"/>
                <a:chOff x="12117950" y="5719225"/>
                <a:chExt cx="604550" cy="543325"/>
              </a:xfrm>
            </p:grpSpPr>
            <p:sp>
              <p:nvSpPr>
                <p:cNvPr id="244" name="Google Shape;244;p5"/>
                <p:cNvSpPr/>
                <p:nvPr/>
              </p:nvSpPr>
              <p:spPr>
                <a:xfrm>
                  <a:off x="12263575" y="5772250"/>
                  <a:ext cx="258025" cy="490300"/>
                </a:xfrm>
                <a:custGeom>
                  <a:avLst/>
                  <a:gdLst/>
                  <a:ahLst/>
                  <a:cxnLst/>
                  <a:rect l="l" t="t" r="r" b="b"/>
                  <a:pathLst>
                    <a:path w="10321" h="19612" extrusionOk="0">
                      <a:moveTo>
                        <a:pt x="10276" y="1"/>
                      </a:moveTo>
                      <a:cubicBezTo>
                        <a:pt x="9410" y="1599"/>
                        <a:pt x="8558" y="3212"/>
                        <a:pt x="7677" y="4795"/>
                      </a:cubicBezTo>
                      <a:cubicBezTo>
                        <a:pt x="6453" y="7006"/>
                        <a:pt x="4287" y="10993"/>
                        <a:pt x="3062" y="13174"/>
                      </a:cubicBezTo>
                      <a:cubicBezTo>
                        <a:pt x="2091" y="14981"/>
                        <a:pt x="1016" y="16803"/>
                        <a:pt x="239" y="18715"/>
                      </a:cubicBezTo>
                      <a:cubicBezTo>
                        <a:pt x="150" y="18924"/>
                        <a:pt x="75" y="19178"/>
                        <a:pt x="0" y="19417"/>
                      </a:cubicBezTo>
                      <a:lnTo>
                        <a:pt x="1135" y="19611"/>
                      </a:lnTo>
                      <a:cubicBezTo>
                        <a:pt x="1195" y="18790"/>
                        <a:pt x="1494" y="17894"/>
                        <a:pt x="1778" y="17087"/>
                      </a:cubicBezTo>
                      <a:cubicBezTo>
                        <a:pt x="2644" y="14608"/>
                        <a:pt x="4063" y="12054"/>
                        <a:pt x="5258" y="9709"/>
                      </a:cubicBezTo>
                      <a:cubicBezTo>
                        <a:pt x="6736" y="6886"/>
                        <a:pt x="8827" y="2809"/>
                        <a:pt x="10321" y="30"/>
                      </a:cubicBezTo>
                      <a:cubicBezTo>
                        <a:pt x="10321" y="30"/>
                        <a:pt x="10276" y="16"/>
                        <a:pt x="1027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5" name="Google Shape;245;p5"/>
                <p:cNvSpPr/>
                <p:nvPr/>
              </p:nvSpPr>
              <p:spPr>
                <a:xfrm>
                  <a:off x="12383800" y="6029900"/>
                  <a:ext cx="217725" cy="173650"/>
                </a:xfrm>
                <a:custGeom>
                  <a:avLst/>
                  <a:gdLst/>
                  <a:ahLst/>
                  <a:cxnLst/>
                  <a:rect l="l" t="t" r="r" b="b"/>
                  <a:pathLst>
                    <a:path w="8709" h="6946" fill="none" extrusionOk="0">
                      <a:moveTo>
                        <a:pt x="1" y="0"/>
                      </a:moveTo>
                      <a:cubicBezTo>
                        <a:pt x="1" y="0"/>
                        <a:pt x="5497" y="2928"/>
                        <a:pt x="8708" y="6946"/>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6" name="Google Shape;246;p5"/>
                <p:cNvSpPr/>
                <p:nvPr/>
              </p:nvSpPr>
              <p:spPr>
                <a:xfrm>
                  <a:off x="12538025" y="6137800"/>
                  <a:ext cx="6000" cy="39975"/>
                </a:xfrm>
                <a:custGeom>
                  <a:avLst/>
                  <a:gdLst/>
                  <a:ahLst/>
                  <a:cxnLst/>
                  <a:rect l="l" t="t" r="r" b="b"/>
                  <a:pathLst>
                    <a:path w="240" h="1599" fill="none" extrusionOk="0">
                      <a:moveTo>
                        <a:pt x="0" y="1"/>
                      </a:moveTo>
                      <a:lnTo>
                        <a:pt x="239"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5"/>
                <p:cNvSpPr/>
                <p:nvPr/>
              </p:nvSpPr>
              <p:spPr>
                <a:xfrm>
                  <a:off x="12472300" y="6085525"/>
                  <a:ext cx="66100" cy="5625"/>
                </a:xfrm>
                <a:custGeom>
                  <a:avLst/>
                  <a:gdLst/>
                  <a:ahLst/>
                  <a:cxnLst/>
                  <a:rect l="l" t="t" r="r" b="b"/>
                  <a:pathLst>
                    <a:path w="2644" h="225" fill="none" extrusionOk="0">
                      <a:moveTo>
                        <a:pt x="0" y="1"/>
                      </a:moveTo>
                      <a:lnTo>
                        <a:pt x="2644" y="22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8" name="Google Shape;248;p5"/>
                <p:cNvSpPr/>
                <p:nvPr/>
              </p:nvSpPr>
              <p:spPr>
                <a:xfrm>
                  <a:off x="12400600" y="5975375"/>
                  <a:ext cx="321900" cy="22800"/>
                </a:xfrm>
                <a:custGeom>
                  <a:avLst/>
                  <a:gdLst/>
                  <a:ahLst/>
                  <a:cxnLst/>
                  <a:rect l="l" t="t" r="r" b="b"/>
                  <a:pathLst>
                    <a:path w="12876" h="912" fill="none" extrusionOk="0">
                      <a:moveTo>
                        <a:pt x="1" y="912"/>
                      </a:moveTo>
                      <a:cubicBezTo>
                        <a:pt x="1" y="912"/>
                        <a:pt x="7484" y="1"/>
                        <a:pt x="12875" y="10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9" name="Google Shape;249;p5"/>
                <p:cNvSpPr/>
                <p:nvPr/>
              </p:nvSpPr>
              <p:spPr>
                <a:xfrm>
                  <a:off x="12617175" y="5979500"/>
                  <a:ext cx="67975" cy="23525"/>
                </a:xfrm>
                <a:custGeom>
                  <a:avLst/>
                  <a:gdLst/>
                  <a:ahLst/>
                  <a:cxnLst/>
                  <a:rect l="l" t="t" r="r" b="b"/>
                  <a:pathLst>
                    <a:path w="2719" h="941" fill="none" extrusionOk="0">
                      <a:moveTo>
                        <a:pt x="0" y="0"/>
                      </a:moveTo>
                      <a:lnTo>
                        <a:pt x="2719" y="94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0" name="Google Shape;250;p5"/>
                <p:cNvSpPr/>
                <p:nvPr/>
              </p:nvSpPr>
              <p:spPr>
                <a:xfrm>
                  <a:off x="12525700" y="5955600"/>
                  <a:ext cx="22800" cy="30250"/>
                </a:xfrm>
                <a:custGeom>
                  <a:avLst/>
                  <a:gdLst/>
                  <a:ahLst/>
                  <a:cxnLst/>
                  <a:rect l="l" t="t" r="r" b="b"/>
                  <a:pathLst>
                    <a:path w="912" h="1210" fill="none" extrusionOk="0">
                      <a:moveTo>
                        <a:pt x="0" y="1210"/>
                      </a:moveTo>
                      <a:lnTo>
                        <a:pt x="911"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1" name="Google Shape;251;p5"/>
                <p:cNvSpPr/>
                <p:nvPr/>
              </p:nvSpPr>
              <p:spPr>
                <a:xfrm>
                  <a:off x="12117950" y="5945500"/>
                  <a:ext cx="265875" cy="84425"/>
                </a:xfrm>
                <a:custGeom>
                  <a:avLst/>
                  <a:gdLst/>
                  <a:ahLst/>
                  <a:cxnLst/>
                  <a:rect l="l" t="t" r="r" b="b"/>
                  <a:pathLst>
                    <a:path w="10635" h="3377" fill="none" extrusionOk="0">
                      <a:moveTo>
                        <a:pt x="10635" y="3376"/>
                      </a:moveTo>
                      <a:cubicBezTo>
                        <a:pt x="10635" y="3376"/>
                        <a:pt x="5138" y="434"/>
                        <a:pt x="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2" name="Google Shape;252;p5"/>
                <p:cNvSpPr/>
                <p:nvPr/>
              </p:nvSpPr>
              <p:spPr>
                <a:xfrm>
                  <a:off x="12171350" y="5961575"/>
                  <a:ext cx="36975" cy="17575"/>
                </a:xfrm>
                <a:custGeom>
                  <a:avLst/>
                  <a:gdLst/>
                  <a:ahLst/>
                  <a:cxnLst/>
                  <a:rect l="l" t="t" r="r" b="b"/>
                  <a:pathLst>
                    <a:path w="1479" h="703" fill="none" extrusionOk="0">
                      <a:moveTo>
                        <a:pt x="1479" y="0"/>
                      </a:moveTo>
                      <a:lnTo>
                        <a:pt x="0" y="70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3" name="Google Shape;253;p5"/>
                <p:cNvSpPr/>
                <p:nvPr/>
              </p:nvSpPr>
              <p:spPr>
                <a:xfrm>
                  <a:off x="12246775" y="5935050"/>
                  <a:ext cx="41475" cy="52300"/>
                </a:xfrm>
                <a:custGeom>
                  <a:avLst/>
                  <a:gdLst/>
                  <a:ahLst/>
                  <a:cxnLst/>
                  <a:rect l="l" t="t" r="r" b="b"/>
                  <a:pathLst>
                    <a:path w="1659" h="2092" fill="none" extrusionOk="0">
                      <a:moveTo>
                        <a:pt x="1658" y="209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4" name="Google Shape;254;p5"/>
                <p:cNvSpPr/>
                <p:nvPr/>
              </p:nvSpPr>
              <p:spPr>
                <a:xfrm>
                  <a:off x="12238550" y="5719225"/>
                  <a:ext cx="162075" cy="278950"/>
                </a:xfrm>
                <a:custGeom>
                  <a:avLst/>
                  <a:gdLst/>
                  <a:ahLst/>
                  <a:cxnLst/>
                  <a:rect l="l" t="t" r="r" b="b"/>
                  <a:pathLst>
                    <a:path w="6483" h="11158" fill="none" extrusionOk="0">
                      <a:moveTo>
                        <a:pt x="6483" y="11158"/>
                      </a:moveTo>
                      <a:cubicBezTo>
                        <a:pt x="6483" y="11158"/>
                        <a:pt x="3077" y="4452"/>
                        <a:pt x="1"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5" name="Google Shape;255;p5"/>
                <p:cNvSpPr/>
                <p:nvPr/>
              </p:nvSpPr>
              <p:spPr>
                <a:xfrm>
                  <a:off x="12238550" y="5764400"/>
                  <a:ext cx="57150" cy="43725"/>
                </a:xfrm>
                <a:custGeom>
                  <a:avLst/>
                  <a:gdLst/>
                  <a:ahLst/>
                  <a:cxnLst/>
                  <a:rect l="l" t="t" r="r" b="b"/>
                  <a:pathLst>
                    <a:path w="2286" h="1749" fill="none" extrusionOk="0">
                      <a:moveTo>
                        <a:pt x="2286" y="1748"/>
                      </a:moveTo>
                      <a:lnTo>
                        <a:pt x="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6" name="Google Shape;256;p5"/>
                <p:cNvSpPr/>
                <p:nvPr/>
              </p:nvSpPr>
              <p:spPr>
                <a:xfrm>
                  <a:off x="12341225" y="5851775"/>
                  <a:ext cx="12725" cy="35500"/>
                </a:xfrm>
                <a:custGeom>
                  <a:avLst/>
                  <a:gdLst/>
                  <a:ahLst/>
                  <a:cxnLst/>
                  <a:rect l="l" t="t" r="r" b="b"/>
                  <a:pathLst>
                    <a:path w="509" h="1420" fill="none" extrusionOk="0">
                      <a:moveTo>
                        <a:pt x="1" y="1420"/>
                      </a:moveTo>
                      <a:lnTo>
                        <a:pt x="509"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7" name="Google Shape;257;p5"/>
                <p:cNvSpPr/>
                <p:nvPr/>
              </p:nvSpPr>
              <p:spPr>
                <a:xfrm>
                  <a:off x="12474525" y="5840200"/>
                  <a:ext cx="56800" cy="19825"/>
                </a:xfrm>
                <a:custGeom>
                  <a:avLst/>
                  <a:gdLst/>
                  <a:ahLst/>
                  <a:cxnLst/>
                  <a:rect l="l" t="t" r="r" b="b"/>
                  <a:pathLst>
                    <a:path w="2272" h="793" fill="none" extrusionOk="0">
                      <a:moveTo>
                        <a:pt x="1" y="793"/>
                      </a:moveTo>
                      <a:lnTo>
                        <a:pt x="227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258;p5"/>
                <p:cNvSpPr/>
                <p:nvPr/>
              </p:nvSpPr>
              <p:spPr>
                <a:xfrm>
                  <a:off x="12483875" y="5783075"/>
                  <a:ext cx="12725" cy="35125"/>
                </a:xfrm>
                <a:custGeom>
                  <a:avLst/>
                  <a:gdLst/>
                  <a:ahLst/>
                  <a:cxnLst/>
                  <a:rect l="l" t="t" r="r" b="b"/>
                  <a:pathLst>
                    <a:path w="509" h="1405" fill="none" extrusionOk="0">
                      <a:moveTo>
                        <a:pt x="0" y="1"/>
                      </a:moveTo>
                      <a:lnTo>
                        <a:pt x="508" y="140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259" name="Google Shape;259;p5"/>
            <p:cNvGrpSpPr/>
            <p:nvPr/>
          </p:nvGrpSpPr>
          <p:grpSpPr>
            <a:xfrm rot="-892732">
              <a:off x="8518856" y="1045702"/>
              <a:ext cx="1595377" cy="2093746"/>
              <a:chOff x="3255967" y="2507600"/>
              <a:chExt cx="1305465" cy="1715179"/>
            </a:xfrm>
          </p:grpSpPr>
          <p:sp>
            <p:nvSpPr>
              <p:cNvPr id="260" name="Google Shape;260;p5"/>
              <p:cNvSpPr/>
              <p:nvPr/>
            </p:nvSpPr>
            <p:spPr>
              <a:xfrm>
                <a:off x="4191774" y="3356698"/>
                <a:ext cx="369658" cy="519086"/>
              </a:xfrm>
              <a:custGeom>
                <a:avLst/>
                <a:gdLst/>
                <a:ahLst/>
                <a:cxnLst/>
                <a:rect l="l" t="t" r="r" b="b"/>
                <a:pathLst>
                  <a:path w="11711" h="16445" extrusionOk="0">
                    <a:moveTo>
                      <a:pt x="10695" y="0"/>
                    </a:moveTo>
                    <a:cubicBezTo>
                      <a:pt x="10695" y="0"/>
                      <a:pt x="8962" y="777"/>
                      <a:pt x="7394" y="3032"/>
                    </a:cubicBezTo>
                    <a:lnTo>
                      <a:pt x="7290" y="2256"/>
                    </a:lnTo>
                    <a:cubicBezTo>
                      <a:pt x="7290" y="2256"/>
                      <a:pt x="4691" y="4735"/>
                      <a:pt x="3660" y="6841"/>
                    </a:cubicBezTo>
                    <a:lnTo>
                      <a:pt x="3660" y="5945"/>
                    </a:lnTo>
                    <a:cubicBezTo>
                      <a:pt x="3660" y="5945"/>
                      <a:pt x="1" y="10635"/>
                      <a:pt x="2674" y="16445"/>
                    </a:cubicBezTo>
                    <a:cubicBezTo>
                      <a:pt x="2674" y="16445"/>
                      <a:pt x="5423" y="16370"/>
                      <a:pt x="9067" y="13249"/>
                    </a:cubicBezTo>
                    <a:lnTo>
                      <a:pt x="8529" y="13174"/>
                    </a:lnTo>
                    <a:cubicBezTo>
                      <a:pt x="8529" y="13174"/>
                      <a:pt x="11053" y="9559"/>
                      <a:pt x="11666" y="5930"/>
                    </a:cubicBezTo>
                    <a:lnTo>
                      <a:pt x="11666" y="5930"/>
                    </a:lnTo>
                    <a:lnTo>
                      <a:pt x="11009" y="6184"/>
                    </a:lnTo>
                    <a:cubicBezTo>
                      <a:pt x="11009" y="6184"/>
                      <a:pt x="11711" y="2659"/>
                      <a:pt x="1069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1" name="Google Shape;261;p5"/>
              <p:cNvSpPr/>
              <p:nvPr/>
            </p:nvSpPr>
            <p:spPr>
              <a:xfrm>
                <a:off x="3567576" y="2507600"/>
                <a:ext cx="429537" cy="595474"/>
              </a:xfrm>
              <a:custGeom>
                <a:avLst/>
                <a:gdLst/>
                <a:ahLst/>
                <a:cxnLst/>
                <a:rect l="l" t="t" r="r" b="b"/>
                <a:pathLst>
                  <a:path w="13608" h="18865" extrusionOk="0">
                    <a:moveTo>
                      <a:pt x="1300" y="1"/>
                    </a:moveTo>
                    <a:lnTo>
                      <a:pt x="1315" y="31"/>
                    </a:lnTo>
                    <a:lnTo>
                      <a:pt x="1300" y="16"/>
                    </a:lnTo>
                    <a:cubicBezTo>
                      <a:pt x="1106" y="554"/>
                      <a:pt x="1211" y="2779"/>
                      <a:pt x="1211" y="2779"/>
                    </a:cubicBezTo>
                    <a:lnTo>
                      <a:pt x="539" y="2421"/>
                    </a:lnTo>
                    <a:lnTo>
                      <a:pt x="539" y="2421"/>
                    </a:lnTo>
                    <a:cubicBezTo>
                      <a:pt x="434" y="3317"/>
                      <a:pt x="1255" y="6408"/>
                      <a:pt x="1270" y="6513"/>
                    </a:cubicBezTo>
                    <a:lnTo>
                      <a:pt x="1" y="6080"/>
                    </a:lnTo>
                    <a:lnTo>
                      <a:pt x="1" y="6080"/>
                    </a:lnTo>
                    <a:cubicBezTo>
                      <a:pt x="583" y="8783"/>
                      <a:pt x="4332" y="13309"/>
                      <a:pt x="4332" y="13309"/>
                    </a:cubicBezTo>
                    <a:lnTo>
                      <a:pt x="3152" y="13488"/>
                    </a:lnTo>
                    <a:cubicBezTo>
                      <a:pt x="6677" y="17924"/>
                      <a:pt x="12995" y="18865"/>
                      <a:pt x="12995" y="18865"/>
                    </a:cubicBezTo>
                    <a:cubicBezTo>
                      <a:pt x="13010" y="18820"/>
                      <a:pt x="13040" y="18775"/>
                      <a:pt x="13055" y="18731"/>
                    </a:cubicBezTo>
                    <a:cubicBezTo>
                      <a:pt x="13085" y="18686"/>
                      <a:pt x="13100" y="18641"/>
                      <a:pt x="13115" y="18596"/>
                    </a:cubicBezTo>
                    <a:cubicBezTo>
                      <a:pt x="13144" y="18536"/>
                      <a:pt x="13159" y="18492"/>
                      <a:pt x="13174" y="18447"/>
                    </a:cubicBezTo>
                    <a:cubicBezTo>
                      <a:pt x="13189" y="18402"/>
                      <a:pt x="13204" y="18342"/>
                      <a:pt x="13219" y="18297"/>
                    </a:cubicBezTo>
                    <a:cubicBezTo>
                      <a:pt x="13249" y="18238"/>
                      <a:pt x="13264" y="18193"/>
                      <a:pt x="13279" y="18148"/>
                    </a:cubicBezTo>
                    <a:cubicBezTo>
                      <a:pt x="13294" y="18088"/>
                      <a:pt x="13309" y="18029"/>
                      <a:pt x="13324" y="17984"/>
                    </a:cubicBezTo>
                    <a:cubicBezTo>
                      <a:pt x="13339" y="17924"/>
                      <a:pt x="13353" y="17864"/>
                      <a:pt x="13353" y="17819"/>
                    </a:cubicBezTo>
                    <a:cubicBezTo>
                      <a:pt x="13368" y="17760"/>
                      <a:pt x="13383" y="17700"/>
                      <a:pt x="13398" y="17640"/>
                    </a:cubicBezTo>
                    <a:cubicBezTo>
                      <a:pt x="13413" y="17595"/>
                      <a:pt x="13413" y="17536"/>
                      <a:pt x="13428" y="17476"/>
                    </a:cubicBezTo>
                    <a:cubicBezTo>
                      <a:pt x="13443" y="17416"/>
                      <a:pt x="13458" y="17356"/>
                      <a:pt x="13458" y="17297"/>
                    </a:cubicBezTo>
                    <a:cubicBezTo>
                      <a:pt x="13473" y="17237"/>
                      <a:pt x="13488" y="17177"/>
                      <a:pt x="13488" y="17117"/>
                    </a:cubicBezTo>
                    <a:cubicBezTo>
                      <a:pt x="13503" y="17058"/>
                      <a:pt x="13503" y="16983"/>
                      <a:pt x="13518" y="16923"/>
                    </a:cubicBezTo>
                    <a:cubicBezTo>
                      <a:pt x="13518" y="16864"/>
                      <a:pt x="13533" y="16804"/>
                      <a:pt x="13533" y="16744"/>
                    </a:cubicBezTo>
                    <a:cubicBezTo>
                      <a:pt x="13548" y="16669"/>
                      <a:pt x="13548" y="16610"/>
                      <a:pt x="13548" y="16550"/>
                    </a:cubicBezTo>
                    <a:cubicBezTo>
                      <a:pt x="13563" y="16490"/>
                      <a:pt x="13563" y="16415"/>
                      <a:pt x="13578" y="16356"/>
                    </a:cubicBezTo>
                    <a:cubicBezTo>
                      <a:pt x="13578" y="16281"/>
                      <a:pt x="13578" y="16221"/>
                      <a:pt x="13578" y="16162"/>
                    </a:cubicBezTo>
                    <a:cubicBezTo>
                      <a:pt x="13592" y="16087"/>
                      <a:pt x="13592" y="16027"/>
                      <a:pt x="13592" y="15952"/>
                    </a:cubicBezTo>
                    <a:cubicBezTo>
                      <a:pt x="13592" y="15893"/>
                      <a:pt x="13607" y="15818"/>
                      <a:pt x="13607" y="15758"/>
                    </a:cubicBezTo>
                    <a:cubicBezTo>
                      <a:pt x="13607" y="15684"/>
                      <a:pt x="13607" y="15624"/>
                      <a:pt x="13607" y="15549"/>
                    </a:cubicBezTo>
                    <a:cubicBezTo>
                      <a:pt x="13607" y="15489"/>
                      <a:pt x="13607" y="15415"/>
                      <a:pt x="13607" y="15355"/>
                    </a:cubicBezTo>
                    <a:cubicBezTo>
                      <a:pt x="13607" y="15280"/>
                      <a:pt x="13607" y="15206"/>
                      <a:pt x="13607" y="15146"/>
                    </a:cubicBezTo>
                    <a:cubicBezTo>
                      <a:pt x="13607" y="15071"/>
                      <a:pt x="13607" y="15012"/>
                      <a:pt x="13607" y="14937"/>
                    </a:cubicBezTo>
                    <a:cubicBezTo>
                      <a:pt x="13607" y="14862"/>
                      <a:pt x="13607" y="14802"/>
                      <a:pt x="13607" y="14728"/>
                    </a:cubicBezTo>
                    <a:cubicBezTo>
                      <a:pt x="13607" y="14668"/>
                      <a:pt x="13607" y="14593"/>
                      <a:pt x="13607" y="14519"/>
                    </a:cubicBezTo>
                    <a:cubicBezTo>
                      <a:pt x="13607" y="14459"/>
                      <a:pt x="13607" y="14384"/>
                      <a:pt x="13592" y="14310"/>
                    </a:cubicBezTo>
                    <a:cubicBezTo>
                      <a:pt x="13592" y="14250"/>
                      <a:pt x="13592" y="14175"/>
                      <a:pt x="13592" y="14115"/>
                    </a:cubicBezTo>
                    <a:cubicBezTo>
                      <a:pt x="13592" y="14041"/>
                      <a:pt x="13592" y="13966"/>
                      <a:pt x="13578" y="13906"/>
                    </a:cubicBezTo>
                    <a:cubicBezTo>
                      <a:pt x="13578" y="13832"/>
                      <a:pt x="13578" y="13772"/>
                      <a:pt x="13578" y="13697"/>
                    </a:cubicBezTo>
                    <a:cubicBezTo>
                      <a:pt x="13428" y="11233"/>
                      <a:pt x="12980" y="8962"/>
                      <a:pt x="12980" y="8962"/>
                    </a:cubicBezTo>
                    <a:lnTo>
                      <a:pt x="12547" y="9754"/>
                    </a:lnTo>
                    <a:cubicBezTo>
                      <a:pt x="11755" y="6737"/>
                      <a:pt x="8425" y="3138"/>
                      <a:pt x="8425" y="3138"/>
                    </a:cubicBezTo>
                    <a:lnTo>
                      <a:pt x="8425" y="3152"/>
                    </a:lnTo>
                    <a:lnTo>
                      <a:pt x="8440" y="4064"/>
                    </a:lnTo>
                    <a:cubicBezTo>
                      <a:pt x="7439" y="2630"/>
                      <a:pt x="5094" y="1285"/>
                      <a:pt x="5094" y="1285"/>
                    </a:cubicBezTo>
                    <a:lnTo>
                      <a:pt x="5094" y="1300"/>
                    </a:lnTo>
                    <a:lnTo>
                      <a:pt x="5109" y="1883"/>
                    </a:lnTo>
                    <a:cubicBezTo>
                      <a:pt x="4034" y="1002"/>
                      <a:pt x="1390" y="31"/>
                      <a:pt x="130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2" name="Google Shape;262;p5"/>
              <p:cNvSpPr/>
              <p:nvPr/>
            </p:nvSpPr>
            <p:spPr>
              <a:xfrm>
                <a:off x="4137577" y="3199694"/>
                <a:ext cx="207445" cy="272059"/>
              </a:xfrm>
              <a:custGeom>
                <a:avLst/>
                <a:gdLst/>
                <a:ahLst/>
                <a:cxnLst/>
                <a:rect l="l" t="t" r="r" b="b"/>
                <a:pathLst>
                  <a:path w="6572" h="8619" extrusionOk="0">
                    <a:moveTo>
                      <a:pt x="6199" y="1"/>
                    </a:moveTo>
                    <a:lnTo>
                      <a:pt x="6199" y="1"/>
                    </a:lnTo>
                    <a:cubicBezTo>
                      <a:pt x="4630" y="300"/>
                      <a:pt x="3555" y="1420"/>
                      <a:pt x="3555" y="1420"/>
                    </a:cubicBezTo>
                    <a:lnTo>
                      <a:pt x="3316" y="807"/>
                    </a:lnTo>
                    <a:cubicBezTo>
                      <a:pt x="2241" y="1509"/>
                      <a:pt x="1583" y="4078"/>
                      <a:pt x="1583" y="4078"/>
                    </a:cubicBezTo>
                    <a:lnTo>
                      <a:pt x="1285" y="3660"/>
                    </a:lnTo>
                    <a:lnTo>
                      <a:pt x="1285" y="3660"/>
                    </a:lnTo>
                    <a:cubicBezTo>
                      <a:pt x="0" y="6020"/>
                      <a:pt x="1389" y="8619"/>
                      <a:pt x="1389" y="8619"/>
                    </a:cubicBezTo>
                    <a:cubicBezTo>
                      <a:pt x="3540" y="8365"/>
                      <a:pt x="5228" y="6408"/>
                      <a:pt x="5228" y="6408"/>
                    </a:cubicBezTo>
                    <a:lnTo>
                      <a:pt x="5228" y="6408"/>
                    </a:lnTo>
                    <a:lnTo>
                      <a:pt x="4436" y="6573"/>
                    </a:lnTo>
                    <a:cubicBezTo>
                      <a:pt x="5691" y="5736"/>
                      <a:pt x="6527" y="3302"/>
                      <a:pt x="6572" y="3197"/>
                    </a:cubicBezTo>
                    <a:lnTo>
                      <a:pt x="6572" y="3197"/>
                    </a:lnTo>
                    <a:lnTo>
                      <a:pt x="5945" y="3451"/>
                    </a:lnTo>
                    <a:cubicBezTo>
                      <a:pt x="6467" y="2286"/>
                      <a:pt x="6199" y="1"/>
                      <a:pt x="619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3" name="Google Shape;263;p5"/>
              <p:cNvSpPr/>
              <p:nvPr/>
            </p:nvSpPr>
            <p:spPr>
              <a:xfrm>
                <a:off x="3255967" y="2989439"/>
                <a:ext cx="652512" cy="337619"/>
              </a:xfrm>
              <a:custGeom>
                <a:avLst/>
                <a:gdLst/>
                <a:ahLst/>
                <a:cxnLst/>
                <a:rect l="l" t="t" r="r" b="b"/>
                <a:pathLst>
                  <a:path w="20672" h="10696" extrusionOk="0">
                    <a:moveTo>
                      <a:pt x="12427" y="0"/>
                    </a:moveTo>
                    <a:lnTo>
                      <a:pt x="12427" y="15"/>
                    </a:lnTo>
                    <a:lnTo>
                      <a:pt x="12681" y="658"/>
                    </a:lnTo>
                    <a:cubicBezTo>
                      <a:pt x="12576" y="629"/>
                      <a:pt x="11042" y="273"/>
                      <a:pt x="9055" y="273"/>
                    </a:cubicBezTo>
                    <a:cubicBezTo>
                      <a:pt x="7921" y="273"/>
                      <a:pt x="6640" y="389"/>
                      <a:pt x="5392" y="747"/>
                    </a:cubicBezTo>
                    <a:lnTo>
                      <a:pt x="5407" y="762"/>
                    </a:lnTo>
                    <a:lnTo>
                      <a:pt x="5392" y="762"/>
                    </a:lnTo>
                    <a:lnTo>
                      <a:pt x="6109" y="1330"/>
                    </a:lnTo>
                    <a:cubicBezTo>
                      <a:pt x="5870" y="1434"/>
                      <a:pt x="2286" y="2943"/>
                      <a:pt x="0" y="5796"/>
                    </a:cubicBezTo>
                    <a:cubicBezTo>
                      <a:pt x="165" y="5945"/>
                      <a:pt x="1972" y="7588"/>
                      <a:pt x="4466" y="8155"/>
                    </a:cubicBezTo>
                    <a:lnTo>
                      <a:pt x="3689" y="8514"/>
                    </a:lnTo>
                    <a:cubicBezTo>
                      <a:pt x="3689" y="8514"/>
                      <a:pt x="7041" y="10001"/>
                      <a:pt x="10015" y="10001"/>
                    </a:cubicBezTo>
                    <a:cubicBezTo>
                      <a:pt x="10224" y="10001"/>
                      <a:pt x="10431" y="9993"/>
                      <a:pt x="10635" y="9978"/>
                    </a:cubicBezTo>
                    <a:lnTo>
                      <a:pt x="10635" y="9978"/>
                    </a:lnTo>
                    <a:lnTo>
                      <a:pt x="9604" y="10575"/>
                    </a:lnTo>
                    <a:cubicBezTo>
                      <a:pt x="9604" y="10575"/>
                      <a:pt x="10408" y="10695"/>
                      <a:pt x="11654" y="10695"/>
                    </a:cubicBezTo>
                    <a:cubicBezTo>
                      <a:pt x="13921" y="10695"/>
                      <a:pt x="17654" y="10297"/>
                      <a:pt x="20671" y="8051"/>
                    </a:cubicBezTo>
                    <a:lnTo>
                      <a:pt x="20671" y="8036"/>
                    </a:lnTo>
                    <a:lnTo>
                      <a:pt x="20657" y="8021"/>
                    </a:lnTo>
                    <a:lnTo>
                      <a:pt x="20642" y="7991"/>
                    </a:lnTo>
                    <a:lnTo>
                      <a:pt x="20627" y="7946"/>
                    </a:lnTo>
                    <a:lnTo>
                      <a:pt x="20612" y="7901"/>
                    </a:lnTo>
                    <a:lnTo>
                      <a:pt x="20582" y="7857"/>
                    </a:lnTo>
                    <a:lnTo>
                      <a:pt x="20567" y="7797"/>
                    </a:lnTo>
                    <a:lnTo>
                      <a:pt x="20537" y="7722"/>
                    </a:lnTo>
                    <a:lnTo>
                      <a:pt x="20507" y="7648"/>
                    </a:lnTo>
                    <a:lnTo>
                      <a:pt x="20462" y="7573"/>
                    </a:lnTo>
                    <a:lnTo>
                      <a:pt x="20418" y="7483"/>
                    </a:lnTo>
                    <a:lnTo>
                      <a:pt x="20373" y="7394"/>
                    </a:lnTo>
                    <a:lnTo>
                      <a:pt x="20328" y="7304"/>
                    </a:lnTo>
                    <a:cubicBezTo>
                      <a:pt x="20313" y="7274"/>
                      <a:pt x="20298" y="7229"/>
                      <a:pt x="20283" y="7200"/>
                    </a:cubicBezTo>
                    <a:cubicBezTo>
                      <a:pt x="19402" y="5467"/>
                      <a:pt x="17012" y="1613"/>
                      <a:pt x="1242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p5"/>
              <p:cNvSpPr/>
              <p:nvPr/>
            </p:nvSpPr>
            <p:spPr>
              <a:xfrm>
                <a:off x="3675560" y="3494669"/>
                <a:ext cx="490331" cy="341123"/>
              </a:xfrm>
              <a:custGeom>
                <a:avLst/>
                <a:gdLst/>
                <a:ahLst/>
                <a:cxnLst/>
                <a:rect l="l" t="t" r="r" b="b"/>
                <a:pathLst>
                  <a:path w="15534" h="10807" extrusionOk="0">
                    <a:moveTo>
                      <a:pt x="1855" y="1"/>
                    </a:moveTo>
                    <a:cubicBezTo>
                      <a:pt x="1234" y="1"/>
                      <a:pt x="602" y="57"/>
                      <a:pt x="0" y="200"/>
                    </a:cubicBezTo>
                    <a:cubicBezTo>
                      <a:pt x="0" y="200"/>
                      <a:pt x="553" y="2022"/>
                      <a:pt x="2569" y="3874"/>
                    </a:cubicBezTo>
                    <a:lnTo>
                      <a:pt x="1778" y="3874"/>
                    </a:lnTo>
                    <a:cubicBezTo>
                      <a:pt x="1778" y="3874"/>
                      <a:pt x="3898" y="6787"/>
                      <a:pt x="5855" y="8071"/>
                    </a:cubicBezTo>
                    <a:lnTo>
                      <a:pt x="4959" y="7952"/>
                    </a:lnTo>
                    <a:lnTo>
                      <a:pt x="4959" y="7952"/>
                    </a:lnTo>
                    <a:cubicBezTo>
                      <a:pt x="4959" y="7952"/>
                      <a:pt x="7764" y="10807"/>
                      <a:pt x="12135" y="10807"/>
                    </a:cubicBezTo>
                    <a:cubicBezTo>
                      <a:pt x="13101" y="10807"/>
                      <a:pt x="14144" y="10667"/>
                      <a:pt x="15250" y="10326"/>
                    </a:cubicBezTo>
                    <a:cubicBezTo>
                      <a:pt x="15250" y="10326"/>
                      <a:pt x="15533" y="7593"/>
                      <a:pt x="12935" y="3575"/>
                    </a:cubicBezTo>
                    <a:lnTo>
                      <a:pt x="12785" y="4083"/>
                    </a:lnTo>
                    <a:cubicBezTo>
                      <a:pt x="12785" y="4083"/>
                      <a:pt x="9529" y="1096"/>
                      <a:pt x="6004" y="36"/>
                    </a:cubicBezTo>
                    <a:lnTo>
                      <a:pt x="6004" y="36"/>
                    </a:lnTo>
                    <a:lnTo>
                      <a:pt x="6169" y="723"/>
                    </a:lnTo>
                    <a:cubicBezTo>
                      <a:pt x="6169" y="723"/>
                      <a:pt x="4085" y="1"/>
                      <a:pt x="185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5"/>
              <p:cNvSpPr/>
              <p:nvPr/>
            </p:nvSpPr>
            <p:spPr>
              <a:xfrm>
                <a:off x="3688281" y="2611322"/>
                <a:ext cx="602544" cy="1611456"/>
              </a:xfrm>
              <a:custGeom>
                <a:avLst/>
                <a:gdLst/>
                <a:ahLst/>
                <a:cxnLst/>
                <a:rect l="l" t="t" r="r" b="b"/>
                <a:pathLst>
                  <a:path w="19089" h="51052" extrusionOk="0">
                    <a:moveTo>
                      <a:pt x="120" y="1"/>
                    </a:moveTo>
                    <a:lnTo>
                      <a:pt x="0" y="76"/>
                    </a:lnTo>
                    <a:cubicBezTo>
                      <a:pt x="717" y="972"/>
                      <a:pt x="1375" y="1913"/>
                      <a:pt x="2017" y="2854"/>
                    </a:cubicBezTo>
                    <a:cubicBezTo>
                      <a:pt x="2674" y="3795"/>
                      <a:pt x="3286" y="4780"/>
                      <a:pt x="3869" y="5751"/>
                    </a:cubicBezTo>
                    <a:cubicBezTo>
                      <a:pt x="5064" y="7693"/>
                      <a:pt x="6184" y="9694"/>
                      <a:pt x="7229" y="11740"/>
                    </a:cubicBezTo>
                    <a:cubicBezTo>
                      <a:pt x="9291" y="15818"/>
                      <a:pt x="11098" y="20045"/>
                      <a:pt x="12636" y="24361"/>
                    </a:cubicBezTo>
                    <a:cubicBezTo>
                      <a:pt x="12830" y="24884"/>
                      <a:pt x="13010" y="25437"/>
                      <a:pt x="13204" y="25974"/>
                    </a:cubicBezTo>
                    <a:cubicBezTo>
                      <a:pt x="13398" y="26527"/>
                      <a:pt x="13592" y="27065"/>
                      <a:pt x="13756" y="27602"/>
                    </a:cubicBezTo>
                    <a:lnTo>
                      <a:pt x="14279" y="29245"/>
                    </a:lnTo>
                    <a:lnTo>
                      <a:pt x="14772" y="30888"/>
                    </a:lnTo>
                    <a:lnTo>
                      <a:pt x="15011" y="31710"/>
                    </a:lnTo>
                    <a:lnTo>
                      <a:pt x="15250" y="32531"/>
                    </a:lnTo>
                    <a:lnTo>
                      <a:pt x="15698" y="34189"/>
                    </a:lnTo>
                    <a:lnTo>
                      <a:pt x="16116" y="35847"/>
                    </a:lnTo>
                    <a:lnTo>
                      <a:pt x="16325" y="36683"/>
                    </a:lnTo>
                    <a:lnTo>
                      <a:pt x="16505" y="37520"/>
                    </a:lnTo>
                    <a:cubicBezTo>
                      <a:pt x="17535" y="41986"/>
                      <a:pt x="18342" y="46511"/>
                      <a:pt x="18879" y="51052"/>
                    </a:cubicBezTo>
                    <a:lnTo>
                      <a:pt x="19088" y="51022"/>
                    </a:lnTo>
                    <a:cubicBezTo>
                      <a:pt x="18536" y="46466"/>
                      <a:pt x="17729" y="41941"/>
                      <a:pt x="16684" y="37490"/>
                    </a:cubicBezTo>
                    <a:lnTo>
                      <a:pt x="16505" y="36653"/>
                    </a:lnTo>
                    <a:lnTo>
                      <a:pt x="16295" y="35817"/>
                    </a:lnTo>
                    <a:lnTo>
                      <a:pt x="15862" y="34144"/>
                    </a:lnTo>
                    <a:lnTo>
                      <a:pt x="15414" y="32471"/>
                    </a:lnTo>
                    <a:lnTo>
                      <a:pt x="15175" y="31650"/>
                    </a:lnTo>
                    <a:lnTo>
                      <a:pt x="14936" y="30828"/>
                    </a:lnTo>
                    <a:lnTo>
                      <a:pt x="14443" y="29186"/>
                    </a:lnTo>
                    <a:lnTo>
                      <a:pt x="13921" y="27558"/>
                    </a:lnTo>
                    <a:cubicBezTo>
                      <a:pt x="13741" y="27005"/>
                      <a:pt x="13562" y="26452"/>
                      <a:pt x="13368" y="25915"/>
                    </a:cubicBezTo>
                    <a:cubicBezTo>
                      <a:pt x="13189" y="25377"/>
                      <a:pt x="13010" y="24839"/>
                      <a:pt x="12800" y="24302"/>
                    </a:cubicBezTo>
                    <a:cubicBezTo>
                      <a:pt x="11247" y="19985"/>
                      <a:pt x="9425" y="15758"/>
                      <a:pt x="7349" y="11681"/>
                    </a:cubicBezTo>
                    <a:cubicBezTo>
                      <a:pt x="6303" y="9649"/>
                      <a:pt x="5183" y="7648"/>
                      <a:pt x="3988" y="5676"/>
                    </a:cubicBezTo>
                    <a:cubicBezTo>
                      <a:pt x="3391" y="4706"/>
                      <a:pt x="2779" y="3735"/>
                      <a:pt x="2136" y="2779"/>
                    </a:cubicBezTo>
                    <a:cubicBezTo>
                      <a:pt x="1494" y="1838"/>
                      <a:pt x="822" y="897"/>
                      <a:pt x="120" y="1"/>
                    </a:cubicBez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5"/>
              <p:cNvSpPr/>
              <p:nvPr/>
            </p:nvSpPr>
            <p:spPr>
              <a:xfrm>
                <a:off x="3347884" y="3087985"/>
                <a:ext cx="723722" cy="239515"/>
              </a:xfrm>
              <a:custGeom>
                <a:avLst/>
                <a:gdLst/>
                <a:ahLst/>
                <a:cxnLst/>
                <a:rect l="l" t="t" r="r" b="b"/>
                <a:pathLst>
                  <a:path w="22928" h="7588" fill="none" extrusionOk="0">
                    <a:moveTo>
                      <a:pt x="22927" y="7587"/>
                    </a:moveTo>
                    <a:cubicBezTo>
                      <a:pt x="22927" y="7587"/>
                      <a:pt x="11785" y="0"/>
                      <a:pt x="1" y="227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7" name="Google Shape;267;p5"/>
              <p:cNvSpPr/>
              <p:nvPr/>
            </p:nvSpPr>
            <p:spPr>
              <a:xfrm>
                <a:off x="4023470" y="2831962"/>
                <a:ext cx="318270" cy="431430"/>
              </a:xfrm>
              <a:custGeom>
                <a:avLst/>
                <a:gdLst/>
                <a:ahLst/>
                <a:cxnLst/>
                <a:rect l="l" t="t" r="r" b="b"/>
                <a:pathLst>
                  <a:path w="10083" h="13668" extrusionOk="0">
                    <a:moveTo>
                      <a:pt x="9933" y="3376"/>
                    </a:moveTo>
                    <a:cubicBezTo>
                      <a:pt x="9933" y="3376"/>
                      <a:pt x="9933" y="3376"/>
                      <a:pt x="9933" y="3376"/>
                    </a:cubicBezTo>
                    <a:lnTo>
                      <a:pt x="9933" y="3376"/>
                    </a:lnTo>
                    <a:lnTo>
                      <a:pt x="9933" y="3376"/>
                    </a:lnTo>
                    <a:close/>
                    <a:moveTo>
                      <a:pt x="9739" y="1"/>
                    </a:moveTo>
                    <a:lnTo>
                      <a:pt x="9739" y="1"/>
                    </a:lnTo>
                    <a:cubicBezTo>
                      <a:pt x="6976" y="270"/>
                      <a:pt x="4526" y="1987"/>
                      <a:pt x="4526" y="1987"/>
                    </a:cubicBezTo>
                    <a:lnTo>
                      <a:pt x="4467" y="1300"/>
                    </a:lnTo>
                    <a:cubicBezTo>
                      <a:pt x="2420" y="3048"/>
                      <a:pt x="1450" y="5751"/>
                      <a:pt x="1450" y="5751"/>
                    </a:cubicBezTo>
                    <a:lnTo>
                      <a:pt x="1151" y="5333"/>
                    </a:lnTo>
                    <a:lnTo>
                      <a:pt x="1151" y="5333"/>
                    </a:lnTo>
                    <a:cubicBezTo>
                      <a:pt x="1" y="9859"/>
                      <a:pt x="2764" y="13667"/>
                      <a:pt x="2764" y="13667"/>
                    </a:cubicBezTo>
                    <a:cubicBezTo>
                      <a:pt x="6811" y="12174"/>
                      <a:pt x="8798" y="7858"/>
                      <a:pt x="8798" y="7857"/>
                    </a:cubicBezTo>
                    <a:lnTo>
                      <a:pt x="8798" y="7857"/>
                    </a:lnTo>
                    <a:lnTo>
                      <a:pt x="8006" y="8260"/>
                    </a:lnTo>
                    <a:cubicBezTo>
                      <a:pt x="9406" y="6444"/>
                      <a:pt x="9915" y="3397"/>
                      <a:pt x="9933" y="3376"/>
                    </a:cubicBezTo>
                    <a:lnTo>
                      <a:pt x="9933" y="3376"/>
                    </a:lnTo>
                    <a:lnTo>
                      <a:pt x="9395" y="3705"/>
                    </a:lnTo>
                    <a:cubicBezTo>
                      <a:pt x="10082" y="1853"/>
                      <a:pt x="9739" y="1"/>
                      <a:pt x="973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5"/>
              <p:cNvSpPr/>
              <p:nvPr/>
            </p:nvSpPr>
            <p:spPr>
              <a:xfrm>
                <a:off x="4090893" y="2884296"/>
                <a:ext cx="194756" cy="513436"/>
              </a:xfrm>
              <a:custGeom>
                <a:avLst/>
                <a:gdLst/>
                <a:ahLst/>
                <a:cxnLst/>
                <a:rect l="l" t="t" r="r" b="b"/>
                <a:pathLst>
                  <a:path w="6170" h="16266" fill="none" extrusionOk="0">
                    <a:moveTo>
                      <a:pt x="180" y="16266"/>
                    </a:moveTo>
                    <a:cubicBezTo>
                      <a:pt x="180" y="16266"/>
                      <a:pt x="1" y="6334"/>
                      <a:pt x="616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9" name="Google Shape;269;p5"/>
              <p:cNvSpPr/>
              <p:nvPr/>
            </p:nvSpPr>
            <p:spPr>
              <a:xfrm>
                <a:off x="3751443" y="3534914"/>
                <a:ext cx="495065" cy="419625"/>
              </a:xfrm>
              <a:custGeom>
                <a:avLst/>
                <a:gdLst/>
                <a:ahLst/>
                <a:cxnLst/>
                <a:rect l="l" t="t" r="r" b="b"/>
                <a:pathLst>
                  <a:path w="15684" h="13294" fill="none" extrusionOk="0">
                    <a:moveTo>
                      <a:pt x="1" y="0"/>
                    </a:moveTo>
                    <a:cubicBezTo>
                      <a:pt x="1" y="0"/>
                      <a:pt x="13368" y="6781"/>
                      <a:pt x="15683" y="1329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0" name="Google Shape;270;p5"/>
              <p:cNvSpPr/>
              <p:nvPr/>
            </p:nvSpPr>
            <p:spPr>
              <a:xfrm>
                <a:off x="4225265" y="3427404"/>
                <a:ext cx="260727" cy="608699"/>
              </a:xfrm>
              <a:custGeom>
                <a:avLst/>
                <a:gdLst/>
                <a:ahLst/>
                <a:cxnLst/>
                <a:rect l="l" t="t" r="r" b="b"/>
                <a:pathLst>
                  <a:path w="8260" h="19284" fill="none" extrusionOk="0">
                    <a:moveTo>
                      <a:pt x="8260" y="1"/>
                    </a:moveTo>
                    <a:cubicBezTo>
                      <a:pt x="8260" y="1"/>
                      <a:pt x="0" y="12502"/>
                      <a:pt x="1180" y="1928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1" name="Google Shape;271;p5"/>
              <p:cNvSpPr/>
              <p:nvPr/>
            </p:nvSpPr>
            <p:spPr>
              <a:xfrm>
                <a:off x="3786827" y="3358119"/>
                <a:ext cx="384714" cy="273479"/>
              </a:xfrm>
              <a:custGeom>
                <a:avLst/>
                <a:gdLst/>
                <a:ahLst/>
                <a:cxnLst/>
                <a:rect l="l" t="t" r="r" b="b"/>
                <a:pathLst>
                  <a:path w="12188" h="8664" fill="none" extrusionOk="0">
                    <a:moveTo>
                      <a:pt x="12188" y="8663"/>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2" name="Google Shape;272;p5"/>
              <p:cNvSpPr/>
              <p:nvPr/>
            </p:nvSpPr>
            <p:spPr>
              <a:xfrm>
                <a:off x="3934835" y="3380751"/>
                <a:ext cx="22664" cy="98546"/>
              </a:xfrm>
              <a:custGeom>
                <a:avLst/>
                <a:gdLst/>
                <a:ahLst/>
                <a:cxnLst/>
                <a:rect l="l" t="t" r="r" b="b"/>
                <a:pathLst>
                  <a:path w="718" h="3122" fill="none" extrusionOk="0">
                    <a:moveTo>
                      <a:pt x="1" y="0"/>
                    </a:moveTo>
                    <a:lnTo>
                      <a:pt x="718" y="312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3" name="Google Shape;273;p5"/>
              <p:cNvSpPr/>
              <p:nvPr/>
            </p:nvSpPr>
            <p:spPr>
              <a:xfrm>
                <a:off x="4149824" y="3259099"/>
                <a:ext cx="148545" cy="298479"/>
              </a:xfrm>
              <a:custGeom>
                <a:avLst/>
                <a:gdLst/>
                <a:ahLst/>
                <a:cxnLst/>
                <a:rect l="l" t="t" r="r" b="b"/>
                <a:pathLst>
                  <a:path w="4706" h="9456" fill="none" extrusionOk="0">
                    <a:moveTo>
                      <a:pt x="1" y="9455"/>
                    </a:moveTo>
                    <a:cubicBezTo>
                      <a:pt x="1" y="9455"/>
                      <a:pt x="2286" y="2420"/>
                      <a:pt x="4705"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4" name="Google Shape;274;p5"/>
              <p:cNvSpPr/>
              <p:nvPr/>
            </p:nvSpPr>
            <p:spPr>
              <a:xfrm>
                <a:off x="4182841" y="3523582"/>
                <a:ext cx="68370" cy="149965"/>
              </a:xfrm>
              <a:custGeom>
                <a:avLst/>
                <a:gdLst/>
                <a:ahLst/>
                <a:cxnLst/>
                <a:rect l="l" t="t" r="r" b="b"/>
                <a:pathLst>
                  <a:path w="2166" h="4751" fill="none" extrusionOk="0">
                    <a:moveTo>
                      <a:pt x="0" y="4750"/>
                    </a:moveTo>
                    <a:lnTo>
                      <a:pt x="2166"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5" name="Google Shape;275;p5"/>
              <p:cNvSpPr/>
              <p:nvPr/>
            </p:nvSpPr>
            <p:spPr>
              <a:xfrm>
                <a:off x="4212071" y="3533494"/>
                <a:ext cx="11805" cy="50472"/>
              </a:xfrm>
              <a:custGeom>
                <a:avLst/>
                <a:gdLst/>
                <a:ahLst/>
                <a:cxnLst/>
                <a:rect l="l" t="t" r="r" b="b"/>
                <a:pathLst>
                  <a:path w="374" h="1599" fill="none" extrusionOk="0">
                    <a:moveTo>
                      <a:pt x="0" y="0"/>
                    </a:moveTo>
                    <a:lnTo>
                      <a:pt x="374"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276;p5"/>
              <p:cNvSpPr/>
              <p:nvPr/>
            </p:nvSpPr>
            <p:spPr>
              <a:xfrm>
                <a:off x="3668963" y="3201588"/>
                <a:ext cx="138160" cy="48137"/>
              </a:xfrm>
              <a:custGeom>
                <a:avLst/>
                <a:gdLst/>
                <a:ahLst/>
                <a:cxnLst/>
                <a:rect l="l" t="t" r="r" b="b"/>
                <a:pathLst>
                  <a:path w="4377" h="1525" fill="none" extrusionOk="0">
                    <a:moveTo>
                      <a:pt x="4376" y="1"/>
                    </a:moveTo>
                    <a:lnTo>
                      <a:pt x="0"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7" name="Google Shape;277;p5"/>
              <p:cNvSpPr/>
              <p:nvPr/>
            </p:nvSpPr>
            <p:spPr>
              <a:xfrm>
                <a:off x="4101751" y="3068636"/>
                <a:ext cx="28314" cy="98577"/>
              </a:xfrm>
              <a:custGeom>
                <a:avLst/>
                <a:gdLst/>
                <a:ahLst/>
                <a:cxnLst/>
                <a:rect l="l" t="t" r="r" b="b"/>
                <a:pathLst>
                  <a:path w="897" h="3123" fill="none" extrusionOk="0">
                    <a:moveTo>
                      <a:pt x="896" y="312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278;p5"/>
              <p:cNvSpPr/>
              <p:nvPr/>
            </p:nvSpPr>
            <p:spPr>
              <a:xfrm>
                <a:off x="4178580" y="3003107"/>
                <a:ext cx="91033" cy="35384"/>
              </a:xfrm>
              <a:custGeom>
                <a:avLst/>
                <a:gdLst/>
                <a:ahLst/>
                <a:cxnLst/>
                <a:rect l="l" t="t" r="r" b="b"/>
                <a:pathLst>
                  <a:path w="2884" h="1121" fill="none" extrusionOk="0">
                    <a:moveTo>
                      <a:pt x="2883" y="1"/>
                    </a:moveTo>
                    <a:lnTo>
                      <a:pt x="1" y="112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279;p5"/>
              <p:cNvSpPr/>
              <p:nvPr/>
            </p:nvSpPr>
            <p:spPr>
              <a:xfrm>
                <a:off x="4309638" y="3719727"/>
                <a:ext cx="96210" cy="48105"/>
              </a:xfrm>
              <a:custGeom>
                <a:avLst/>
                <a:gdLst/>
                <a:ahLst/>
                <a:cxnLst/>
                <a:rect l="l" t="t" r="r" b="b"/>
                <a:pathLst>
                  <a:path w="3048" h="1524" fill="none" extrusionOk="0">
                    <a:moveTo>
                      <a:pt x="3048" y="0"/>
                    </a:moveTo>
                    <a:lnTo>
                      <a:pt x="1"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 name="Google Shape;280;p5"/>
              <p:cNvSpPr/>
              <p:nvPr/>
            </p:nvSpPr>
            <p:spPr>
              <a:xfrm>
                <a:off x="4368570" y="3540091"/>
                <a:ext cx="14173" cy="66034"/>
              </a:xfrm>
              <a:custGeom>
                <a:avLst/>
                <a:gdLst/>
                <a:ahLst/>
                <a:cxnLst/>
                <a:rect l="l" t="t" r="r" b="b"/>
                <a:pathLst>
                  <a:path w="449" h="2092" fill="none" extrusionOk="0">
                    <a:moveTo>
                      <a:pt x="1" y="1"/>
                    </a:moveTo>
                    <a:lnTo>
                      <a:pt x="449" y="20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1" name="Google Shape;281;p5"/>
              <p:cNvSpPr/>
              <p:nvPr/>
            </p:nvSpPr>
            <p:spPr>
              <a:xfrm>
                <a:off x="3969746" y="3756500"/>
                <a:ext cx="130616" cy="10385"/>
              </a:xfrm>
              <a:custGeom>
                <a:avLst/>
                <a:gdLst/>
                <a:ahLst/>
                <a:cxnLst/>
                <a:rect l="l" t="t" r="r" b="b"/>
                <a:pathLst>
                  <a:path w="4138" h="329" fill="none" extrusionOk="0">
                    <a:moveTo>
                      <a:pt x="4137" y="329"/>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282;p5"/>
              <p:cNvSpPr/>
              <p:nvPr/>
            </p:nvSpPr>
            <p:spPr>
              <a:xfrm>
                <a:off x="3956994" y="3585355"/>
                <a:ext cx="19854" cy="86299"/>
              </a:xfrm>
              <a:custGeom>
                <a:avLst/>
                <a:gdLst/>
                <a:ahLst/>
                <a:cxnLst/>
                <a:rect l="l" t="t" r="r" b="b"/>
                <a:pathLst>
                  <a:path w="629" h="2734" fill="none" extrusionOk="0">
                    <a:moveTo>
                      <a:pt x="1" y="0"/>
                    </a:moveTo>
                    <a:lnTo>
                      <a:pt x="628" y="273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5"/>
              <p:cNvSpPr/>
              <p:nvPr/>
            </p:nvSpPr>
            <p:spPr>
              <a:xfrm>
                <a:off x="3783513" y="2922490"/>
                <a:ext cx="124966" cy="38225"/>
              </a:xfrm>
              <a:custGeom>
                <a:avLst/>
                <a:gdLst/>
                <a:ahLst/>
                <a:cxnLst/>
                <a:rect l="l" t="t" r="r" b="b"/>
                <a:pathLst>
                  <a:path w="3959" h="1211" fill="none" extrusionOk="0">
                    <a:moveTo>
                      <a:pt x="3958" y="1210"/>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4" name="Google Shape;284;p5"/>
              <p:cNvSpPr/>
              <p:nvPr/>
            </p:nvSpPr>
            <p:spPr>
              <a:xfrm>
                <a:off x="3824042" y="2697621"/>
                <a:ext cx="32102" cy="111740"/>
              </a:xfrm>
              <a:custGeom>
                <a:avLst/>
                <a:gdLst/>
                <a:ahLst/>
                <a:cxnLst/>
                <a:rect l="l" t="t" r="r" b="b"/>
                <a:pathLst>
                  <a:path w="1017" h="3540" fill="none" extrusionOk="0">
                    <a:moveTo>
                      <a:pt x="1017" y="0"/>
                    </a:moveTo>
                    <a:lnTo>
                      <a:pt x="1" y="354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85" name="Google Shape;285;p5"/>
            <p:cNvGrpSpPr/>
            <p:nvPr/>
          </p:nvGrpSpPr>
          <p:grpSpPr>
            <a:xfrm>
              <a:off x="8506278" y="2693609"/>
              <a:ext cx="766792" cy="670618"/>
              <a:chOff x="6800425" y="5795650"/>
              <a:chExt cx="248700" cy="217500"/>
            </a:xfrm>
          </p:grpSpPr>
          <p:sp>
            <p:nvSpPr>
              <p:cNvPr id="286" name="Google Shape;286;p5"/>
              <p:cNvSpPr/>
              <p:nvPr/>
            </p:nvSpPr>
            <p:spPr>
              <a:xfrm>
                <a:off x="7000575" y="5798900"/>
                <a:ext cx="48550" cy="35775"/>
              </a:xfrm>
              <a:custGeom>
                <a:avLst/>
                <a:gdLst/>
                <a:ahLst/>
                <a:cxnLst/>
                <a:rect l="l" t="t" r="r" b="b"/>
                <a:pathLst>
                  <a:path w="1942" h="1431" extrusionOk="0">
                    <a:moveTo>
                      <a:pt x="1594" y="0"/>
                    </a:moveTo>
                    <a:cubicBezTo>
                      <a:pt x="1576" y="0"/>
                      <a:pt x="1557" y="4"/>
                      <a:pt x="1539" y="10"/>
                    </a:cubicBezTo>
                    <a:cubicBezTo>
                      <a:pt x="657" y="383"/>
                      <a:pt x="0" y="1369"/>
                      <a:pt x="0" y="1369"/>
                    </a:cubicBezTo>
                    <a:lnTo>
                      <a:pt x="45" y="1399"/>
                    </a:lnTo>
                    <a:cubicBezTo>
                      <a:pt x="66" y="1420"/>
                      <a:pt x="96" y="1431"/>
                      <a:pt x="129" y="1431"/>
                    </a:cubicBezTo>
                    <a:cubicBezTo>
                      <a:pt x="167" y="1431"/>
                      <a:pt x="207" y="1416"/>
                      <a:pt x="239" y="1384"/>
                    </a:cubicBezTo>
                    <a:cubicBezTo>
                      <a:pt x="807" y="891"/>
                      <a:pt x="1554" y="607"/>
                      <a:pt x="1822" y="503"/>
                    </a:cubicBezTo>
                    <a:cubicBezTo>
                      <a:pt x="1897" y="473"/>
                      <a:pt x="1942" y="413"/>
                      <a:pt x="1927" y="324"/>
                    </a:cubicBezTo>
                    <a:cubicBezTo>
                      <a:pt x="1882" y="174"/>
                      <a:pt x="1763" y="85"/>
                      <a:pt x="1673" y="25"/>
                    </a:cubicBezTo>
                    <a:cubicBezTo>
                      <a:pt x="1647" y="7"/>
                      <a:pt x="1621" y="0"/>
                      <a:pt x="159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5"/>
              <p:cNvSpPr/>
              <p:nvPr/>
            </p:nvSpPr>
            <p:spPr>
              <a:xfrm>
                <a:off x="6873250" y="5795650"/>
                <a:ext cx="162075" cy="172400"/>
              </a:xfrm>
              <a:custGeom>
                <a:avLst/>
                <a:gdLst/>
                <a:ahLst/>
                <a:cxnLst/>
                <a:rect l="l" t="t" r="r" b="b"/>
                <a:pathLst>
                  <a:path w="6483" h="6896" extrusionOk="0">
                    <a:moveTo>
                      <a:pt x="2280" y="0"/>
                    </a:moveTo>
                    <a:cubicBezTo>
                      <a:pt x="2218" y="0"/>
                      <a:pt x="2155" y="2"/>
                      <a:pt x="2091" y="6"/>
                    </a:cubicBezTo>
                    <a:lnTo>
                      <a:pt x="1987" y="6"/>
                    </a:lnTo>
                    <a:cubicBezTo>
                      <a:pt x="1628" y="35"/>
                      <a:pt x="1240" y="110"/>
                      <a:pt x="837" y="259"/>
                    </a:cubicBezTo>
                    <a:cubicBezTo>
                      <a:pt x="837" y="259"/>
                      <a:pt x="329" y="439"/>
                      <a:pt x="120" y="812"/>
                    </a:cubicBezTo>
                    <a:cubicBezTo>
                      <a:pt x="75" y="872"/>
                      <a:pt x="45" y="947"/>
                      <a:pt x="30" y="1021"/>
                    </a:cubicBezTo>
                    <a:cubicBezTo>
                      <a:pt x="15" y="1036"/>
                      <a:pt x="15" y="1066"/>
                      <a:pt x="15" y="1096"/>
                    </a:cubicBezTo>
                    <a:cubicBezTo>
                      <a:pt x="0" y="1275"/>
                      <a:pt x="60" y="1454"/>
                      <a:pt x="224" y="1678"/>
                    </a:cubicBezTo>
                    <a:cubicBezTo>
                      <a:pt x="299" y="1783"/>
                      <a:pt x="374" y="1858"/>
                      <a:pt x="433" y="1947"/>
                    </a:cubicBezTo>
                    <a:cubicBezTo>
                      <a:pt x="478" y="2007"/>
                      <a:pt x="538" y="2082"/>
                      <a:pt x="583" y="2126"/>
                    </a:cubicBezTo>
                    <a:lnTo>
                      <a:pt x="941" y="2604"/>
                    </a:lnTo>
                    <a:lnTo>
                      <a:pt x="1882" y="3799"/>
                    </a:lnTo>
                    <a:lnTo>
                      <a:pt x="1927" y="3844"/>
                    </a:lnTo>
                    <a:lnTo>
                      <a:pt x="2226" y="4232"/>
                    </a:lnTo>
                    <a:lnTo>
                      <a:pt x="2479" y="4501"/>
                    </a:lnTo>
                    <a:lnTo>
                      <a:pt x="2569" y="4606"/>
                    </a:lnTo>
                    <a:lnTo>
                      <a:pt x="3644" y="5756"/>
                    </a:lnTo>
                    <a:lnTo>
                      <a:pt x="3958" y="6070"/>
                    </a:lnTo>
                    <a:cubicBezTo>
                      <a:pt x="4003" y="6099"/>
                      <a:pt x="4018" y="6144"/>
                      <a:pt x="4063" y="6174"/>
                    </a:cubicBezTo>
                    <a:cubicBezTo>
                      <a:pt x="4182" y="6294"/>
                      <a:pt x="4302" y="6428"/>
                      <a:pt x="4466" y="6592"/>
                    </a:cubicBezTo>
                    <a:cubicBezTo>
                      <a:pt x="4511" y="6652"/>
                      <a:pt x="4570" y="6682"/>
                      <a:pt x="4615" y="6727"/>
                    </a:cubicBezTo>
                    <a:cubicBezTo>
                      <a:pt x="4630" y="6742"/>
                      <a:pt x="4660" y="6757"/>
                      <a:pt x="4675" y="6772"/>
                    </a:cubicBezTo>
                    <a:cubicBezTo>
                      <a:pt x="4798" y="6859"/>
                      <a:pt x="4925" y="6895"/>
                      <a:pt x="5049" y="6895"/>
                    </a:cubicBezTo>
                    <a:cubicBezTo>
                      <a:pt x="5136" y="6895"/>
                      <a:pt x="5222" y="6877"/>
                      <a:pt x="5302" y="6846"/>
                    </a:cubicBezTo>
                    <a:cubicBezTo>
                      <a:pt x="5467" y="6772"/>
                      <a:pt x="5616" y="6637"/>
                      <a:pt x="5721" y="6503"/>
                    </a:cubicBezTo>
                    <a:cubicBezTo>
                      <a:pt x="5750" y="6503"/>
                      <a:pt x="5765" y="6473"/>
                      <a:pt x="5780" y="6458"/>
                    </a:cubicBezTo>
                    <a:cubicBezTo>
                      <a:pt x="5885" y="6323"/>
                      <a:pt x="5960" y="6204"/>
                      <a:pt x="5960" y="6204"/>
                    </a:cubicBezTo>
                    <a:cubicBezTo>
                      <a:pt x="6198" y="5786"/>
                      <a:pt x="6348" y="5353"/>
                      <a:pt x="6408" y="4964"/>
                    </a:cubicBezTo>
                    <a:cubicBezTo>
                      <a:pt x="6408" y="4919"/>
                      <a:pt x="6423" y="4890"/>
                      <a:pt x="6423" y="4845"/>
                    </a:cubicBezTo>
                    <a:cubicBezTo>
                      <a:pt x="6467" y="4576"/>
                      <a:pt x="6482" y="4307"/>
                      <a:pt x="6467" y="4068"/>
                    </a:cubicBezTo>
                    <a:lnTo>
                      <a:pt x="6467" y="3993"/>
                    </a:lnTo>
                    <a:cubicBezTo>
                      <a:pt x="6437" y="3695"/>
                      <a:pt x="6378" y="3426"/>
                      <a:pt x="6318" y="3172"/>
                    </a:cubicBezTo>
                    <a:cubicBezTo>
                      <a:pt x="6318" y="3142"/>
                      <a:pt x="6318" y="3127"/>
                      <a:pt x="6303" y="3112"/>
                    </a:cubicBezTo>
                    <a:cubicBezTo>
                      <a:pt x="6124" y="2530"/>
                      <a:pt x="5855" y="2067"/>
                      <a:pt x="5676" y="1783"/>
                    </a:cubicBezTo>
                    <a:cubicBezTo>
                      <a:pt x="5661" y="1783"/>
                      <a:pt x="5646" y="1753"/>
                      <a:pt x="5631" y="1738"/>
                    </a:cubicBezTo>
                    <a:cubicBezTo>
                      <a:pt x="5526" y="1574"/>
                      <a:pt x="5437" y="1484"/>
                      <a:pt x="5437" y="1484"/>
                    </a:cubicBezTo>
                    <a:cubicBezTo>
                      <a:pt x="5437" y="1484"/>
                      <a:pt x="4780" y="693"/>
                      <a:pt x="3659" y="259"/>
                    </a:cubicBezTo>
                    <a:cubicBezTo>
                      <a:pt x="3630" y="259"/>
                      <a:pt x="3600" y="245"/>
                      <a:pt x="3555" y="230"/>
                    </a:cubicBezTo>
                    <a:cubicBezTo>
                      <a:pt x="3185" y="98"/>
                      <a:pt x="2757" y="0"/>
                      <a:pt x="22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8" name="Google Shape;288;p5"/>
              <p:cNvSpPr/>
              <p:nvPr/>
            </p:nvSpPr>
            <p:spPr>
              <a:xfrm>
                <a:off x="6873625" y="5796150"/>
                <a:ext cx="160950" cy="168800"/>
              </a:xfrm>
              <a:custGeom>
                <a:avLst/>
                <a:gdLst/>
                <a:ahLst/>
                <a:cxnLst/>
                <a:rect l="l" t="t" r="r" b="b"/>
                <a:pathLst>
                  <a:path w="6438" h="6752" extrusionOk="0">
                    <a:moveTo>
                      <a:pt x="1957" y="1"/>
                    </a:moveTo>
                    <a:cubicBezTo>
                      <a:pt x="1449" y="583"/>
                      <a:pt x="702" y="867"/>
                      <a:pt x="15" y="1016"/>
                    </a:cubicBezTo>
                    <a:cubicBezTo>
                      <a:pt x="0" y="1031"/>
                      <a:pt x="0" y="1061"/>
                      <a:pt x="0" y="1091"/>
                    </a:cubicBezTo>
                    <a:cubicBezTo>
                      <a:pt x="732" y="927"/>
                      <a:pt x="1509" y="613"/>
                      <a:pt x="2061" y="1"/>
                    </a:cubicBezTo>
                    <a:close/>
                    <a:moveTo>
                      <a:pt x="3525" y="210"/>
                    </a:moveTo>
                    <a:cubicBezTo>
                      <a:pt x="3196" y="299"/>
                      <a:pt x="2868" y="389"/>
                      <a:pt x="2584" y="449"/>
                    </a:cubicBezTo>
                    <a:cubicBezTo>
                      <a:pt x="1613" y="688"/>
                      <a:pt x="822" y="882"/>
                      <a:pt x="463" y="1733"/>
                    </a:cubicBezTo>
                    <a:cubicBezTo>
                      <a:pt x="433" y="1808"/>
                      <a:pt x="418" y="1882"/>
                      <a:pt x="403" y="1927"/>
                    </a:cubicBezTo>
                    <a:cubicBezTo>
                      <a:pt x="403" y="2002"/>
                      <a:pt x="418" y="2062"/>
                      <a:pt x="448" y="2092"/>
                    </a:cubicBezTo>
                    <a:cubicBezTo>
                      <a:pt x="463" y="2106"/>
                      <a:pt x="508" y="2121"/>
                      <a:pt x="553" y="2121"/>
                    </a:cubicBezTo>
                    <a:cubicBezTo>
                      <a:pt x="702" y="2121"/>
                      <a:pt x="956" y="2017"/>
                      <a:pt x="1314" y="1853"/>
                    </a:cubicBezTo>
                    <a:cubicBezTo>
                      <a:pt x="1848" y="1620"/>
                      <a:pt x="2538" y="1305"/>
                      <a:pt x="3133" y="1305"/>
                    </a:cubicBezTo>
                    <a:cubicBezTo>
                      <a:pt x="3454" y="1305"/>
                      <a:pt x="3748" y="1397"/>
                      <a:pt x="3973" y="1643"/>
                    </a:cubicBezTo>
                    <a:cubicBezTo>
                      <a:pt x="4242" y="1957"/>
                      <a:pt x="4346" y="2241"/>
                      <a:pt x="4287" y="2465"/>
                    </a:cubicBezTo>
                    <a:cubicBezTo>
                      <a:pt x="4152" y="2958"/>
                      <a:pt x="3301" y="3257"/>
                      <a:pt x="2539" y="3510"/>
                    </a:cubicBezTo>
                    <a:cubicBezTo>
                      <a:pt x="2360" y="3585"/>
                      <a:pt x="2196" y="3630"/>
                      <a:pt x="2046" y="3690"/>
                    </a:cubicBezTo>
                    <a:cubicBezTo>
                      <a:pt x="1957" y="3720"/>
                      <a:pt x="1912" y="3749"/>
                      <a:pt x="1867" y="3779"/>
                    </a:cubicBezTo>
                    <a:lnTo>
                      <a:pt x="1912" y="3839"/>
                    </a:lnTo>
                    <a:cubicBezTo>
                      <a:pt x="1957" y="3794"/>
                      <a:pt x="2016" y="3779"/>
                      <a:pt x="2076" y="3749"/>
                    </a:cubicBezTo>
                    <a:cubicBezTo>
                      <a:pt x="2226" y="3675"/>
                      <a:pt x="2390" y="3615"/>
                      <a:pt x="2569" y="3570"/>
                    </a:cubicBezTo>
                    <a:cubicBezTo>
                      <a:pt x="3331" y="3301"/>
                      <a:pt x="4212" y="3003"/>
                      <a:pt x="4346" y="2465"/>
                    </a:cubicBezTo>
                    <a:cubicBezTo>
                      <a:pt x="4421" y="2211"/>
                      <a:pt x="4317" y="1912"/>
                      <a:pt x="4018" y="1599"/>
                    </a:cubicBezTo>
                    <a:cubicBezTo>
                      <a:pt x="3783" y="1337"/>
                      <a:pt x="3475" y="1239"/>
                      <a:pt x="3138" y="1239"/>
                    </a:cubicBezTo>
                    <a:cubicBezTo>
                      <a:pt x="2534" y="1239"/>
                      <a:pt x="1837" y="1553"/>
                      <a:pt x="1299" y="1793"/>
                    </a:cubicBezTo>
                    <a:cubicBezTo>
                      <a:pt x="1002" y="1929"/>
                      <a:pt x="705" y="2065"/>
                      <a:pt x="561" y="2065"/>
                    </a:cubicBezTo>
                    <a:cubicBezTo>
                      <a:pt x="531" y="2065"/>
                      <a:pt x="508" y="2059"/>
                      <a:pt x="493" y="2047"/>
                    </a:cubicBezTo>
                    <a:cubicBezTo>
                      <a:pt x="463" y="2017"/>
                      <a:pt x="448" y="1942"/>
                      <a:pt x="538" y="1763"/>
                    </a:cubicBezTo>
                    <a:cubicBezTo>
                      <a:pt x="881" y="927"/>
                      <a:pt x="1643" y="747"/>
                      <a:pt x="2614" y="523"/>
                    </a:cubicBezTo>
                    <a:cubicBezTo>
                      <a:pt x="2927" y="434"/>
                      <a:pt x="3271" y="359"/>
                      <a:pt x="3644" y="239"/>
                    </a:cubicBezTo>
                    <a:cubicBezTo>
                      <a:pt x="3600" y="239"/>
                      <a:pt x="3570" y="225"/>
                      <a:pt x="3525" y="210"/>
                    </a:cubicBezTo>
                    <a:close/>
                    <a:moveTo>
                      <a:pt x="5616" y="1688"/>
                    </a:moveTo>
                    <a:cubicBezTo>
                      <a:pt x="5317" y="1972"/>
                      <a:pt x="4974" y="2450"/>
                      <a:pt x="4645" y="3271"/>
                    </a:cubicBezTo>
                    <a:cubicBezTo>
                      <a:pt x="4506" y="3591"/>
                      <a:pt x="4031" y="4558"/>
                      <a:pt x="2966" y="4558"/>
                    </a:cubicBezTo>
                    <a:cubicBezTo>
                      <a:pt x="2887" y="4558"/>
                      <a:pt x="2804" y="4552"/>
                      <a:pt x="2718" y="4541"/>
                    </a:cubicBezTo>
                    <a:cubicBezTo>
                      <a:pt x="2644" y="4526"/>
                      <a:pt x="2554" y="4511"/>
                      <a:pt x="2479" y="4481"/>
                    </a:cubicBezTo>
                    <a:lnTo>
                      <a:pt x="2479" y="4481"/>
                    </a:lnTo>
                    <a:lnTo>
                      <a:pt x="2569" y="4586"/>
                    </a:lnTo>
                    <a:cubicBezTo>
                      <a:pt x="2614" y="4601"/>
                      <a:pt x="2644" y="4601"/>
                      <a:pt x="2703" y="4616"/>
                    </a:cubicBezTo>
                    <a:cubicBezTo>
                      <a:pt x="2789" y="4627"/>
                      <a:pt x="2873" y="4633"/>
                      <a:pt x="2956" y="4633"/>
                    </a:cubicBezTo>
                    <a:cubicBezTo>
                      <a:pt x="3714" y="4633"/>
                      <a:pt x="4355" y="4148"/>
                      <a:pt x="4705" y="3286"/>
                    </a:cubicBezTo>
                    <a:cubicBezTo>
                      <a:pt x="4989" y="2599"/>
                      <a:pt x="5317" y="2062"/>
                      <a:pt x="5661" y="1748"/>
                    </a:cubicBezTo>
                    <a:cubicBezTo>
                      <a:pt x="5646" y="1733"/>
                      <a:pt x="5631" y="1703"/>
                      <a:pt x="5616" y="1688"/>
                    </a:cubicBezTo>
                    <a:close/>
                    <a:moveTo>
                      <a:pt x="6273" y="3077"/>
                    </a:moveTo>
                    <a:cubicBezTo>
                      <a:pt x="5974" y="3137"/>
                      <a:pt x="5676" y="3227"/>
                      <a:pt x="5452" y="3391"/>
                    </a:cubicBezTo>
                    <a:cubicBezTo>
                      <a:pt x="5243" y="3540"/>
                      <a:pt x="3629" y="4765"/>
                      <a:pt x="3943" y="6050"/>
                    </a:cubicBezTo>
                    <a:cubicBezTo>
                      <a:pt x="3988" y="6079"/>
                      <a:pt x="4003" y="6124"/>
                      <a:pt x="4048" y="6154"/>
                    </a:cubicBezTo>
                    <a:cubicBezTo>
                      <a:pt x="3600" y="4870"/>
                      <a:pt x="5287" y="3600"/>
                      <a:pt x="5482" y="3451"/>
                    </a:cubicBezTo>
                    <a:cubicBezTo>
                      <a:pt x="5676" y="3286"/>
                      <a:pt x="5989" y="3212"/>
                      <a:pt x="6288" y="3137"/>
                    </a:cubicBezTo>
                    <a:cubicBezTo>
                      <a:pt x="6288" y="3107"/>
                      <a:pt x="6288" y="3107"/>
                      <a:pt x="6273" y="3077"/>
                    </a:cubicBezTo>
                    <a:close/>
                    <a:moveTo>
                      <a:pt x="6408" y="4810"/>
                    </a:moveTo>
                    <a:cubicBezTo>
                      <a:pt x="5989" y="5168"/>
                      <a:pt x="5631" y="5557"/>
                      <a:pt x="5571" y="5870"/>
                    </a:cubicBezTo>
                    <a:cubicBezTo>
                      <a:pt x="5526" y="6109"/>
                      <a:pt x="5601" y="6318"/>
                      <a:pt x="5706" y="6483"/>
                    </a:cubicBezTo>
                    <a:cubicBezTo>
                      <a:pt x="5720" y="6468"/>
                      <a:pt x="5735" y="6453"/>
                      <a:pt x="5765" y="6438"/>
                    </a:cubicBezTo>
                    <a:cubicBezTo>
                      <a:pt x="5661" y="6274"/>
                      <a:pt x="5601" y="6094"/>
                      <a:pt x="5646" y="5885"/>
                    </a:cubicBezTo>
                    <a:cubicBezTo>
                      <a:pt x="5691" y="5601"/>
                      <a:pt x="6004" y="5258"/>
                      <a:pt x="6393" y="4929"/>
                    </a:cubicBezTo>
                    <a:cubicBezTo>
                      <a:pt x="6393" y="4885"/>
                      <a:pt x="6408" y="4855"/>
                      <a:pt x="6408" y="4810"/>
                    </a:cubicBezTo>
                    <a:close/>
                    <a:moveTo>
                      <a:pt x="6437" y="3959"/>
                    </a:moveTo>
                    <a:cubicBezTo>
                      <a:pt x="6124" y="4078"/>
                      <a:pt x="5840" y="4257"/>
                      <a:pt x="5616" y="4481"/>
                    </a:cubicBezTo>
                    <a:cubicBezTo>
                      <a:pt x="5317" y="4825"/>
                      <a:pt x="5123" y="5377"/>
                      <a:pt x="4959" y="5870"/>
                    </a:cubicBezTo>
                    <a:cubicBezTo>
                      <a:pt x="4839" y="6244"/>
                      <a:pt x="4720" y="6587"/>
                      <a:pt x="4585" y="6707"/>
                    </a:cubicBezTo>
                    <a:cubicBezTo>
                      <a:pt x="4600" y="6722"/>
                      <a:pt x="4630" y="6737"/>
                      <a:pt x="4645" y="6752"/>
                    </a:cubicBezTo>
                    <a:cubicBezTo>
                      <a:pt x="4780" y="6602"/>
                      <a:pt x="4899" y="6289"/>
                      <a:pt x="5018" y="5885"/>
                    </a:cubicBezTo>
                    <a:cubicBezTo>
                      <a:pt x="5183" y="5407"/>
                      <a:pt x="5362" y="4855"/>
                      <a:pt x="5676" y="4526"/>
                    </a:cubicBezTo>
                    <a:cubicBezTo>
                      <a:pt x="5855" y="4302"/>
                      <a:pt x="6154" y="4138"/>
                      <a:pt x="6437" y="4018"/>
                    </a:cubicBezTo>
                    <a:lnTo>
                      <a:pt x="6437" y="3959"/>
                    </a:ln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9" name="Google Shape;289;p5"/>
              <p:cNvSpPr/>
              <p:nvPr/>
            </p:nvSpPr>
            <p:spPr>
              <a:xfrm>
                <a:off x="6872125" y="5816300"/>
                <a:ext cx="139675" cy="151700"/>
              </a:xfrm>
              <a:custGeom>
                <a:avLst/>
                <a:gdLst/>
                <a:ahLst/>
                <a:cxnLst/>
                <a:rect l="l" t="t" r="r" b="b"/>
                <a:pathLst>
                  <a:path w="5587" h="6068" extrusionOk="0">
                    <a:moveTo>
                      <a:pt x="182" y="1"/>
                    </a:moveTo>
                    <a:cubicBezTo>
                      <a:pt x="176" y="1"/>
                      <a:pt x="170" y="1"/>
                      <a:pt x="165" y="1"/>
                    </a:cubicBezTo>
                    <a:cubicBezTo>
                      <a:pt x="30" y="225"/>
                      <a:pt x="0" y="509"/>
                      <a:pt x="284" y="867"/>
                    </a:cubicBezTo>
                    <a:lnTo>
                      <a:pt x="1001" y="1793"/>
                    </a:lnTo>
                    <a:lnTo>
                      <a:pt x="2286" y="3421"/>
                    </a:lnTo>
                    <a:lnTo>
                      <a:pt x="3704" y="4945"/>
                    </a:lnTo>
                    <a:lnTo>
                      <a:pt x="4511" y="5781"/>
                    </a:lnTo>
                    <a:cubicBezTo>
                      <a:pt x="4712" y="5992"/>
                      <a:pt x="4905" y="6068"/>
                      <a:pt x="5088" y="6068"/>
                    </a:cubicBezTo>
                    <a:cubicBezTo>
                      <a:pt x="5177" y="6068"/>
                      <a:pt x="5264" y="6050"/>
                      <a:pt x="5347" y="6020"/>
                    </a:cubicBezTo>
                    <a:lnTo>
                      <a:pt x="5347" y="6005"/>
                    </a:lnTo>
                    <a:cubicBezTo>
                      <a:pt x="5586" y="4377"/>
                      <a:pt x="3734" y="2167"/>
                      <a:pt x="3734" y="2167"/>
                    </a:cubicBezTo>
                    <a:cubicBezTo>
                      <a:pt x="3734" y="2167"/>
                      <a:pt x="1836" y="1"/>
                      <a:pt x="18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0" name="Google Shape;290;p5"/>
              <p:cNvSpPr/>
              <p:nvPr/>
            </p:nvSpPr>
            <p:spPr>
              <a:xfrm>
                <a:off x="6800425" y="5830500"/>
                <a:ext cx="193825" cy="182650"/>
              </a:xfrm>
              <a:custGeom>
                <a:avLst/>
                <a:gdLst/>
                <a:ahLst/>
                <a:cxnLst/>
                <a:rect l="l" t="t" r="r" b="b"/>
                <a:pathLst>
                  <a:path w="7753" h="7306" extrusionOk="0">
                    <a:moveTo>
                      <a:pt x="3496" y="0"/>
                    </a:moveTo>
                    <a:cubicBezTo>
                      <a:pt x="3421" y="0"/>
                      <a:pt x="3344" y="16"/>
                      <a:pt x="3287" y="45"/>
                    </a:cubicBezTo>
                    <a:cubicBezTo>
                      <a:pt x="3257" y="45"/>
                      <a:pt x="3227" y="45"/>
                      <a:pt x="3212" y="60"/>
                    </a:cubicBezTo>
                    <a:cubicBezTo>
                      <a:pt x="3033" y="195"/>
                      <a:pt x="2749" y="389"/>
                      <a:pt x="2420" y="688"/>
                    </a:cubicBezTo>
                    <a:cubicBezTo>
                      <a:pt x="1405" y="1584"/>
                      <a:pt x="1" y="3361"/>
                      <a:pt x="419" y="6005"/>
                    </a:cubicBezTo>
                    <a:cubicBezTo>
                      <a:pt x="449" y="6154"/>
                      <a:pt x="479" y="6289"/>
                      <a:pt x="508" y="6453"/>
                    </a:cubicBezTo>
                    <a:cubicBezTo>
                      <a:pt x="553" y="6647"/>
                      <a:pt x="688" y="6811"/>
                      <a:pt x="897" y="6901"/>
                    </a:cubicBezTo>
                    <a:cubicBezTo>
                      <a:pt x="1682" y="7195"/>
                      <a:pt x="2415" y="7306"/>
                      <a:pt x="3082" y="7306"/>
                    </a:cubicBezTo>
                    <a:cubicBezTo>
                      <a:pt x="3126" y="7306"/>
                      <a:pt x="3169" y="7305"/>
                      <a:pt x="3212" y="7304"/>
                    </a:cubicBezTo>
                    <a:cubicBezTo>
                      <a:pt x="5557" y="7245"/>
                      <a:pt x="7140" y="5661"/>
                      <a:pt x="7618" y="5153"/>
                    </a:cubicBezTo>
                    <a:cubicBezTo>
                      <a:pt x="7708" y="5064"/>
                      <a:pt x="7752" y="4929"/>
                      <a:pt x="7737" y="4780"/>
                    </a:cubicBezTo>
                    <a:cubicBezTo>
                      <a:pt x="7513" y="3167"/>
                      <a:pt x="6274" y="1883"/>
                      <a:pt x="6274" y="1883"/>
                    </a:cubicBezTo>
                    <a:cubicBezTo>
                      <a:pt x="6274" y="1883"/>
                      <a:pt x="5198" y="464"/>
                      <a:pt x="3615" y="16"/>
                    </a:cubicBezTo>
                    <a:cubicBezTo>
                      <a:pt x="3578" y="5"/>
                      <a:pt x="3537" y="0"/>
                      <a:pt x="349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1" name="Google Shape;291;p5"/>
              <p:cNvSpPr/>
              <p:nvPr/>
            </p:nvSpPr>
            <p:spPr>
              <a:xfrm>
                <a:off x="6880325" y="5830125"/>
                <a:ext cx="113550" cy="183000"/>
              </a:xfrm>
              <a:custGeom>
                <a:avLst/>
                <a:gdLst/>
                <a:ahLst/>
                <a:cxnLst/>
                <a:rect l="l" t="t" r="r" b="b"/>
                <a:pathLst>
                  <a:path w="4542" h="7320" extrusionOk="0">
                    <a:moveTo>
                      <a:pt x="289" y="0"/>
                    </a:moveTo>
                    <a:cubicBezTo>
                      <a:pt x="217" y="0"/>
                      <a:pt x="143" y="17"/>
                      <a:pt x="76" y="45"/>
                    </a:cubicBezTo>
                    <a:cubicBezTo>
                      <a:pt x="688" y="389"/>
                      <a:pt x="3018" y="1912"/>
                      <a:pt x="3675" y="4691"/>
                    </a:cubicBezTo>
                    <a:cubicBezTo>
                      <a:pt x="3675" y="4691"/>
                      <a:pt x="1973" y="6542"/>
                      <a:pt x="17" y="7319"/>
                    </a:cubicBezTo>
                    <a:lnTo>
                      <a:pt x="17" y="7319"/>
                    </a:lnTo>
                    <a:cubicBezTo>
                      <a:pt x="2368" y="7252"/>
                      <a:pt x="3945" y="5675"/>
                      <a:pt x="4407" y="5154"/>
                    </a:cubicBezTo>
                    <a:cubicBezTo>
                      <a:pt x="4497" y="5064"/>
                      <a:pt x="4541" y="4930"/>
                      <a:pt x="4526" y="4780"/>
                    </a:cubicBezTo>
                    <a:cubicBezTo>
                      <a:pt x="4302" y="3167"/>
                      <a:pt x="3063" y="1883"/>
                      <a:pt x="3063" y="1883"/>
                    </a:cubicBezTo>
                    <a:cubicBezTo>
                      <a:pt x="3063" y="1883"/>
                      <a:pt x="1987" y="464"/>
                      <a:pt x="404" y="16"/>
                    </a:cubicBezTo>
                    <a:cubicBezTo>
                      <a:pt x="367" y="5"/>
                      <a:pt x="328" y="0"/>
                      <a:pt x="289" y="0"/>
                    </a:cubicBezTo>
                    <a:close/>
                    <a:moveTo>
                      <a:pt x="17" y="7319"/>
                    </a:moveTo>
                    <a:cubicBezTo>
                      <a:pt x="12" y="7319"/>
                      <a:pt x="6" y="7319"/>
                      <a:pt x="1" y="7319"/>
                    </a:cubicBezTo>
                    <a:lnTo>
                      <a:pt x="16" y="7319"/>
                    </a:lnTo>
                    <a:cubicBezTo>
                      <a:pt x="16" y="7319"/>
                      <a:pt x="17" y="7319"/>
                      <a:pt x="17" y="7319"/>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2" name="Google Shape;292;p5"/>
              <p:cNvSpPr/>
              <p:nvPr/>
            </p:nvSpPr>
            <p:spPr>
              <a:xfrm>
                <a:off x="6815750" y="5910525"/>
                <a:ext cx="47800" cy="40500"/>
              </a:xfrm>
              <a:custGeom>
                <a:avLst/>
                <a:gdLst/>
                <a:ahLst/>
                <a:cxnLst/>
                <a:rect l="l" t="t" r="r" b="b"/>
                <a:pathLst>
                  <a:path w="1912" h="1620" extrusionOk="0">
                    <a:moveTo>
                      <a:pt x="1162" y="1"/>
                    </a:moveTo>
                    <a:cubicBezTo>
                      <a:pt x="941" y="1"/>
                      <a:pt x="698" y="91"/>
                      <a:pt x="493" y="265"/>
                    </a:cubicBezTo>
                    <a:cubicBezTo>
                      <a:pt x="105" y="593"/>
                      <a:pt x="0" y="1101"/>
                      <a:pt x="254" y="1400"/>
                    </a:cubicBezTo>
                    <a:cubicBezTo>
                      <a:pt x="381" y="1548"/>
                      <a:pt x="563" y="1619"/>
                      <a:pt x="761" y="1619"/>
                    </a:cubicBezTo>
                    <a:cubicBezTo>
                      <a:pt x="982" y="1619"/>
                      <a:pt x="1221" y="1529"/>
                      <a:pt x="1419" y="1355"/>
                    </a:cubicBezTo>
                    <a:cubicBezTo>
                      <a:pt x="1807" y="1026"/>
                      <a:pt x="1912" y="504"/>
                      <a:pt x="1658" y="220"/>
                    </a:cubicBezTo>
                    <a:cubicBezTo>
                      <a:pt x="1538" y="72"/>
                      <a:pt x="1359" y="1"/>
                      <a:pt x="116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3" name="Google Shape;293;p5"/>
            <p:cNvSpPr/>
            <p:nvPr/>
          </p:nvSpPr>
          <p:spPr>
            <a:xfrm>
              <a:off x="305838" y="4007977"/>
              <a:ext cx="179313" cy="389284"/>
            </a:xfrm>
            <a:custGeom>
              <a:avLst/>
              <a:gdLst/>
              <a:ahLst/>
              <a:cxnLst/>
              <a:rect l="l" t="t" r="r" b="b"/>
              <a:pathLst>
                <a:path w="4720" h="10247" fill="none" extrusionOk="0">
                  <a:moveTo>
                    <a:pt x="0" y="10247"/>
                  </a:moveTo>
                  <a:cubicBezTo>
                    <a:pt x="0" y="10247"/>
                    <a:pt x="3928" y="6020"/>
                    <a:pt x="4720" y="5647"/>
                  </a:cubicBezTo>
                  <a:moveTo>
                    <a:pt x="2763" y="2615"/>
                  </a:moveTo>
                  <a:cubicBezTo>
                    <a:pt x="2763" y="2615"/>
                    <a:pt x="3689" y="1390"/>
                    <a:pt x="4436" y="1226"/>
                  </a:cubicBezTo>
                  <a:moveTo>
                    <a:pt x="1359" y="8813"/>
                  </a:moveTo>
                  <a:cubicBezTo>
                    <a:pt x="1359" y="8813"/>
                    <a:pt x="3361" y="3735"/>
                    <a:pt x="262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5"/>
            <p:cNvSpPr/>
            <p:nvPr/>
          </p:nvSpPr>
          <p:spPr>
            <a:xfrm rot="2700000">
              <a:off x="8540621" y="4484078"/>
              <a:ext cx="345019" cy="240054"/>
            </a:xfrm>
            <a:custGeom>
              <a:avLst/>
              <a:gdLst/>
              <a:ahLst/>
              <a:cxnLst/>
              <a:rect l="l" t="t" r="r" b="b"/>
              <a:pathLst>
                <a:path w="9082" h="6319" fill="none" extrusionOk="0">
                  <a:moveTo>
                    <a:pt x="0" y="0"/>
                  </a:moveTo>
                  <a:cubicBezTo>
                    <a:pt x="0" y="0"/>
                    <a:pt x="4421" y="1867"/>
                    <a:pt x="9081" y="2121"/>
                  </a:cubicBezTo>
                  <a:moveTo>
                    <a:pt x="7438" y="4003"/>
                  </a:moveTo>
                  <a:cubicBezTo>
                    <a:pt x="7438" y="4003"/>
                    <a:pt x="6766" y="5168"/>
                    <a:pt x="6542" y="6318"/>
                  </a:cubicBezTo>
                  <a:moveTo>
                    <a:pt x="6004" y="1748"/>
                  </a:moveTo>
                  <a:cubicBezTo>
                    <a:pt x="6004" y="1748"/>
                    <a:pt x="7005" y="2569"/>
                    <a:pt x="7856" y="5049"/>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95" name="Google Shape;295;p5"/>
            <p:cNvGrpSpPr/>
            <p:nvPr/>
          </p:nvGrpSpPr>
          <p:grpSpPr>
            <a:xfrm>
              <a:off x="8633664" y="586468"/>
              <a:ext cx="286312" cy="174621"/>
              <a:chOff x="8227451" y="796881"/>
              <a:chExt cx="286312" cy="174621"/>
            </a:xfrm>
          </p:grpSpPr>
          <p:sp>
            <p:nvSpPr>
              <p:cNvPr id="296" name="Google Shape;296;p5"/>
              <p:cNvSpPr/>
              <p:nvPr/>
            </p:nvSpPr>
            <p:spPr>
              <a:xfrm>
                <a:off x="8351049" y="796881"/>
                <a:ext cx="162715" cy="174621"/>
              </a:xfrm>
              <a:custGeom>
                <a:avLst/>
                <a:gdLst/>
                <a:ahLst/>
                <a:cxnLst/>
                <a:rect l="l" t="t" r="r" b="b"/>
                <a:pathLst>
                  <a:path w="1435" h="1540" extrusionOk="0">
                    <a:moveTo>
                      <a:pt x="210" y="1"/>
                    </a:moveTo>
                    <a:lnTo>
                      <a:pt x="210" y="1"/>
                    </a:lnTo>
                    <a:cubicBezTo>
                      <a:pt x="1" y="1315"/>
                      <a:pt x="1046" y="1539"/>
                      <a:pt x="1046" y="1539"/>
                    </a:cubicBezTo>
                    <a:cubicBezTo>
                      <a:pt x="1434" y="509"/>
                      <a:pt x="210" y="1"/>
                      <a:pt x="21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7" name="Google Shape;297;p5"/>
              <p:cNvSpPr/>
              <p:nvPr/>
            </p:nvSpPr>
            <p:spPr>
              <a:xfrm>
                <a:off x="8227451" y="805385"/>
                <a:ext cx="123708" cy="132213"/>
              </a:xfrm>
              <a:custGeom>
                <a:avLst/>
                <a:gdLst/>
                <a:ahLst/>
                <a:cxnLst/>
                <a:rect l="l" t="t" r="r" b="b"/>
                <a:pathLst>
                  <a:path w="1091" h="1166" extrusionOk="0">
                    <a:moveTo>
                      <a:pt x="1031" y="1"/>
                    </a:moveTo>
                    <a:cubicBezTo>
                      <a:pt x="0" y="314"/>
                      <a:pt x="194" y="1166"/>
                      <a:pt x="194" y="1166"/>
                    </a:cubicBezTo>
                    <a:cubicBezTo>
                      <a:pt x="1090" y="1076"/>
                      <a:pt x="1031" y="1"/>
                      <a:pt x="103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98" name="Google Shape;298;p5"/>
            <p:cNvSpPr/>
            <p:nvPr/>
          </p:nvSpPr>
          <p:spPr>
            <a:xfrm rot="10800000" flipH="1">
              <a:off x="318521" y="937252"/>
              <a:ext cx="153944" cy="98818"/>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9" name="Google Shape;299;p5"/>
            <p:cNvSpPr/>
            <p:nvPr/>
          </p:nvSpPr>
          <p:spPr>
            <a:xfrm>
              <a:off x="1037071" y="4759202"/>
              <a:ext cx="153944" cy="98818"/>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00" name="Google Shape;300;p5"/>
            <p:cNvGrpSpPr/>
            <p:nvPr/>
          </p:nvGrpSpPr>
          <p:grpSpPr>
            <a:xfrm rot="10800000">
              <a:off x="198839" y="3050468"/>
              <a:ext cx="286312" cy="174621"/>
              <a:chOff x="8227451" y="796881"/>
              <a:chExt cx="286312" cy="174621"/>
            </a:xfrm>
          </p:grpSpPr>
          <p:sp>
            <p:nvSpPr>
              <p:cNvPr id="301" name="Google Shape;301;p5"/>
              <p:cNvSpPr/>
              <p:nvPr/>
            </p:nvSpPr>
            <p:spPr>
              <a:xfrm>
                <a:off x="8351049" y="796881"/>
                <a:ext cx="162715" cy="174621"/>
              </a:xfrm>
              <a:custGeom>
                <a:avLst/>
                <a:gdLst/>
                <a:ahLst/>
                <a:cxnLst/>
                <a:rect l="l" t="t" r="r" b="b"/>
                <a:pathLst>
                  <a:path w="1435" h="1540" extrusionOk="0">
                    <a:moveTo>
                      <a:pt x="210" y="1"/>
                    </a:moveTo>
                    <a:lnTo>
                      <a:pt x="210" y="1"/>
                    </a:lnTo>
                    <a:cubicBezTo>
                      <a:pt x="1" y="1315"/>
                      <a:pt x="1046" y="1539"/>
                      <a:pt x="1046" y="1539"/>
                    </a:cubicBezTo>
                    <a:cubicBezTo>
                      <a:pt x="1434" y="509"/>
                      <a:pt x="210" y="1"/>
                      <a:pt x="21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2" name="Google Shape;302;p5"/>
              <p:cNvSpPr/>
              <p:nvPr/>
            </p:nvSpPr>
            <p:spPr>
              <a:xfrm>
                <a:off x="8227451" y="805385"/>
                <a:ext cx="123708" cy="132213"/>
              </a:xfrm>
              <a:custGeom>
                <a:avLst/>
                <a:gdLst/>
                <a:ahLst/>
                <a:cxnLst/>
                <a:rect l="l" t="t" r="r" b="b"/>
                <a:pathLst>
                  <a:path w="1091" h="1166" extrusionOk="0">
                    <a:moveTo>
                      <a:pt x="1031" y="1"/>
                    </a:moveTo>
                    <a:cubicBezTo>
                      <a:pt x="0" y="314"/>
                      <a:pt x="194" y="1166"/>
                      <a:pt x="194" y="1166"/>
                    </a:cubicBezTo>
                    <a:cubicBezTo>
                      <a:pt x="1090" y="1076"/>
                      <a:pt x="1031" y="1"/>
                      <a:pt x="103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03"/>
        <p:cNvGrpSpPr/>
        <p:nvPr/>
      </p:nvGrpSpPr>
      <p:grpSpPr>
        <a:xfrm>
          <a:off x="0" y="0"/>
          <a:ext cx="0" cy="0"/>
          <a:chOff x="0" y="0"/>
          <a:chExt cx="0" cy="0"/>
        </a:xfrm>
      </p:grpSpPr>
      <p:sp>
        <p:nvSpPr>
          <p:cNvPr id="304" name="Google Shape;304;p6"/>
          <p:cNvSpPr txBox="1">
            <a:spLocks noGrp="1"/>
          </p:cNvSpPr>
          <p:nvPr>
            <p:ph type="title"/>
          </p:nvPr>
        </p:nvSpPr>
        <p:spPr>
          <a:xfrm>
            <a:off x="713250" y="539400"/>
            <a:ext cx="7717500" cy="685800"/>
          </a:xfrm>
          <a:prstGeom prst="rect">
            <a:avLst/>
          </a:prstGeom>
        </p:spPr>
        <p:txBody>
          <a:bodyPr spcFirstLastPara="1" wrap="square" lIns="91425" tIns="91425" rIns="91425" bIns="91425" anchor="t" anchorCtr="0">
            <a:noAutofit/>
          </a:bodyPr>
          <a:lstStyle>
            <a:lvl1pPr lvl="0" algn="ctr">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grpSp>
        <p:nvGrpSpPr>
          <p:cNvPr id="305" name="Google Shape;305;p6"/>
          <p:cNvGrpSpPr/>
          <p:nvPr/>
        </p:nvGrpSpPr>
        <p:grpSpPr>
          <a:xfrm>
            <a:off x="-766198" y="-651057"/>
            <a:ext cx="10370065" cy="5871408"/>
            <a:chOff x="-766198" y="-651057"/>
            <a:chExt cx="10370065" cy="5871408"/>
          </a:xfrm>
        </p:grpSpPr>
        <p:grpSp>
          <p:nvGrpSpPr>
            <p:cNvPr id="306" name="Google Shape;306;p6"/>
            <p:cNvGrpSpPr/>
            <p:nvPr/>
          </p:nvGrpSpPr>
          <p:grpSpPr>
            <a:xfrm>
              <a:off x="-766198" y="-651057"/>
              <a:ext cx="2026373" cy="2737772"/>
              <a:chOff x="-766198" y="-651057"/>
              <a:chExt cx="2026373" cy="2737772"/>
            </a:xfrm>
          </p:grpSpPr>
          <p:grpSp>
            <p:nvGrpSpPr>
              <p:cNvPr id="307" name="Google Shape;307;p6"/>
              <p:cNvGrpSpPr/>
              <p:nvPr/>
            </p:nvGrpSpPr>
            <p:grpSpPr>
              <a:xfrm rot="10800000" flipH="1">
                <a:off x="-766198" y="-651057"/>
                <a:ext cx="1479591" cy="1438198"/>
                <a:chOff x="4719681" y="3910588"/>
                <a:chExt cx="1477670" cy="1436330"/>
              </a:xfrm>
            </p:grpSpPr>
            <p:sp>
              <p:nvSpPr>
                <p:cNvPr id="308" name="Google Shape;308;p6"/>
                <p:cNvSpPr/>
                <p:nvPr/>
              </p:nvSpPr>
              <p:spPr>
                <a:xfrm>
                  <a:off x="4918697" y="3910588"/>
                  <a:ext cx="1278654" cy="1245050"/>
                </a:xfrm>
                <a:custGeom>
                  <a:avLst/>
                  <a:gdLst/>
                  <a:ahLst/>
                  <a:cxnLst/>
                  <a:rect l="l" t="t" r="r" b="b"/>
                  <a:pathLst>
                    <a:path w="24466" h="23823" extrusionOk="0">
                      <a:moveTo>
                        <a:pt x="1" y="0"/>
                      </a:moveTo>
                      <a:lnTo>
                        <a:pt x="1" y="15"/>
                      </a:lnTo>
                      <a:cubicBezTo>
                        <a:pt x="1" y="15"/>
                        <a:pt x="22" y="37"/>
                        <a:pt x="62" y="77"/>
                      </a:cubicBezTo>
                      <a:lnTo>
                        <a:pt x="62" y="77"/>
                      </a:lnTo>
                      <a:lnTo>
                        <a:pt x="1" y="0"/>
                      </a:lnTo>
                      <a:close/>
                      <a:moveTo>
                        <a:pt x="62" y="77"/>
                      </a:moveTo>
                      <a:lnTo>
                        <a:pt x="18969" y="23823"/>
                      </a:lnTo>
                      <a:lnTo>
                        <a:pt x="22136" y="20417"/>
                      </a:lnTo>
                      <a:lnTo>
                        <a:pt x="21240" y="20776"/>
                      </a:lnTo>
                      <a:lnTo>
                        <a:pt x="21240" y="20776"/>
                      </a:lnTo>
                      <a:lnTo>
                        <a:pt x="24077" y="17953"/>
                      </a:lnTo>
                      <a:lnTo>
                        <a:pt x="23331" y="18058"/>
                      </a:lnTo>
                      <a:lnTo>
                        <a:pt x="23331" y="18058"/>
                      </a:lnTo>
                      <a:lnTo>
                        <a:pt x="24466" y="16400"/>
                      </a:lnTo>
                      <a:lnTo>
                        <a:pt x="24466" y="16400"/>
                      </a:lnTo>
                      <a:cubicBezTo>
                        <a:pt x="24383" y="16414"/>
                        <a:pt x="24307" y="16420"/>
                        <a:pt x="24235" y="16420"/>
                      </a:cubicBezTo>
                      <a:cubicBezTo>
                        <a:pt x="22322" y="16420"/>
                        <a:pt x="24182" y="11591"/>
                        <a:pt x="24182" y="11590"/>
                      </a:cubicBezTo>
                      <a:lnTo>
                        <a:pt x="24182" y="11590"/>
                      </a:lnTo>
                      <a:cubicBezTo>
                        <a:pt x="24104" y="11626"/>
                        <a:pt x="24033" y="11642"/>
                        <a:pt x="23968" y="11642"/>
                      </a:cubicBezTo>
                      <a:cubicBezTo>
                        <a:pt x="23026" y="11642"/>
                        <a:pt x="23510" y="8097"/>
                        <a:pt x="23510" y="8095"/>
                      </a:cubicBezTo>
                      <a:lnTo>
                        <a:pt x="23510" y="8095"/>
                      </a:lnTo>
                      <a:cubicBezTo>
                        <a:pt x="22919" y="10108"/>
                        <a:pt x="21833" y="10302"/>
                        <a:pt x="21435" y="10302"/>
                      </a:cubicBezTo>
                      <a:cubicBezTo>
                        <a:pt x="21340" y="10302"/>
                        <a:pt x="21284" y="10291"/>
                        <a:pt x="21284" y="10291"/>
                      </a:cubicBezTo>
                      <a:cubicBezTo>
                        <a:pt x="21284" y="10291"/>
                        <a:pt x="20344" y="11977"/>
                        <a:pt x="19409" y="11977"/>
                      </a:cubicBezTo>
                      <a:cubicBezTo>
                        <a:pt x="19183" y="11977"/>
                        <a:pt x="18957" y="11879"/>
                        <a:pt x="18745" y="11635"/>
                      </a:cubicBezTo>
                      <a:cubicBezTo>
                        <a:pt x="17640" y="10396"/>
                        <a:pt x="20448" y="8663"/>
                        <a:pt x="20448" y="8663"/>
                      </a:cubicBezTo>
                      <a:lnTo>
                        <a:pt x="20448" y="8663"/>
                      </a:lnTo>
                      <a:cubicBezTo>
                        <a:pt x="20433" y="8664"/>
                        <a:pt x="20418" y="8664"/>
                        <a:pt x="20404" y="8664"/>
                      </a:cubicBezTo>
                      <a:cubicBezTo>
                        <a:pt x="19350" y="8664"/>
                        <a:pt x="21284" y="5960"/>
                        <a:pt x="21284" y="5960"/>
                      </a:cubicBezTo>
                      <a:lnTo>
                        <a:pt x="21284" y="5960"/>
                      </a:lnTo>
                      <a:cubicBezTo>
                        <a:pt x="21199" y="5985"/>
                        <a:pt x="21125" y="5996"/>
                        <a:pt x="21060" y="5996"/>
                      </a:cubicBezTo>
                      <a:cubicBezTo>
                        <a:pt x="20045" y="5996"/>
                        <a:pt x="21404" y="3107"/>
                        <a:pt x="21404" y="3107"/>
                      </a:cubicBezTo>
                      <a:lnTo>
                        <a:pt x="21404" y="3107"/>
                      </a:lnTo>
                      <a:cubicBezTo>
                        <a:pt x="21404" y="3107"/>
                        <a:pt x="21162" y="3309"/>
                        <a:pt x="20897" y="3309"/>
                      </a:cubicBezTo>
                      <a:cubicBezTo>
                        <a:pt x="20801" y="3309"/>
                        <a:pt x="20703" y="3283"/>
                        <a:pt x="20612" y="3211"/>
                      </a:cubicBezTo>
                      <a:cubicBezTo>
                        <a:pt x="20299" y="2928"/>
                        <a:pt x="20791" y="867"/>
                        <a:pt x="20792" y="866"/>
                      </a:cubicBezTo>
                      <a:lnTo>
                        <a:pt x="20792" y="866"/>
                      </a:lnTo>
                      <a:cubicBezTo>
                        <a:pt x="20791" y="867"/>
                        <a:pt x="19940" y="2181"/>
                        <a:pt x="18969" y="2569"/>
                      </a:cubicBezTo>
                      <a:cubicBezTo>
                        <a:pt x="18858" y="2615"/>
                        <a:pt x="18769" y="2636"/>
                        <a:pt x="18700" y="2636"/>
                      </a:cubicBezTo>
                      <a:cubicBezTo>
                        <a:pt x="18164" y="2636"/>
                        <a:pt x="18760" y="1419"/>
                        <a:pt x="18760" y="1419"/>
                      </a:cubicBezTo>
                      <a:lnTo>
                        <a:pt x="18760" y="1419"/>
                      </a:lnTo>
                      <a:cubicBezTo>
                        <a:pt x="18760" y="1419"/>
                        <a:pt x="18118" y="2121"/>
                        <a:pt x="17789" y="2300"/>
                      </a:cubicBezTo>
                      <a:cubicBezTo>
                        <a:pt x="17746" y="2324"/>
                        <a:pt x="17708" y="2335"/>
                        <a:pt x="17675" y="2335"/>
                      </a:cubicBezTo>
                      <a:cubicBezTo>
                        <a:pt x="17465" y="2335"/>
                        <a:pt x="17476" y="1897"/>
                        <a:pt x="17476" y="1897"/>
                      </a:cubicBezTo>
                      <a:lnTo>
                        <a:pt x="17476" y="1897"/>
                      </a:lnTo>
                      <a:cubicBezTo>
                        <a:pt x="17476" y="1897"/>
                        <a:pt x="16744" y="3495"/>
                        <a:pt x="16117" y="4033"/>
                      </a:cubicBezTo>
                      <a:cubicBezTo>
                        <a:pt x="15967" y="4157"/>
                        <a:pt x="15841" y="4205"/>
                        <a:pt x="15735" y="4205"/>
                      </a:cubicBezTo>
                      <a:cubicBezTo>
                        <a:pt x="15395" y="4205"/>
                        <a:pt x="15265" y="3719"/>
                        <a:pt x="15265" y="3719"/>
                      </a:cubicBezTo>
                      <a:cubicBezTo>
                        <a:pt x="15265" y="3719"/>
                        <a:pt x="14892" y="7319"/>
                        <a:pt x="14638" y="7408"/>
                      </a:cubicBezTo>
                      <a:cubicBezTo>
                        <a:pt x="14630" y="7411"/>
                        <a:pt x="14621" y="7412"/>
                        <a:pt x="14613" y="7412"/>
                      </a:cubicBezTo>
                      <a:cubicBezTo>
                        <a:pt x="14367" y="7412"/>
                        <a:pt x="14115" y="6393"/>
                        <a:pt x="14115" y="6393"/>
                      </a:cubicBezTo>
                      <a:lnTo>
                        <a:pt x="14115" y="6393"/>
                      </a:lnTo>
                      <a:cubicBezTo>
                        <a:pt x="14115" y="6394"/>
                        <a:pt x="14305" y="9930"/>
                        <a:pt x="12993" y="9930"/>
                      </a:cubicBezTo>
                      <a:cubicBezTo>
                        <a:pt x="12928" y="9930"/>
                        <a:pt x="12859" y="9921"/>
                        <a:pt x="12786" y="9903"/>
                      </a:cubicBezTo>
                      <a:cubicBezTo>
                        <a:pt x="11233" y="9514"/>
                        <a:pt x="12890" y="6572"/>
                        <a:pt x="12890" y="6572"/>
                      </a:cubicBezTo>
                      <a:lnTo>
                        <a:pt x="12890" y="6572"/>
                      </a:lnTo>
                      <a:cubicBezTo>
                        <a:pt x="12762" y="6617"/>
                        <a:pt x="12660" y="6637"/>
                        <a:pt x="12582" y="6637"/>
                      </a:cubicBezTo>
                      <a:cubicBezTo>
                        <a:pt x="11771" y="6637"/>
                        <a:pt x="13473" y="4451"/>
                        <a:pt x="13473" y="4451"/>
                      </a:cubicBezTo>
                      <a:lnTo>
                        <a:pt x="13473" y="4451"/>
                      </a:lnTo>
                      <a:cubicBezTo>
                        <a:pt x="13222" y="4601"/>
                        <a:pt x="13020" y="4663"/>
                        <a:pt x="12858" y="4663"/>
                      </a:cubicBezTo>
                      <a:cubicBezTo>
                        <a:pt x="12031" y="4663"/>
                        <a:pt x="12218" y="3047"/>
                        <a:pt x="12218" y="3047"/>
                      </a:cubicBezTo>
                      <a:lnTo>
                        <a:pt x="12218" y="3047"/>
                      </a:lnTo>
                      <a:cubicBezTo>
                        <a:pt x="12128" y="3072"/>
                        <a:pt x="12044" y="3083"/>
                        <a:pt x="11965" y="3083"/>
                      </a:cubicBezTo>
                      <a:cubicBezTo>
                        <a:pt x="10858" y="3083"/>
                        <a:pt x="10949" y="778"/>
                        <a:pt x="10949" y="777"/>
                      </a:cubicBezTo>
                      <a:lnTo>
                        <a:pt x="10949" y="777"/>
                      </a:lnTo>
                      <a:cubicBezTo>
                        <a:pt x="10949" y="777"/>
                        <a:pt x="10769" y="1569"/>
                        <a:pt x="10172" y="2494"/>
                      </a:cubicBezTo>
                      <a:cubicBezTo>
                        <a:pt x="9918" y="2872"/>
                        <a:pt x="9672" y="2983"/>
                        <a:pt x="9470" y="2983"/>
                      </a:cubicBezTo>
                      <a:cubicBezTo>
                        <a:pt x="9187" y="2983"/>
                        <a:pt x="8992" y="2763"/>
                        <a:pt x="8992" y="2763"/>
                      </a:cubicBezTo>
                      <a:lnTo>
                        <a:pt x="8992" y="2763"/>
                      </a:lnTo>
                      <a:cubicBezTo>
                        <a:pt x="8992" y="2764"/>
                        <a:pt x="9291" y="3376"/>
                        <a:pt x="9127" y="4272"/>
                      </a:cubicBezTo>
                      <a:cubicBezTo>
                        <a:pt x="9056" y="4630"/>
                        <a:pt x="8861" y="4739"/>
                        <a:pt x="8650" y="4739"/>
                      </a:cubicBezTo>
                      <a:cubicBezTo>
                        <a:pt x="8324" y="4739"/>
                        <a:pt x="7962" y="4481"/>
                        <a:pt x="7962" y="4481"/>
                      </a:cubicBezTo>
                      <a:lnTo>
                        <a:pt x="7962" y="4481"/>
                      </a:lnTo>
                      <a:cubicBezTo>
                        <a:pt x="7962" y="4481"/>
                        <a:pt x="9664" y="7408"/>
                        <a:pt x="7992" y="7588"/>
                      </a:cubicBezTo>
                      <a:cubicBezTo>
                        <a:pt x="7959" y="7591"/>
                        <a:pt x="7928" y="7593"/>
                        <a:pt x="7898" y="7593"/>
                      </a:cubicBezTo>
                      <a:cubicBezTo>
                        <a:pt x="6356" y="7593"/>
                        <a:pt x="7304" y="3183"/>
                        <a:pt x="7304" y="3181"/>
                      </a:cubicBezTo>
                      <a:lnTo>
                        <a:pt x="7304" y="3181"/>
                      </a:lnTo>
                      <a:cubicBezTo>
                        <a:pt x="7304" y="3182"/>
                        <a:pt x="6973" y="3977"/>
                        <a:pt x="6438" y="3977"/>
                      </a:cubicBezTo>
                      <a:cubicBezTo>
                        <a:pt x="6302" y="3977"/>
                        <a:pt x="6151" y="3925"/>
                        <a:pt x="5990" y="3794"/>
                      </a:cubicBezTo>
                      <a:cubicBezTo>
                        <a:pt x="5214" y="3167"/>
                        <a:pt x="5437" y="1674"/>
                        <a:pt x="5438" y="1673"/>
                      </a:cubicBezTo>
                      <a:lnTo>
                        <a:pt x="5438" y="1673"/>
                      </a:lnTo>
                      <a:cubicBezTo>
                        <a:pt x="5255" y="2325"/>
                        <a:pt x="5004" y="2560"/>
                        <a:pt x="4737" y="2560"/>
                      </a:cubicBezTo>
                      <a:cubicBezTo>
                        <a:pt x="4044" y="2560"/>
                        <a:pt x="3242" y="971"/>
                        <a:pt x="3242" y="971"/>
                      </a:cubicBezTo>
                      <a:cubicBezTo>
                        <a:pt x="3066" y="1370"/>
                        <a:pt x="2786" y="1522"/>
                        <a:pt x="2464" y="1522"/>
                      </a:cubicBezTo>
                      <a:cubicBezTo>
                        <a:pt x="1571" y="1522"/>
                        <a:pt x="346" y="359"/>
                        <a:pt x="62" y="77"/>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09" name="Google Shape;309;p6"/>
                <p:cNvGrpSpPr/>
                <p:nvPr/>
              </p:nvGrpSpPr>
              <p:grpSpPr>
                <a:xfrm>
                  <a:off x="4719681" y="3910588"/>
                  <a:ext cx="1387935" cy="1436330"/>
                  <a:chOff x="4719681" y="3910588"/>
                  <a:chExt cx="1387935" cy="1436330"/>
                </a:xfrm>
              </p:grpSpPr>
              <p:sp>
                <p:nvSpPr>
                  <p:cNvPr id="310" name="Google Shape;310;p6"/>
                  <p:cNvSpPr/>
                  <p:nvPr/>
                </p:nvSpPr>
                <p:spPr>
                  <a:xfrm>
                    <a:off x="4719681" y="3910588"/>
                    <a:ext cx="1189651" cy="1436330"/>
                  </a:xfrm>
                  <a:custGeom>
                    <a:avLst/>
                    <a:gdLst/>
                    <a:ahLst/>
                    <a:cxnLst/>
                    <a:rect l="l" t="t" r="r" b="b"/>
                    <a:pathLst>
                      <a:path w="22763" h="27483" extrusionOk="0">
                        <a:moveTo>
                          <a:pt x="3809" y="0"/>
                        </a:moveTo>
                        <a:lnTo>
                          <a:pt x="3809" y="15"/>
                        </a:lnTo>
                        <a:cubicBezTo>
                          <a:pt x="3809" y="15"/>
                          <a:pt x="5795" y="3047"/>
                          <a:pt x="4033" y="3376"/>
                        </a:cubicBezTo>
                        <a:cubicBezTo>
                          <a:pt x="4033" y="3376"/>
                          <a:pt x="6647" y="5571"/>
                          <a:pt x="4212" y="5676"/>
                        </a:cubicBezTo>
                        <a:cubicBezTo>
                          <a:pt x="4212" y="5676"/>
                          <a:pt x="5721" y="5795"/>
                          <a:pt x="6169" y="6706"/>
                        </a:cubicBezTo>
                        <a:cubicBezTo>
                          <a:pt x="6617" y="7602"/>
                          <a:pt x="5258" y="7856"/>
                          <a:pt x="5258" y="7856"/>
                        </a:cubicBezTo>
                        <a:cubicBezTo>
                          <a:pt x="5258" y="7856"/>
                          <a:pt x="9947" y="7916"/>
                          <a:pt x="9410" y="9499"/>
                        </a:cubicBezTo>
                        <a:cubicBezTo>
                          <a:pt x="9269" y="9907"/>
                          <a:pt x="9003" y="10059"/>
                          <a:pt x="8685" y="10059"/>
                        </a:cubicBezTo>
                        <a:cubicBezTo>
                          <a:pt x="7759" y="10059"/>
                          <a:pt x="6393" y="8768"/>
                          <a:pt x="6393" y="8767"/>
                        </a:cubicBezTo>
                        <a:lnTo>
                          <a:pt x="6393" y="8767"/>
                        </a:lnTo>
                        <a:cubicBezTo>
                          <a:pt x="6393" y="8768"/>
                          <a:pt x="6824" y="9859"/>
                          <a:pt x="5981" y="9859"/>
                        </a:cubicBezTo>
                        <a:cubicBezTo>
                          <a:pt x="5965" y="9859"/>
                          <a:pt x="5947" y="9859"/>
                          <a:pt x="5930" y="9858"/>
                        </a:cubicBezTo>
                        <a:cubicBezTo>
                          <a:pt x="5019" y="9813"/>
                          <a:pt x="4496" y="9395"/>
                          <a:pt x="4496" y="9395"/>
                        </a:cubicBezTo>
                        <a:lnTo>
                          <a:pt x="4496" y="9395"/>
                        </a:lnTo>
                        <a:cubicBezTo>
                          <a:pt x="4496" y="9395"/>
                          <a:pt x="5004" y="10082"/>
                          <a:pt x="3973" y="10470"/>
                        </a:cubicBezTo>
                        <a:cubicBezTo>
                          <a:pt x="2943" y="10858"/>
                          <a:pt x="2121" y="10858"/>
                          <a:pt x="2121" y="10858"/>
                        </a:cubicBezTo>
                        <a:cubicBezTo>
                          <a:pt x="2121" y="10858"/>
                          <a:pt x="4720" y="11366"/>
                          <a:pt x="4048" y="12606"/>
                        </a:cubicBezTo>
                        <a:cubicBezTo>
                          <a:pt x="4048" y="12606"/>
                          <a:pt x="6393" y="12845"/>
                          <a:pt x="5153" y="14144"/>
                        </a:cubicBezTo>
                        <a:cubicBezTo>
                          <a:pt x="5153" y="14144"/>
                          <a:pt x="6546" y="13493"/>
                          <a:pt x="7175" y="13493"/>
                        </a:cubicBezTo>
                        <a:cubicBezTo>
                          <a:pt x="7469" y="13493"/>
                          <a:pt x="7596" y="13636"/>
                          <a:pt x="7334" y="14055"/>
                        </a:cubicBezTo>
                        <a:cubicBezTo>
                          <a:pt x="7334" y="14055"/>
                          <a:pt x="8304" y="13769"/>
                          <a:pt x="9187" y="13769"/>
                        </a:cubicBezTo>
                        <a:cubicBezTo>
                          <a:pt x="9919" y="13769"/>
                          <a:pt x="10591" y="13965"/>
                          <a:pt x="10605" y="14682"/>
                        </a:cubicBezTo>
                        <a:cubicBezTo>
                          <a:pt x="10611" y="15358"/>
                          <a:pt x="9947" y="15553"/>
                          <a:pt x="9178" y="15553"/>
                        </a:cubicBezTo>
                        <a:cubicBezTo>
                          <a:pt x="8129" y="15553"/>
                          <a:pt x="6886" y="15190"/>
                          <a:pt x="6886" y="15190"/>
                        </a:cubicBezTo>
                        <a:lnTo>
                          <a:pt x="6886" y="15190"/>
                        </a:lnTo>
                        <a:cubicBezTo>
                          <a:pt x="6886" y="15190"/>
                          <a:pt x="7901" y="15683"/>
                          <a:pt x="7737" y="15922"/>
                        </a:cubicBezTo>
                        <a:cubicBezTo>
                          <a:pt x="7709" y="15971"/>
                          <a:pt x="7536" y="15990"/>
                          <a:pt x="7278" y="15990"/>
                        </a:cubicBezTo>
                        <a:cubicBezTo>
                          <a:pt x="6277" y="15990"/>
                          <a:pt x="4003" y="15698"/>
                          <a:pt x="4003" y="15698"/>
                        </a:cubicBezTo>
                        <a:lnTo>
                          <a:pt x="4003" y="15698"/>
                        </a:lnTo>
                        <a:cubicBezTo>
                          <a:pt x="4003" y="15698"/>
                          <a:pt x="4780" y="16116"/>
                          <a:pt x="4123" y="16594"/>
                        </a:cubicBezTo>
                        <a:cubicBezTo>
                          <a:pt x="3465" y="17087"/>
                          <a:pt x="1748" y="17445"/>
                          <a:pt x="1748" y="17445"/>
                        </a:cubicBezTo>
                        <a:cubicBezTo>
                          <a:pt x="1748" y="17445"/>
                          <a:pt x="2315" y="17550"/>
                          <a:pt x="2061" y="17848"/>
                        </a:cubicBezTo>
                        <a:cubicBezTo>
                          <a:pt x="1822" y="18132"/>
                          <a:pt x="986" y="18595"/>
                          <a:pt x="986" y="18595"/>
                        </a:cubicBezTo>
                        <a:cubicBezTo>
                          <a:pt x="986" y="18595"/>
                          <a:pt x="1370" y="18507"/>
                          <a:pt x="1705" y="18507"/>
                        </a:cubicBezTo>
                        <a:cubicBezTo>
                          <a:pt x="2073" y="18507"/>
                          <a:pt x="2382" y="18613"/>
                          <a:pt x="2061" y="19058"/>
                        </a:cubicBezTo>
                        <a:cubicBezTo>
                          <a:pt x="1464" y="19910"/>
                          <a:pt x="0" y="20432"/>
                          <a:pt x="0" y="20432"/>
                        </a:cubicBezTo>
                        <a:cubicBezTo>
                          <a:pt x="0" y="20432"/>
                          <a:pt x="11" y="20432"/>
                          <a:pt x="31" y="20432"/>
                        </a:cubicBezTo>
                        <a:cubicBezTo>
                          <a:pt x="293" y="20432"/>
                          <a:pt x="2135" y="20445"/>
                          <a:pt x="2315" y="20806"/>
                        </a:cubicBezTo>
                        <a:cubicBezTo>
                          <a:pt x="2509" y="21194"/>
                          <a:pt x="2032" y="21553"/>
                          <a:pt x="2032" y="21553"/>
                        </a:cubicBezTo>
                        <a:cubicBezTo>
                          <a:pt x="2032" y="21553"/>
                          <a:pt x="3088" y="21320"/>
                          <a:pt x="3926" y="21320"/>
                        </a:cubicBezTo>
                        <a:cubicBezTo>
                          <a:pt x="4619" y="21320"/>
                          <a:pt x="5164" y="21479"/>
                          <a:pt x="4839" y="22060"/>
                        </a:cubicBezTo>
                        <a:cubicBezTo>
                          <a:pt x="4839" y="22060"/>
                          <a:pt x="6406" y="21404"/>
                          <a:pt x="7215" y="21404"/>
                        </a:cubicBezTo>
                        <a:cubicBezTo>
                          <a:pt x="7550" y="21404"/>
                          <a:pt x="7754" y="21517"/>
                          <a:pt x="7662" y="21836"/>
                        </a:cubicBezTo>
                        <a:cubicBezTo>
                          <a:pt x="7662" y="21836"/>
                          <a:pt x="9061" y="20420"/>
                          <a:pt x="10140" y="20420"/>
                        </a:cubicBezTo>
                        <a:cubicBezTo>
                          <a:pt x="10449" y="20420"/>
                          <a:pt x="10732" y="20536"/>
                          <a:pt x="10948" y="20836"/>
                        </a:cubicBezTo>
                        <a:cubicBezTo>
                          <a:pt x="11934" y="22180"/>
                          <a:pt x="9066" y="23001"/>
                          <a:pt x="9066" y="23001"/>
                        </a:cubicBezTo>
                        <a:cubicBezTo>
                          <a:pt x="9066" y="23001"/>
                          <a:pt x="9036" y="24525"/>
                          <a:pt x="6438" y="24704"/>
                        </a:cubicBezTo>
                        <a:cubicBezTo>
                          <a:pt x="6438" y="24704"/>
                          <a:pt x="10515" y="25062"/>
                          <a:pt x="9679" y="26138"/>
                        </a:cubicBezTo>
                        <a:cubicBezTo>
                          <a:pt x="9679" y="26138"/>
                          <a:pt x="10691" y="25990"/>
                          <a:pt x="11778" y="25990"/>
                        </a:cubicBezTo>
                        <a:cubicBezTo>
                          <a:pt x="13228" y="25990"/>
                          <a:pt x="14812" y="26253"/>
                          <a:pt x="14309" y="27482"/>
                        </a:cubicBezTo>
                        <a:lnTo>
                          <a:pt x="16176" y="26750"/>
                        </a:lnTo>
                        <a:lnTo>
                          <a:pt x="15907" y="27452"/>
                        </a:lnTo>
                        <a:lnTo>
                          <a:pt x="19297" y="25301"/>
                        </a:lnTo>
                        <a:lnTo>
                          <a:pt x="18745" y="26093"/>
                        </a:lnTo>
                        <a:lnTo>
                          <a:pt x="22762" y="23778"/>
                        </a:lnTo>
                        <a:lnTo>
                          <a:pt x="3809"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1" name="Google Shape;311;p6"/>
                  <p:cNvSpPr/>
                  <p:nvPr/>
                </p:nvSpPr>
                <p:spPr>
                  <a:xfrm>
                    <a:off x="5010835" y="4029223"/>
                    <a:ext cx="976525" cy="1220904"/>
                  </a:xfrm>
                  <a:custGeom>
                    <a:avLst/>
                    <a:gdLst/>
                    <a:ahLst/>
                    <a:cxnLst/>
                    <a:rect l="l" t="t" r="r" b="b"/>
                    <a:pathLst>
                      <a:path w="18685" h="23361" extrusionOk="0">
                        <a:moveTo>
                          <a:pt x="180" y="0"/>
                        </a:moveTo>
                        <a:lnTo>
                          <a:pt x="0" y="135"/>
                        </a:lnTo>
                        <a:lnTo>
                          <a:pt x="18297" y="23360"/>
                        </a:lnTo>
                        <a:lnTo>
                          <a:pt x="18685" y="23031"/>
                        </a:lnTo>
                        <a:lnTo>
                          <a:pt x="18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12" name="Google Shape;312;p6"/>
                  <p:cNvGrpSpPr/>
                  <p:nvPr/>
                </p:nvGrpSpPr>
                <p:grpSpPr>
                  <a:xfrm>
                    <a:off x="4959305" y="4124446"/>
                    <a:ext cx="1148312" cy="1094429"/>
                    <a:chOff x="11860675" y="4981025"/>
                    <a:chExt cx="549300" cy="523525"/>
                  </a:xfrm>
                </p:grpSpPr>
                <p:sp>
                  <p:nvSpPr>
                    <p:cNvPr id="313" name="Google Shape;313;p6"/>
                    <p:cNvSpPr/>
                    <p:nvPr/>
                  </p:nvSpPr>
                  <p:spPr>
                    <a:xfrm>
                      <a:off x="12020875" y="5415275"/>
                      <a:ext cx="258025" cy="83300"/>
                    </a:xfrm>
                    <a:custGeom>
                      <a:avLst/>
                      <a:gdLst/>
                      <a:ahLst/>
                      <a:cxnLst/>
                      <a:rect l="l" t="t" r="r" b="b"/>
                      <a:pathLst>
                        <a:path w="10321" h="3332" fill="none" extrusionOk="0">
                          <a:moveTo>
                            <a:pt x="10321" y="509"/>
                          </a:moveTo>
                          <a:cubicBezTo>
                            <a:pt x="10321" y="509"/>
                            <a:pt x="3988" y="1"/>
                            <a:pt x="0" y="333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4" name="Google Shape;314;p6"/>
                    <p:cNvSpPr/>
                    <p:nvPr/>
                  </p:nvSpPr>
                  <p:spPr>
                    <a:xfrm>
                      <a:off x="12023100" y="5439550"/>
                      <a:ext cx="123625" cy="9375"/>
                    </a:xfrm>
                    <a:custGeom>
                      <a:avLst/>
                      <a:gdLst/>
                      <a:ahLst/>
                      <a:cxnLst/>
                      <a:rect l="l" t="t" r="r" b="b"/>
                      <a:pathLst>
                        <a:path w="4945" h="375" fill="none" extrusionOk="0">
                          <a:moveTo>
                            <a:pt x="1" y="374"/>
                          </a:moveTo>
                          <a:lnTo>
                            <a:pt x="4944"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315;p6"/>
                    <p:cNvSpPr/>
                    <p:nvPr/>
                  </p:nvSpPr>
                  <p:spPr>
                    <a:xfrm>
                      <a:off x="12052975" y="5451500"/>
                      <a:ext cx="53050" cy="53050"/>
                    </a:xfrm>
                    <a:custGeom>
                      <a:avLst/>
                      <a:gdLst/>
                      <a:ahLst/>
                      <a:cxnLst/>
                      <a:rect l="l" t="t" r="r" b="b"/>
                      <a:pathLst>
                        <a:path w="2122" h="2122" fill="none" extrusionOk="0">
                          <a:moveTo>
                            <a:pt x="2121" y="1"/>
                          </a:moveTo>
                          <a:cubicBezTo>
                            <a:pt x="2121" y="1"/>
                            <a:pt x="314" y="1479"/>
                            <a:pt x="0" y="212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6" name="Google Shape;316;p6"/>
                    <p:cNvSpPr/>
                    <p:nvPr/>
                  </p:nvSpPr>
                  <p:spPr>
                    <a:xfrm>
                      <a:off x="12066800" y="5366375"/>
                      <a:ext cx="166550" cy="4500"/>
                    </a:xfrm>
                    <a:custGeom>
                      <a:avLst/>
                      <a:gdLst/>
                      <a:ahLst/>
                      <a:cxnLst/>
                      <a:rect l="l" t="t" r="r" b="b"/>
                      <a:pathLst>
                        <a:path w="6662" h="180" fill="none" extrusionOk="0">
                          <a:moveTo>
                            <a:pt x="0" y="0"/>
                          </a:moveTo>
                          <a:lnTo>
                            <a:pt x="6661" y="18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7" name="Google Shape;317;p6"/>
                    <p:cNvSpPr/>
                    <p:nvPr/>
                  </p:nvSpPr>
                  <p:spPr>
                    <a:xfrm>
                      <a:off x="11860675" y="5278625"/>
                      <a:ext cx="342425" cy="83300"/>
                    </a:xfrm>
                    <a:custGeom>
                      <a:avLst/>
                      <a:gdLst/>
                      <a:ahLst/>
                      <a:cxnLst/>
                      <a:rect l="l" t="t" r="r" b="b"/>
                      <a:pathLst>
                        <a:path w="13697" h="3332" fill="none" extrusionOk="0">
                          <a:moveTo>
                            <a:pt x="13697" y="2181"/>
                          </a:moveTo>
                          <a:cubicBezTo>
                            <a:pt x="13697" y="2181"/>
                            <a:pt x="6348" y="0"/>
                            <a:pt x="1" y="333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8" name="Google Shape;318;p6"/>
                    <p:cNvSpPr/>
                    <p:nvPr/>
                  </p:nvSpPr>
                  <p:spPr>
                    <a:xfrm>
                      <a:off x="11868525" y="5317450"/>
                      <a:ext cx="87400" cy="14600"/>
                    </a:xfrm>
                    <a:custGeom>
                      <a:avLst/>
                      <a:gdLst/>
                      <a:ahLst/>
                      <a:cxnLst/>
                      <a:rect l="l" t="t" r="r" b="b"/>
                      <a:pathLst>
                        <a:path w="3496" h="584" fill="none" extrusionOk="0">
                          <a:moveTo>
                            <a:pt x="0" y="1"/>
                          </a:moveTo>
                          <a:cubicBezTo>
                            <a:pt x="0" y="1"/>
                            <a:pt x="2494" y="583"/>
                            <a:pt x="3495" y="389"/>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9" name="Google Shape;319;p6"/>
                    <p:cNvSpPr/>
                    <p:nvPr/>
                  </p:nvSpPr>
                  <p:spPr>
                    <a:xfrm>
                      <a:off x="11953275" y="5315600"/>
                      <a:ext cx="107200" cy="58275"/>
                    </a:xfrm>
                    <a:custGeom>
                      <a:avLst/>
                      <a:gdLst/>
                      <a:ahLst/>
                      <a:cxnLst/>
                      <a:rect l="l" t="t" r="r" b="b"/>
                      <a:pathLst>
                        <a:path w="4288" h="2331" fill="none" extrusionOk="0">
                          <a:moveTo>
                            <a:pt x="1" y="2330"/>
                          </a:moveTo>
                          <a:cubicBezTo>
                            <a:pt x="1" y="2330"/>
                            <a:pt x="2346" y="553"/>
                            <a:pt x="4287"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0" name="Google Shape;320;p6"/>
                    <p:cNvSpPr/>
                    <p:nvPr/>
                  </p:nvSpPr>
                  <p:spPr>
                    <a:xfrm>
                      <a:off x="12062300" y="5245775"/>
                      <a:ext cx="84800" cy="17200"/>
                    </a:xfrm>
                    <a:custGeom>
                      <a:avLst/>
                      <a:gdLst/>
                      <a:ahLst/>
                      <a:cxnLst/>
                      <a:rect l="l" t="t" r="r" b="b"/>
                      <a:pathLst>
                        <a:path w="3392" h="688" fill="none" extrusionOk="0">
                          <a:moveTo>
                            <a:pt x="1" y="0"/>
                          </a:moveTo>
                          <a:lnTo>
                            <a:pt x="3391" y="68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1" name="Google Shape;321;p6"/>
                    <p:cNvSpPr/>
                    <p:nvPr/>
                  </p:nvSpPr>
                  <p:spPr>
                    <a:xfrm>
                      <a:off x="12057825" y="5253600"/>
                      <a:ext cx="42975" cy="20200"/>
                    </a:xfrm>
                    <a:custGeom>
                      <a:avLst/>
                      <a:gdLst/>
                      <a:ahLst/>
                      <a:cxnLst/>
                      <a:rect l="l" t="t" r="r" b="b"/>
                      <a:pathLst>
                        <a:path w="1719" h="808" fill="none" extrusionOk="0">
                          <a:moveTo>
                            <a:pt x="1" y="807"/>
                          </a:moveTo>
                          <a:lnTo>
                            <a:pt x="1718"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2" name="Google Shape;322;p6"/>
                    <p:cNvSpPr/>
                    <p:nvPr/>
                  </p:nvSpPr>
                  <p:spPr>
                    <a:xfrm>
                      <a:off x="11897650" y="5153900"/>
                      <a:ext cx="191200" cy="35875"/>
                    </a:xfrm>
                    <a:custGeom>
                      <a:avLst/>
                      <a:gdLst/>
                      <a:ahLst/>
                      <a:cxnLst/>
                      <a:rect l="l" t="t" r="r" b="b"/>
                      <a:pathLst>
                        <a:path w="7648" h="1435" fill="none" extrusionOk="0">
                          <a:moveTo>
                            <a:pt x="0" y="1"/>
                          </a:moveTo>
                          <a:lnTo>
                            <a:pt x="7647" y="14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3" name="Google Shape;323;p6"/>
                    <p:cNvSpPr/>
                    <p:nvPr/>
                  </p:nvSpPr>
                  <p:spPr>
                    <a:xfrm>
                      <a:off x="11938725" y="5170700"/>
                      <a:ext cx="49300" cy="17225"/>
                    </a:xfrm>
                    <a:custGeom>
                      <a:avLst/>
                      <a:gdLst/>
                      <a:ahLst/>
                      <a:cxnLst/>
                      <a:rect l="l" t="t" r="r" b="b"/>
                      <a:pathLst>
                        <a:path w="1972" h="689" fill="none" extrusionOk="0">
                          <a:moveTo>
                            <a:pt x="0" y="688"/>
                          </a:moveTo>
                          <a:lnTo>
                            <a:pt x="1972"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4" name="Google Shape;324;p6"/>
                    <p:cNvSpPr/>
                    <p:nvPr/>
                  </p:nvSpPr>
                  <p:spPr>
                    <a:xfrm>
                      <a:off x="11896900" y="5001575"/>
                      <a:ext cx="72075" cy="38100"/>
                    </a:xfrm>
                    <a:custGeom>
                      <a:avLst/>
                      <a:gdLst/>
                      <a:ahLst/>
                      <a:cxnLst/>
                      <a:rect l="l" t="t" r="r" b="b"/>
                      <a:pathLst>
                        <a:path w="2883" h="1524" fill="none" extrusionOk="0">
                          <a:moveTo>
                            <a:pt x="0" y="0"/>
                          </a:moveTo>
                          <a:lnTo>
                            <a:pt x="2883" y="1523"/>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5" name="Google Shape;325;p6"/>
                    <p:cNvSpPr/>
                    <p:nvPr/>
                  </p:nvSpPr>
                  <p:spPr>
                    <a:xfrm>
                      <a:off x="11909600" y="5019850"/>
                      <a:ext cx="21300" cy="4900"/>
                    </a:xfrm>
                    <a:custGeom>
                      <a:avLst/>
                      <a:gdLst/>
                      <a:ahLst/>
                      <a:cxnLst/>
                      <a:rect l="l" t="t" r="r" b="b"/>
                      <a:pathLst>
                        <a:path w="852" h="196" fill="none" extrusionOk="0">
                          <a:moveTo>
                            <a:pt x="0" y="195"/>
                          </a:moveTo>
                          <a:lnTo>
                            <a:pt x="85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6" name="Google Shape;326;p6"/>
                    <p:cNvSpPr/>
                    <p:nvPr/>
                  </p:nvSpPr>
                  <p:spPr>
                    <a:xfrm>
                      <a:off x="12283725" y="5195350"/>
                      <a:ext cx="126250" cy="236025"/>
                    </a:xfrm>
                    <a:custGeom>
                      <a:avLst/>
                      <a:gdLst/>
                      <a:ahLst/>
                      <a:cxnLst/>
                      <a:rect l="l" t="t" r="r" b="b"/>
                      <a:pathLst>
                        <a:path w="5050" h="9441" fill="none" extrusionOk="0">
                          <a:moveTo>
                            <a:pt x="1" y="9440"/>
                          </a:moveTo>
                          <a:cubicBezTo>
                            <a:pt x="1" y="9440"/>
                            <a:pt x="912" y="3152"/>
                            <a:pt x="504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7" name="Google Shape;327;p6"/>
                    <p:cNvSpPr/>
                    <p:nvPr/>
                  </p:nvSpPr>
                  <p:spPr>
                    <a:xfrm>
                      <a:off x="12324425" y="5186775"/>
                      <a:ext cx="36625" cy="118375"/>
                    </a:xfrm>
                    <a:custGeom>
                      <a:avLst/>
                      <a:gdLst/>
                      <a:ahLst/>
                      <a:cxnLst/>
                      <a:rect l="l" t="t" r="r" b="b"/>
                      <a:pathLst>
                        <a:path w="1465" h="4735" fill="none" extrusionOk="0">
                          <a:moveTo>
                            <a:pt x="1465" y="0"/>
                          </a:moveTo>
                          <a:lnTo>
                            <a:pt x="1" y="47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8" name="Google Shape;328;p6"/>
                    <p:cNvSpPr/>
                    <p:nvPr/>
                  </p:nvSpPr>
                  <p:spPr>
                    <a:xfrm>
                      <a:off x="12344975" y="5227850"/>
                      <a:ext cx="63875" cy="39975"/>
                    </a:xfrm>
                    <a:custGeom>
                      <a:avLst/>
                      <a:gdLst/>
                      <a:ahLst/>
                      <a:cxnLst/>
                      <a:rect l="l" t="t" r="r" b="b"/>
                      <a:pathLst>
                        <a:path w="2555" h="1599" fill="none" extrusionOk="0">
                          <a:moveTo>
                            <a:pt x="0" y="1598"/>
                          </a:moveTo>
                          <a:cubicBezTo>
                            <a:pt x="0" y="1598"/>
                            <a:pt x="1852" y="179"/>
                            <a:pt x="2554"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9" name="Google Shape;329;p6"/>
                    <p:cNvSpPr/>
                    <p:nvPr/>
                  </p:nvSpPr>
                  <p:spPr>
                    <a:xfrm>
                      <a:off x="12251625" y="5228600"/>
                      <a:ext cx="32875" cy="162825"/>
                    </a:xfrm>
                    <a:custGeom>
                      <a:avLst/>
                      <a:gdLst/>
                      <a:ahLst/>
                      <a:cxnLst/>
                      <a:rect l="l" t="t" r="r" b="b"/>
                      <a:pathLst>
                        <a:path w="1315" h="6513" fill="none" extrusionOk="0">
                          <a:moveTo>
                            <a:pt x="1315" y="0"/>
                          </a:moveTo>
                          <a:lnTo>
                            <a:pt x="0" y="651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0" name="Google Shape;330;p6"/>
                    <p:cNvSpPr/>
                    <p:nvPr/>
                  </p:nvSpPr>
                  <p:spPr>
                    <a:xfrm>
                      <a:off x="12199350" y="5013500"/>
                      <a:ext cx="116525" cy="327125"/>
                    </a:xfrm>
                    <a:custGeom>
                      <a:avLst/>
                      <a:gdLst/>
                      <a:ahLst/>
                      <a:cxnLst/>
                      <a:rect l="l" t="t" r="r" b="b"/>
                      <a:pathLst>
                        <a:path w="4661" h="13085" fill="none" extrusionOk="0">
                          <a:moveTo>
                            <a:pt x="478" y="13085"/>
                          </a:moveTo>
                          <a:cubicBezTo>
                            <a:pt x="478" y="13085"/>
                            <a:pt x="0" y="5423"/>
                            <a:pt x="466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1" name="Google Shape;331;p6"/>
                    <p:cNvSpPr/>
                    <p:nvPr/>
                  </p:nvSpPr>
                  <p:spPr>
                    <a:xfrm>
                      <a:off x="12260575" y="5010900"/>
                      <a:ext cx="10850" cy="87400"/>
                    </a:xfrm>
                    <a:custGeom>
                      <a:avLst/>
                      <a:gdLst/>
                      <a:ahLst/>
                      <a:cxnLst/>
                      <a:rect l="l" t="t" r="r" b="b"/>
                      <a:pathLst>
                        <a:path w="434" h="3496" fill="none" extrusionOk="0">
                          <a:moveTo>
                            <a:pt x="404" y="0"/>
                          </a:moveTo>
                          <a:cubicBezTo>
                            <a:pt x="404" y="0"/>
                            <a:pt x="434" y="2554"/>
                            <a:pt x="1" y="349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2" name="Google Shape;332;p6"/>
                    <p:cNvSpPr/>
                    <p:nvPr/>
                  </p:nvSpPr>
                  <p:spPr>
                    <a:xfrm>
                      <a:off x="12226225" y="5106125"/>
                      <a:ext cx="80675" cy="91125"/>
                    </a:xfrm>
                    <a:custGeom>
                      <a:avLst/>
                      <a:gdLst/>
                      <a:ahLst/>
                      <a:cxnLst/>
                      <a:rect l="l" t="t" r="r" b="b"/>
                      <a:pathLst>
                        <a:path w="3227" h="3645" fill="none" extrusionOk="0">
                          <a:moveTo>
                            <a:pt x="3227" y="0"/>
                          </a:moveTo>
                          <a:cubicBezTo>
                            <a:pt x="3227" y="0"/>
                            <a:pt x="972" y="1882"/>
                            <a:pt x="1" y="3644"/>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3" name="Google Shape;333;p6"/>
                    <p:cNvSpPr/>
                    <p:nvPr/>
                  </p:nvSpPr>
                  <p:spPr>
                    <a:xfrm>
                      <a:off x="12166125" y="5196850"/>
                      <a:ext cx="1500" cy="86650"/>
                    </a:xfrm>
                    <a:custGeom>
                      <a:avLst/>
                      <a:gdLst/>
                      <a:ahLst/>
                      <a:cxnLst/>
                      <a:rect l="l" t="t" r="r" b="b"/>
                      <a:pathLst>
                        <a:path w="60" h="3466" fill="none" extrusionOk="0">
                          <a:moveTo>
                            <a:pt x="60" y="0"/>
                          </a:moveTo>
                          <a:lnTo>
                            <a:pt x="0" y="3466"/>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4" name="Google Shape;334;p6"/>
                    <p:cNvSpPr/>
                    <p:nvPr/>
                  </p:nvSpPr>
                  <p:spPr>
                    <a:xfrm>
                      <a:off x="12167225" y="5199100"/>
                      <a:ext cx="29150" cy="37350"/>
                    </a:xfrm>
                    <a:custGeom>
                      <a:avLst/>
                      <a:gdLst/>
                      <a:ahLst/>
                      <a:cxnLst/>
                      <a:rect l="l" t="t" r="r" b="b"/>
                      <a:pathLst>
                        <a:path w="1166" h="1494" fill="none" extrusionOk="0">
                          <a:moveTo>
                            <a:pt x="1166" y="0"/>
                          </a:moveTo>
                          <a:lnTo>
                            <a:pt x="1" y="149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5" name="Google Shape;335;p6"/>
                    <p:cNvSpPr/>
                    <p:nvPr/>
                  </p:nvSpPr>
                  <p:spPr>
                    <a:xfrm>
                      <a:off x="12093675" y="4998575"/>
                      <a:ext cx="7875" cy="194200"/>
                    </a:xfrm>
                    <a:custGeom>
                      <a:avLst/>
                      <a:gdLst/>
                      <a:ahLst/>
                      <a:cxnLst/>
                      <a:rect l="l" t="t" r="r" b="b"/>
                      <a:pathLst>
                        <a:path w="315" h="7768" fill="none" extrusionOk="0">
                          <a:moveTo>
                            <a:pt x="314" y="1"/>
                          </a:moveTo>
                          <a:lnTo>
                            <a:pt x="0" y="77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6" name="Google Shape;336;p6"/>
                    <p:cNvSpPr/>
                    <p:nvPr/>
                  </p:nvSpPr>
                  <p:spPr>
                    <a:xfrm>
                      <a:off x="12097775" y="5046375"/>
                      <a:ext cx="27650" cy="43700"/>
                    </a:xfrm>
                    <a:custGeom>
                      <a:avLst/>
                      <a:gdLst/>
                      <a:ahLst/>
                      <a:cxnLst/>
                      <a:rect l="l" t="t" r="r" b="b"/>
                      <a:pathLst>
                        <a:path w="1106" h="1748" fill="none" extrusionOk="0">
                          <a:moveTo>
                            <a:pt x="1106" y="0"/>
                          </a:moveTo>
                          <a:lnTo>
                            <a:pt x="1" y="1748"/>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7" name="Google Shape;337;p6"/>
                    <p:cNvSpPr/>
                    <p:nvPr/>
                  </p:nvSpPr>
                  <p:spPr>
                    <a:xfrm>
                      <a:off x="11967100" y="4981025"/>
                      <a:ext cx="20925" cy="79175"/>
                    </a:xfrm>
                    <a:custGeom>
                      <a:avLst/>
                      <a:gdLst/>
                      <a:ahLst/>
                      <a:cxnLst/>
                      <a:rect l="l" t="t" r="r" b="b"/>
                      <a:pathLst>
                        <a:path w="837" h="3167" fill="none" extrusionOk="0">
                          <a:moveTo>
                            <a:pt x="0" y="1"/>
                          </a:moveTo>
                          <a:lnTo>
                            <a:pt x="837" y="31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8" name="Google Shape;338;p6"/>
                    <p:cNvSpPr/>
                    <p:nvPr/>
                  </p:nvSpPr>
                  <p:spPr>
                    <a:xfrm>
                      <a:off x="11977175" y="4998575"/>
                      <a:ext cx="9350" cy="19825"/>
                    </a:xfrm>
                    <a:custGeom>
                      <a:avLst/>
                      <a:gdLst/>
                      <a:ahLst/>
                      <a:cxnLst/>
                      <a:rect l="l" t="t" r="r" b="b"/>
                      <a:pathLst>
                        <a:path w="374" h="793" fill="none" extrusionOk="0">
                          <a:moveTo>
                            <a:pt x="374" y="1"/>
                          </a:moveTo>
                          <a:lnTo>
                            <a:pt x="1" y="7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339" name="Google Shape;339;p6"/>
              <p:cNvGrpSpPr/>
              <p:nvPr/>
            </p:nvGrpSpPr>
            <p:grpSpPr>
              <a:xfrm rot="9344164" flipH="1">
                <a:off x="-133644" y="855598"/>
                <a:ext cx="561994" cy="1064558"/>
                <a:chOff x="7176425" y="4828100"/>
                <a:chExt cx="188975" cy="357950"/>
              </a:xfrm>
            </p:grpSpPr>
            <p:sp>
              <p:nvSpPr>
                <p:cNvPr id="340" name="Google Shape;340;p6"/>
                <p:cNvSpPr/>
                <p:nvPr/>
              </p:nvSpPr>
              <p:spPr>
                <a:xfrm>
                  <a:off x="7176425" y="4828100"/>
                  <a:ext cx="145300" cy="259750"/>
                </a:xfrm>
                <a:custGeom>
                  <a:avLst/>
                  <a:gdLst/>
                  <a:ahLst/>
                  <a:cxnLst/>
                  <a:rect l="l" t="t" r="r" b="b"/>
                  <a:pathLst>
                    <a:path w="5812" h="10390" extrusionOk="0">
                      <a:moveTo>
                        <a:pt x="5477" y="1"/>
                      </a:moveTo>
                      <a:cubicBezTo>
                        <a:pt x="5465" y="1"/>
                        <a:pt x="5451" y="3"/>
                        <a:pt x="5438" y="9"/>
                      </a:cubicBezTo>
                      <a:cubicBezTo>
                        <a:pt x="4093" y="860"/>
                        <a:pt x="2854" y="2623"/>
                        <a:pt x="2854" y="2623"/>
                      </a:cubicBezTo>
                      <a:lnTo>
                        <a:pt x="2794" y="2503"/>
                      </a:lnTo>
                      <a:cubicBezTo>
                        <a:pt x="2777" y="2477"/>
                        <a:pt x="2744" y="2461"/>
                        <a:pt x="2714" y="2461"/>
                      </a:cubicBezTo>
                      <a:cubicBezTo>
                        <a:pt x="2692" y="2461"/>
                        <a:pt x="2672" y="2469"/>
                        <a:pt x="2660" y="2488"/>
                      </a:cubicBezTo>
                      <a:cubicBezTo>
                        <a:pt x="1823" y="3384"/>
                        <a:pt x="1554" y="4609"/>
                        <a:pt x="1480" y="5087"/>
                      </a:cubicBezTo>
                      <a:cubicBezTo>
                        <a:pt x="1471" y="5132"/>
                        <a:pt x="1430" y="5160"/>
                        <a:pt x="1389" y="5160"/>
                      </a:cubicBezTo>
                      <a:cubicBezTo>
                        <a:pt x="1361" y="5160"/>
                        <a:pt x="1333" y="5147"/>
                        <a:pt x="1315" y="5117"/>
                      </a:cubicBezTo>
                      <a:lnTo>
                        <a:pt x="1285" y="5072"/>
                      </a:lnTo>
                      <a:cubicBezTo>
                        <a:pt x="1266" y="5046"/>
                        <a:pt x="1238" y="5034"/>
                        <a:pt x="1211" y="5034"/>
                      </a:cubicBezTo>
                      <a:cubicBezTo>
                        <a:pt x="1176" y="5034"/>
                        <a:pt x="1145" y="5053"/>
                        <a:pt x="1136" y="5087"/>
                      </a:cubicBezTo>
                      <a:cubicBezTo>
                        <a:pt x="1" y="8477"/>
                        <a:pt x="1823" y="10135"/>
                        <a:pt x="2092" y="10359"/>
                      </a:cubicBezTo>
                      <a:cubicBezTo>
                        <a:pt x="2122" y="10389"/>
                        <a:pt x="2137" y="10389"/>
                        <a:pt x="2152" y="10389"/>
                      </a:cubicBezTo>
                      <a:cubicBezTo>
                        <a:pt x="4990" y="9732"/>
                        <a:pt x="5647" y="6461"/>
                        <a:pt x="5766" y="5684"/>
                      </a:cubicBezTo>
                      <a:cubicBezTo>
                        <a:pt x="5778" y="5626"/>
                        <a:pt x="5725" y="5585"/>
                        <a:pt x="5680" y="5585"/>
                      </a:cubicBezTo>
                      <a:cubicBezTo>
                        <a:pt x="5668" y="5585"/>
                        <a:pt x="5656" y="5588"/>
                        <a:pt x="5647" y="5595"/>
                      </a:cubicBezTo>
                      <a:lnTo>
                        <a:pt x="5557" y="5655"/>
                      </a:lnTo>
                      <a:cubicBezTo>
                        <a:pt x="5543" y="5663"/>
                        <a:pt x="5529" y="5667"/>
                        <a:pt x="5516" y="5667"/>
                      </a:cubicBezTo>
                      <a:cubicBezTo>
                        <a:pt x="5458" y="5667"/>
                        <a:pt x="5413" y="5598"/>
                        <a:pt x="5438" y="5550"/>
                      </a:cubicBezTo>
                      <a:cubicBezTo>
                        <a:pt x="5781" y="4788"/>
                        <a:pt x="5811" y="3713"/>
                        <a:pt x="5796" y="3280"/>
                      </a:cubicBezTo>
                      <a:cubicBezTo>
                        <a:pt x="5796" y="3237"/>
                        <a:pt x="5750" y="3202"/>
                        <a:pt x="5708" y="3202"/>
                      </a:cubicBezTo>
                      <a:cubicBezTo>
                        <a:pt x="5691" y="3202"/>
                        <a:pt x="5674" y="3207"/>
                        <a:pt x="5662" y="3220"/>
                      </a:cubicBezTo>
                      <a:cubicBezTo>
                        <a:pt x="5642" y="3244"/>
                        <a:pt x="5620" y="3254"/>
                        <a:pt x="5599" y="3254"/>
                      </a:cubicBezTo>
                      <a:cubicBezTo>
                        <a:pt x="5555" y="3254"/>
                        <a:pt x="5517" y="3211"/>
                        <a:pt x="5527" y="3160"/>
                      </a:cubicBezTo>
                      <a:cubicBezTo>
                        <a:pt x="5587" y="2712"/>
                        <a:pt x="5587" y="2085"/>
                        <a:pt x="5453" y="1458"/>
                      </a:cubicBezTo>
                      <a:cubicBezTo>
                        <a:pt x="5348" y="920"/>
                        <a:pt x="5467" y="397"/>
                        <a:pt x="5557" y="113"/>
                      </a:cubicBezTo>
                      <a:cubicBezTo>
                        <a:pt x="5582" y="52"/>
                        <a:pt x="5536" y="1"/>
                        <a:pt x="54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1" name="Google Shape;341;p6"/>
                <p:cNvSpPr/>
                <p:nvPr/>
              </p:nvSpPr>
              <p:spPr>
                <a:xfrm>
                  <a:off x="7251900" y="5049725"/>
                  <a:ext cx="113500" cy="77225"/>
                </a:xfrm>
                <a:custGeom>
                  <a:avLst/>
                  <a:gdLst/>
                  <a:ahLst/>
                  <a:cxnLst/>
                  <a:rect l="l" t="t" r="r" b="b"/>
                  <a:pathLst>
                    <a:path w="4540" h="3089" extrusionOk="0">
                      <a:moveTo>
                        <a:pt x="3613" y="1"/>
                      </a:moveTo>
                      <a:cubicBezTo>
                        <a:pt x="2493" y="105"/>
                        <a:pt x="1672" y="837"/>
                        <a:pt x="1672" y="837"/>
                      </a:cubicBezTo>
                      <a:cubicBezTo>
                        <a:pt x="1672" y="782"/>
                        <a:pt x="1623" y="751"/>
                        <a:pt x="1573" y="751"/>
                      </a:cubicBezTo>
                      <a:cubicBezTo>
                        <a:pt x="1555" y="751"/>
                        <a:pt x="1538" y="755"/>
                        <a:pt x="1522" y="762"/>
                      </a:cubicBezTo>
                      <a:cubicBezTo>
                        <a:pt x="402" y="1450"/>
                        <a:pt x="89" y="2615"/>
                        <a:pt x="14" y="2928"/>
                      </a:cubicBezTo>
                      <a:cubicBezTo>
                        <a:pt x="1" y="2955"/>
                        <a:pt x="35" y="3005"/>
                        <a:pt x="85" y="3005"/>
                      </a:cubicBezTo>
                      <a:cubicBezTo>
                        <a:pt x="91" y="3005"/>
                        <a:pt x="97" y="3004"/>
                        <a:pt x="104" y="3003"/>
                      </a:cubicBezTo>
                      <a:cubicBezTo>
                        <a:pt x="413" y="3063"/>
                        <a:pt x="697" y="3089"/>
                        <a:pt x="957" y="3089"/>
                      </a:cubicBezTo>
                      <a:cubicBezTo>
                        <a:pt x="1915" y="3089"/>
                        <a:pt x="2534" y="2746"/>
                        <a:pt x="2792" y="2570"/>
                      </a:cubicBezTo>
                      <a:cubicBezTo>
                        <a:pt x="2852" y="2525"/>
                        <a:pt x="2837" y="2450"/>
                        <a:pt x="2762" y="2420"/>
                      </a:cubicBezTo>
                      <a:lnTo>
                        <a:pt x="2702" y="2405"/>
                      </a:lnTo>
                      <a:cubicBezTo>
                        <a:pt x="3793" y="2107"/>
                        <a:pt x="4151" y="1435"/>
                        <a:pt x="4151" y="1435"/>
                      </a:cubicBezTo>
                      <a:lnTo>
                        <a:pt x="4151" y="1435"/>
                      </a:lnTo>
                      <a:lnTo>
                        <a:pt x="3987" y="1450"/>
                      </a:lnTo>
                      <a:cubicBezTo>
                        <a:pt x="4330" y="1031"/>
                        <a:pt x="4480" y="419"/>
                        <a:pt x="4540" y="180"/>
                      </a:cubicBezTo>
                      <a:cubicBezTo>
                        <a:pt x="4540" y="120"/>
                        <a:pt x="4525" y="90"/>
                        <a:pt x="4465" y="75"/>
                      </a:cubicBezTo>
                      <a:cubicBezTo>
                        <a:pt x="4396" y="66"/>
                        <a:pt x="4324" y="63"/>
                        <a:pt x="4254" y="63"/>
                      </a:cubicBezTo>
                      <a:cubicBezTo>
                        <a:pt x="3971" y="63"/>
                        <a:pt x="3703" y="120"/>
                        <a:pt x="3703" y="120"/>
                      </a:cubicBezTo>
                      <a:lnTo>
                        <a:pt x="3703" y="105"/>
                      </a:lnTo>
                      <a:cubicBezTo>
                        <a:pt x="3718" y="60"/>
                        <a:pt x="3688" y="1"/>
                        <a:pt x="361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2" name="Google Shape;342;p6"/>
                <p:cNvSpPr/>
                <p:nvPr/>
              </p:nvSpPr>
              <p:spPr>
                <a:xfrm>
                  <a:off x="7217875" y="4849600"/>
                  <a:ext cx="84425" cy="336450"/>
                </a:xfrm>
                <a:custGeom>
                  <a:avLst/>
                  <a:gdLst/>
                  <a:ahLst/>
                  <a:cxnLst/>
                  <a:rect l="l" t="t" r="r" b="b"/>
                  <a:pathLst>
                    <a:path w="3377" h="13458" extrusionOk="0">
                      <a:moveTo>
                        <a:pt x="3242" y="0"/>
                      </a:moveTo>
                      <a:cubicBezTo>
                        <a:pt x="2749" y="1061"/>
                        <a:pt x="2271" y="2121"/>
                        <a:pt x="1898" y="3211"/>
                      </a:cubicBezTo>
                      <a:cubicBezTo>
                        <a:pt x="1689" y="3749"/>
                        <a:pt x="1539" y="4317"/>
                        <a:pt x="1360" y="4869"/>
                      </a:cubicBezTo>
                      <a:cubicBezTo>
                        <a:pt x="1285" y="5138"/>
                        <a:pt x="1211" y="5422"/>
                        <a:pt x="1136" y="5706"/>
                      </a:cubicBezTo>
                      <a:lnTo>
                        <a:pt x="1017" y="6124"/>
                      </a:lnTo>
                      <a:lnTo>
                        <a:pt x="927" y="6557"/>
                      </a:lnTo>
                      <a:cubicBezTo>
                        <a:pt x="852" y="6841"/>
                        <a:pt x="792" y="7110"/>
                        <a:pt x="733" y="7408"/>
                      </a:cubicBezTo>
                      <a:lnTo>
                        <a:pt x="553" y="8260"/>
                      </a:lnTo>
                      <a:lnTo>
                        <a:pt x="404" y="9111"/>
                      </a:lnTo>
                      <a:cubicBezTo>
                        <a:pt x="359" y="9410"/>
                        <a:pt x="329" y="9693"/>
                        <a:pt x="285" y="9977"/>
                      </a:cubicBezTo>
                      <a:cubicBezTo>
                        <a:pt x="135" y="11127"/>
                        <a:pt x="16" y="12292"/>
                        <a:pt x="1" y="13457"/>
                      </a:cubicBezTo>
                      <a:lnTo>
                        <a:pt x="329" y="13442"/>
                      </a:lnTo>
                      <a:cubicBezTo>
                        <a:pt x="329" y="12292"/>
                        <a:pt x="419" y="11142"/>
                        <a:pt x="553" y="10007"/>
                      </a:cubicBezTo>
                      <a:cubicBezTo>
                        <a:pt x="583" y="9738"/>
                        <a:pt x="628" y="9440"/>
                        <a:pt x="673" y="9156"/>
                      </a:cubicBezTo>
                      <a:lnTo>
                        <a:pt x="807" y="8304"/>
                      </a:lnTo>
                      <a:lnTo>
                        <a:pt x="972" y="7453"/>
                      </a:lnTo>
                      <a:cubicBezTo>
                        <a:pt x="1017" y="7169"/>
                        <a:pt x="1091" y="6900"/>
                        <a:pt x="1151" y="6602"/>
                      </a:cubicBezTo>
                      <a:lnTo>
                        <a:pt x="1241" y="6184"/>
                      </a:lnTo>
                      <a:lnTo>
                        <a:pt x="1345" y="5750"/>
                      </a:lnTo>
                      <a:cubicBezTo>
                        <a:pt x="1420" y="5482"/>
                        <a:pt x="1494" y="5198"/>
                        <a:pt x="1569" y="4914"/>
                      </a:cubicBezTo>
                      <a:cubicBezTo>
                        <a:pt x="1733" y="4376"/>
                        <a:pt x="1883" y="3809"/>
                        <a:pt x="2077" y="3271"/>
                      </a:cubicBezTo>
                      <a:cubicBezTo>
                        <a:pt x="2435" y="2181"/>
                        <a:pt x="2883" y="1105"/>
                        <a:pt x="3376" y="60"/>
                      </a:cubicBezTo>
                      <a:lnTo>
                        <a:pt x="32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3" name="Google Shape;343;p6"/>
                <p:cNvSpPr/>
                <p:nvPr/>
              </p:nvSpPr>
              <p:spPr>
                <a:xfrm>
                  <a:off x="7223850" y="5057200"/>
                  <a:ext cx="132950" cy="84050"/>
                </a:xfrm>
                <a:custGeom>
                  <a:avLst/>
                  <a:gdLst/>
                  <a:ahLst/>
                  <a:cxnLst/>
                  <a:rect l="l" t="t" r="r" b="b"/>
                  <a:pathLst>
                    <a:path w="5318" h="3362" fill="none" extrusionOk="0">
                      <a:moveTo>
                        <a:pt x="1" y="3361"/>
                      </a:moveTo>
                      <a:cubicBezTo>
                        <a:pt x="1" y="3361"/>
                        <a:pt x="3824" y="1121"/>
                        <a:pt x="5318"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4" name="Google Shape;344;p6"/>
                <p:cNvSpPr/>
                <p:nvPr/>
              </p:nvSpPr>
              <p:spPr>
                <a:xfrm>
                  <a:off x="7208550" y="4892525"/>
                  <a:ext cx="99350" cy="172925"/>
                </a:xfrm>
                <a:custGeom>
                  <a:avLst/>
                  <a:gdLst/>
                  <a:ahLst/>
                  <a:cxnLst/>
                  <a:rect l="l" t="t" r="r" b="b"/>
                  <a:pathLst>
                    <a:path w="3974" h="6917" fill="none" extrusionOk="0">
                      <a:moveTo>
                        <a:pt x="2106" y="1"/>
                      </a:moveTo>
                      <a:lnTo>
                        <a:pt x="2599" y="852"/>
                      </a:lnTo>
                      <a:moveTo>
                        <a:pt x="1001" y="6916"/>
                      </a:moveTo>
                      <a:cubicBezTo>
                        <a:pt x="1001" y="6916"/>
                        <a:pt x="2480" y="5183"/>
                        <a:pt x="2779" y="4915"/>
                      </a:cubicBezTo>
                      <a:moveTo>
                        <a:pt x="105" y="3780"/>
                      </a:moveTo>
                      <a:lnTo>
                        <a:pt x="1210" y="5706"/>
                      </a:lnTo>
                      <a:moveTo>
                        <a:pt x="0" y="4302"/>
                      </a:moveTo>
                      <a:lnTo>
                        <a:pt x="583" y="4616"/>
                      </a:lnTo>
                      <a:moveTo>
                        <a:pt x="1121" y="2226"/>
                      </a:moveTo>
                      <a:lnTo>
                        <a:pt x="1673" y="3780"/>
                      </a:lnTo>
                      <a:moveTo>
                        <a:pt x="1434" y="4750"/>
                      </a:moveTo>
                      <a:lnTo>
                        <a:pt x="3973" y="1793"/>
                      </a:lnTo>
                      <a:moveTo>
                        <a:pt x="2988" y="2943"/>
                      </a:moveTo>
                      <a:lnTo>
                        <a:pt x="3749" y="2659"/>
                      </a:lnTo>
                      <a:moveTo>
                        <a:pt x="2301" y="1703"/>
                      </a:moveTo>
                      <a:lnTo>
                        <a:pt x="3690" y="434"/>
                      </a:lnTo>
                      <a:moveTo>
                        <a:pt x="3749" y="792"/>
                      </a:moveTo>
                      <a:lnTo>
                        <a:pt x="3227" y="85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5" name="Google Shape;345;p6"/>
                <p:cNvSpPr/>
                <p:nvPr/>
              </p:nvSpPr>
              <p:spPr>
                <a:xfrm>
                  <a:off x="7264925" y="5062800"/>
                  <a:ext cx="84425" cy="54175"/>
                </a:xfrm>
                <a:custGeom>
                  <a:avLst/>
                  <a:gdLst/>
                  <a:ahLst/>
                  <a:cxnLst/>
                  <a:rect l="l" t="t" r="r" b="b"/>
                  <a:pathLst>
                    <a:path w="3377" h="2167" fill="none" extrusionOk="0">
                      <a:moveTo>
                        <a:pt x="524" y="1853"/>
                      </a:moveTo>
                      <a:lnTo>
                        <a:pt x="837" y="807"/>
                      </a:lnTo>
                      <a:moveTo>
                        <a:pt x="3302" y="508"/>
                      </a:moveTo>
                      <a:lnTo>
                        <a:pt x="3107" y="404"/>
                      </a:lnTo>
                      <a:moveTo>
                        <a:pt x="2644" y="508"/>
                      </a:moveTo>
                      <a:lnTo>
                        <a:pt x="3376" y="359"/>
                      </a:lnTo>
                      <a:moveTo>
                        <a:pt x="2585" y="30"/>
                      </a:moveTo>
                      <a:lnTo>
                        <a:pt x="2316" y="269"/>
                      </a:lnTo>
                      <a:moveTo>
                        <a:pt x="2107" y="852"/>
                      </a:moveTo>
                      <a:lnTo>
                        <a:pt x="2391" y="1"/>
                      </a:lnTo>
                      <a:moveTo>
                        <a:pt x="2585" y="1240"/>
                      </a:moveTo>
                      <a:lnTo>
                        <a:pt x="2271" y="1419"/>
                      </a:lnTo>
                      <a:moveTo>
                        <a:pt x="1226" y="1419"/>
                      </a:moveTo>
                      <a:lnTo>
                        <a:pt x="2644" y="1419"/>
                      </a:lnTo>
                      <a:moveTo>
                        <a:pt x="1494" y="1957"/>
                      </a:moveTo>
                      <a:lnTo>
                        <a:pt x="1196" y="2106"/>
                      </a:lnTo>
                      <a:moveTo>
                        <a:pt x="1" y="2166"/>
                      </a:moveTo>
                      <a:lnTo>
                        <a:pt x="1718" y="2092"/>
                      </a:lnTo>
                      <a:moveTo>
                        <a:pt x="524" y="1046"/>
                      </a:moveTo>
                      <a:lnTo>
                        <a:pt x="673" y="133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6" name="Google Shape;346;p6"/>
              <p:cNvSpPr/>
              <p:nvPr/>
            </p:nvSpPr>
            <p:spPr>
              <a:xfrm>
                <a:off x="93849" y="1976953"/>
                <a:ext cx="170992" cy="109762"/>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7" name="Google Shape;347;p6"/>
              <p:cNvSpPr/>
              <p:nvPr/>
            </p:nvSpPr>
            <p:spPr>
              <a:xfrm>
                <a:off x="1122973" y="231911"/>
                <a:ext cx="137202" cy="91733"/>
              </a:xfrm>
              <a:custGeom>
                <a:avLst/>
                <a:gdLst/>
                <a:ahLst/>
                <a:cxnLst/>
                <a:rect l="l" t="t" r="r" b="b"/>
                <a:pathLst>
                  <a:path w="1210" h="809" extrusionOk="0">
                    <a:moveTo>
                      <a:pt x="112" y="0"/>
                    </a:moveTo>
                    <a:cubicBezTo>
                      <a:pt x="45" y="0"/>
                      <a:pt x="3" y="4"/>
                      <a:pt x="0" y="4"/>
                    </a:cubicBezTo>
                    <a:cubicBezTo>
                      <a:pt x="250" y="695"/>
                      <a:pt x="708" y="809"/>
                      <a:pt x="983" y="809"/>
                    </a:cubicBezTo>
                    <a:cubicBezTo>
                      <a:pt x="1119" y="809"/>
                      <a:pt x="1210" y="781"/>
                      <a:pt x="1210" y="781"/>
                    </a:cubicBezTo>
                    <a:cubicBezTo>
                      <a:pt x="1113" y="69"/>
                      <a:pt x="392" y="0"/>
                      <a:pt x="11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48" name="Google Shape;348;p6"/>
            <p:cNvGrpSpPr/>
            <p:nvPr/>
          </p:nvGrpSpPr>
          <p:grpSpPr>
            <a:xfrm>
              <a:off x="8260358" y="2695345"/>
              <a:ext cx="1343509" cy="2525005"/>
              <a:chOff x="8260358" y="2695345"/>
              <a:chExt cx="1343509" cy="2525005"/>
            </a:xfrm>
          </p:grpSpPr>
          <p:grpSp>
            <p:nvGrpSpPr>
              <p:cNvPr id="349" name="Google Shape;349;p6"/>
              <p:cNvGrpSpPr/>
              <p:nvPr/>
            </p:nvGrpSpPr>
            <p:grpSpPr>
              <a:xfrm rot="549912">
                <a:off x="8685821" y="2739265"/>
                <a:ext cx="592675" cy="513925"/>
                <a:chOff x="6855700" y="5304375"/>
                <a:chExt cx="168425" cy="146050"/>
              </a:xfrm>
            </p:grpSpPr>
            <p:sp>
              <p:nvSpPr>
                <p:cNvPr id="350" name="Google Shape;350;p6"/>
                <p:cNvSpPr/>
                <p:nvPr/>
              </p:nvSpPr>
              <p:spPr>
                <a:xfrm>
                  <a:off x="6933725" y="5304375"/>
                  <a:ext cx="90400" cy="127375"/>
                </a:xfrm>
                <a:custGeom>
                  <a:avLst/>
                  <a:gdLst/>
                  <a:ahLst/>
                  <a:cxnLst/>
                  <a:rect l="l" t="t" r="r" b="b"/>
                  <a:pathLst>
                    <a:path w="3616" h="5095" extrusionOk="0">
                      <a:moveTo>
                        <a:pt x="703" y="1539"/>
                      </a:moveTo>
                      <a:cubicBezTo>
                        <a:pt x="762" y="1539"/>
                        <a:pt x="852" y="1599"/>
                        <a:pt x="852" y="1689"/>
                      </a:cubicBezTo>
                      <a:lnTo>
                        <a:pt x="852" y="1883"/>
                      </a:lnTo>
                      <a:cubicBezTo>
                        <a:pt x="852" y="1980"/>
                        <a:pt x="777" y="2029"/>
                        <a:pt x="703" y="2029"/>
                      </a:cubicBezTo>
                      <a:cubicBezTo>
                        <a:pt x="628" y="2029"/>
                        <a:pt x="553" y="1980"/>
                        <a:pt x="553" y="1883"/>
                      </a:cubicBezTo>
                      <a:lnTo>
                        <a:pt x="553" y="1689"/>
                      </a:lnTo>
                      <a:cubicBezTo>
                        <a:pt x="568" y="1599"/>
                        <a:pt x="613" y="1539"/>
                        <a:pt x="703" y="1539"/>
                      </a:cubicBezTo>
                      <a:close/>
                      <a:moveTo>
                        <a:pt x="2071" y="2155"/>
                      </a:moveTo>
                      <a:cubicBezTo>
                        <a:pt x="2144" y="2155"/>
                        <a:pt x="2219" y="2204"/>
                        <a:pt x="2226" y="2301"/>
                      </a:cubicBezTo>
                      <a:cubicBezTo>
                        <a:pt x="2226" y="2376"/>
                        <a:pt x="2226" y="2436"/>
                        <a:pt x="2241" y="2495"/>
                      </a:cubicBezTo>
                      <a:cubicBezTo>
                        <a:pt x="2241" y="2570"/>
                        <a:pt x="2151" y="2645"/>
                        <a:pt x="2092" y="2645"/>
                      </a:cubicBezTo>
                      <a:cubicBezTo>
                        <a:pt x="2002" y="2645"/>
                        <a:pt x="1942" y="2570"/>
                        <a:pt x="1927" y="2495"/>
                      </a:cubicBezTo>
                      <a:cubicBezTo>
                        <a:pt x="1927" y="2421"/>
                        <a:pt x="1927" y="2376"/>
                        <a:pt x="1927" y="2301"/>
                      </a:cubicBezTo>
                      <a:cubicBezTo>
                        <a:pt x="1927" y="2204"/>
                        <a:pt x="1998" y="2155"/>
                        <a:pt x="2071" y="2155"/>
                      </a:cubicBezTo>
                      <a:close/>
                      <a:moveTo>
                        <a:pt x="538" y="1"/>
                      </a:moveTo>
                      <a:lnTo>
                        <a:pt x="538" y="1"/>
                      </a:lnTo>
                      <a:cubicBezTo>
                        <a:pt x="538" y="1"/>
                        <a:pt x="1" y="1988"/>
                        <a:pt x="807" y="3526"/>
                      </a:cubicBezTo>
                      <a:cubicBezTo>
                        <a:pt x="852" y="3496"/>
                        <a:pt x="912" y="3466"/>
                        <a:pt x="986" y="3466"/>
                      </a:cubicBezTo>
                      <a:cubicBezTo>
                        <a:pt x="1315" y="3466"/>
                        <a:pt x="1375" y="3899"/>
                        <a:pt x="1151" y="4049"/>
                      </a:cubicBezTo>
                      <a:cubicBezTo>
                        <a:pt x="1524" y="4497"/>
                        <a:pt x="2077" y="4885"/>
                        <a:pt x="2853" y="5094"/>
                      </a:cubicBezTo>
                      <a:cubicBezTo>
                        <a:pt x="2853" y="5079"/>
                        <a:pt x="3615" y="3123"/>
                        <a:pt x="2271" y="1375"/>
                      </a:cubicBezTo>
                      <a:cubicBezTo>
                        <a:pt x="2226" y="1420"/>
                        <a:pt x="2151" y="1465"/>
                        <a:pt x="2077" y="1465"/>
                      </a:cubicBezTo>
                      <a:cubicBezTo>
                        <a:pt x="1748" y="1465"/>
                        <a:pt x="1703" y="1091"/>
                        <a:pt x="1868" y="927"/>
                      </a:cubicBezTo>
                      <a:cubicBezTo>
                        <a:pt x="1524" y="598"/>
                        <a:pt x="1076" y="270"/>
                        <a:pt x="53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1" name="Google Shape;351;p6"/>
                <p:cNvSpPr/>
                <p:nvPr/>
              </p:nvSpPr>
              <p:spPr>
                <a:xfrm>
                  <a:off x="6855700" y="5397900"/>
                  <a:ext cx="118375" cy="52525"/>
                </a:xfrm>
                <a:custGeom>
                  <a:avLst/>
                  <a:gdLst/>
                  <a:ahLst/>
                  <a:cxnLst/>
                  <a:rect l="l" t="t" r="r" b="b"/>
                  <a:pathLst>
                    <a:path w="4735" h="2101" extrusionOk="0">
                      <a:moveTo>
                        <a:pt x="2267" y="212"/>
                      </a:moveTo>
                      <a:cubicBezTo>
                        <a:pt x="2317" y="212"/>
                        <a:pt x="2364" y="242"/>
                        <a:pt x="2405" y="293"/>
                      </a:cubicBezTo>
                      <a:cubicBezTo>
                        <a:pt x="2435" y="323"/>
                        <a:pt x="2494" y="367"/>
                        <a:pt x="2524" y="412"/>
                      </a:cubicBezTo>
                      <a:cubicBezTo>
                        <a:pt x="2628" y="528"/>
                        <a:pt x="2526" y="679"/>
                        <a:pt x="2413" y="679"/>
                      </a:cubicBezTo>
                      <a:cubicBezTo>
                        <a:pt x="2380" y="679"/>
                        <a:pt x="2346" y="667"/>
                        <a:pt x="2315" y="636"/>
                      </a:cubicBezTo>
                      <a:cubicBezTo>
                        <a:pt x="2255" y="576"/>
                        <a:pt x="2181" y="502"/>
                        <a:pt x="2151" y="442"/>
                      </a:cubicBezTo>
                      <a:cubicBezTo>
                        <a:pt x="2106" y="367"/>
                        <a:pt x="2136" y="278"/>
                        <a:pt x="2196" y="233"/>
                      </a:cubicBezTo>
                      <a:cubicBezTo>
                        <a:pt x="2220" y="219"/>
                        <a:pt x="2244" y="212"/>
                        <a:pt x="2267" y="212"/>
                      </a:cubicBezTo>
                      <a:close/>
                      <a:moveTo>
                        <a:pt x="2069" y="1"/>
                      </a:moveTo>
                      <a:cubicBezTo>
                        <a:pt x="1464" y="1"/>
                        <a:pt x="769" y="175"/>
                        <a:pt x="0" y="651"/>
                      </a:cubicBezTo>
                      <a:cubicBezTo>
                        <a:pt x="0" y="651"/>
                        <a:pt x="1061" y="1712"/>
                        <a:pt x="2345" y="2010"/>
                      </a:cubicBezTo>
                      <a:cubicBezTo>
                        <a:pt x="2360" y="1876"/>
                        <a:pt x="2465" y="1771"/>
                        <a:pt x="2629" y="1771"/>
                      </a:cubicBezTo>
                      <a:cubicBezTo>
                        <a:pt x="2838" y="1771"/>
                        <a:pt x="2928" y="1936"/>
                        <a:pt x="2928" y="2100"/>
                      </a:cubicBezTo>
                      <a:cubicBezTo>
                        <a:pt x="2949" y="2100"/>
                        <a:pt x="2970" y="2101"/>
                        <a:pt x="2991" y="2101"/>
                      </a:cubicBezTo>
                      <a:cubicBezTo>
                        <a:pt x="3570" y="2101"/>
                        <a:pt x="4187" y="1900"/>
                        <a:pt x="4735" y="1338"/>
                      </a:cubicBezTo>
                      <a:cubicBezTo>
                        <a:pt x="4735" y="1338"/>
                        <a:pt x="3744" y="1"/>
                        <a:pt x="206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2" name="Google Shape;352;p6"/>
                <p:cNvSpPr/>
                <p:nvPr/>
              </p:nvSpPr>
              <p:spPr>
                <a:xfrm>
                  <a:off x="6881450" y="5340975"/>
                  <a:ext cx="135575" cy="109050"/>
                </a:xfrm>
                <a:custGeom>
                  <a:avLst/>
                  <a:gdLst/>
                  <a:ahLst/>
                  <a:cxnLst/>
                  <a:rect l="l" t="t" r="r" b="b"/>
                  <a:pathLst>
                    <a:path w="5423" h="4362" fill="none" extrusionOk="0">
                      <a:moveTo>
                        <a:pt x="1" y="3033"/>
                      </a:moveTo>
                      <a:cubicBezTo>
                        <a:pt x="1" y="3033"/>
                        <a:pt x="4840" y="3854"/>
                        <a:pt x="5169" y="3839"/>
                      </a:cubicBezTo>
                      <a:moveTo>
                        <a:pt x="5422" y="4362"/>
                      </a:moveTo>
                      <a:cubicBezTo>
                        <a:pt x="5422" y="4362"/>
                        <a:pt x="3570" y="1196"/>
                        <a:pt x="3197" y="1"/>
                      </a:cubicBezTo>
                      <a:moveTo>
                        <a:pt x="2883" y="942"/>
                      </a:moveTo>
                      <a:lnTo>
                        <a:pt x="3779" y="1315"/>
                      </a:lnTo>
                      <a:moveTo>
                        <a:pt x="4556" y="1166"/>
                      </a:moveTo>
                      <a:lnTo>
                        <a:pt x="4467" y="2644"/>
                      </a:lnTo>
                      <a:moveTo>
                        <a:pt x="1106" y="3212"/>
                      </a:moveTo>
                      <a:lnTo>
                        <a:pt x="494" y="3436"/>
                      </a:lnTo>
                      <a:moveTo>
                        <a:pt x="1898" y="2988"/>
                      </a:moveTo>
                      <a:lnTo>
                        <a:pt x="2211" y="3033"/>
                      </a:lnTo>
                      <a:moveTo>
                        <a:pt x="2092" y="2809"/>
                      </a:moveTo>
                      <a:lnTo>
                        <a:pt x="2465" y="345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3" name="Google Shape;353;p6"/>
              <p:cNvGrpSpPr/>
              <p:nvPr/>
            </p:nvGrpSpPr>
            <p:grpSpPr>
              <a:xfrm>
                <a:off x="8688576" y="3501406"/>
                <a:ext cx="286312" cy="174621"/>
                <a:chOff x="7871651" y="404306"/>
                <a:chExt cx="286312" cy="174621"/>
              </a:xfrm>
            </p:grpSpPr>
            <p:sp>
              <p:nvSpPr>
                <p:cNvPr id="354" name="Google Shape;354;p6"/>
                <p:cNvSpPr/>
                <p:nvPr/>
              </p:nvSpPr>
              <p:spPr>
                <a:xfrm>
                  <a:off x="7995249" y="404306"/>
                  <a:ext cx="162715" cy="174621"/>
                </a:xfrm>
                <a:custGeom>
                  <a:avLst/>
                  <a:gdLst/>
                  <a:ahLst/>
                  <a:cxnLst/>
                  <a:rect l="l" t="t" r="r" b="b"/>
                  <a:pathLst>
                    <a:path w="1435" h="1540" extrusionOk="0">
                      <a:moveTo>
                        <a:pt x="210" y="1"/>
                      </a:moveTo>
                      <a:lnTo>
                        <a:pt x="210" y="1"/>
                      </a:lnTo>
                      <a:cubicBezTo>
                        <a:pt x="1" y="1315"/>
                        <a:pt x="1046" y="1539"/>
                        <a:pt x="1046" y="1539"/>
                      </a:cubicBezTo>
                      <a:cubicBezTo>
                        <a:pt x="1434" y="509"/>
                        <a:pt x="210" y="1"/>
                        <a:pt x="21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5" name="Google Shape;355;p6"/>
                <p:cNvSpPr/>
                <p:nvPr/>
              </p:nvSpPr>
              <p:spPr>
                <a:xfrm>
                  <a:off x="7871651" y="412810"/>
                  <a:ext cx="123708" cy="132213"/>
                </a:xfrm>
                <a:custGeom>
                  <a:avLst/>
                  <a:gdLst/>
                  <a:ahLst/>
                  <a:cxnLst/>
                  <a:rect l="l" t="t" r="r" b="b"/>
                  <a:pathLst>
                    <a:path w="1091" h="1166" extrusionOk="0">
                      <a:moveTo>
                        <a:pt x="1031" y="1"/>
                      </a:moveTo>
                      <a:cubicBezTo>
                        <a:pt x="0" y="314"/>
                        <a:pt x="194" y="1166"/>
                        <a:pt x="194" y="1166"/>
                      </a:cubicBezTo>
                      <a:cubicBezTo>
                        <a:pt x="1090" y="1076"/>
                        <a:pt x="1031" y="1"/>
                        <a:pt x="103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56" name="Google Shape;356;p6"/>
              <p:cNvGrpSpPr/>
              <p:nvPr/>
            </p:nvGrpSpPr>
            <p:grpSpPr>
              <a:xfrm rot="797914">
                <a:off x="8663177" y="3576560"/>
                <a:ext cx="827968" cy="1076595"/>
                <a:chOff x="7054700" y="8340850"/>
                <a:chExt cx="411525" cy="535100"/>
              </a:xfrm>
            </p:grpSpPr>
            <p:sp>
              <p:nvSpPr>
                <p:cNvPr id="357" name="Google Shape;357;p6"/>
                <p:cNvSpPr/>
                <p:nvPr/>
              </p:nvSpPr>
              <p:spPr>
                <a:xfrm>
                  <a:off x="7224975" y="8340850"/>
                  <a:ext cx="101600" cy="243850"/>
                </a:xfrm>
                <a:custGeom>
                  <a:avLst/>
                  <a:gdLst/>
                  <a:ahLst/>
                  <a:cxnLst/>
                  <a:rect l="l" t="t" r="r" b="b"/>
                  <a:pathLst>
                    <a:path w="4064" h="9754" fill="none" extrusionOk="0">
                      <a:moveTo>
                        <a:pt x="1" y="9753"/>
                      </a:moveTo>
                      <a:cubicBezTo>
                        <a:pt x="1" y="9753"/>
                        <a:pt x="3107" y="3690"/>
                        <a:pt x="4063" y="0"/>
                      </a:cubicBezTo>
                      <a:moveTo>
                        <a:pt x="3555" y="9753"/>
                      </a:moveTo>
                      <a:cubicBezTo>
                        <a:pt x="3555" y="9753"/>
                        <a:pt x="2465" y="7050"/>
                        <a:pt x="2420" y="4496"/>
                      </a:cubicBezTo>
                    </a:path>
                  </a:pathLst>
                </a:custGeom>
                <a:noFill/>
                <a:ln w="156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8" name="Google Shape;358;p6"/>
                <p:cNvSpPr/>
                <p:nvPr/>
              </p:nvSpPr>
              <p:spPr>
                <a:xfrm>
                  <a:off x="7054700" y="8573950"/>
                  <a:ext cx="252825" cy="194075"/>
                </a:xfrm>
                <a:custGeom>
                  <a:avLst/>
                  <a:gdLst/>
                  <a:ahLst/>
                  <a:cxnLst/>
                  <a:rect l="l" t="t" r="r" b="b"/>
                  <a:pathLst>
                    <a:path w="10113" h="7763" extrusionOk="0">
                      <a:moveTo>
                        <a:pt x="6465" y="0"/>
                      </a:moveTo>
                      <a:cubicBezTo>
                        <a:pt x="6295" y="0"/>
                        <a:pt x="6122" y="87"/>
                        <a:pt x="6020" y="250"/>
                      </a:cubicBezTo>
                      <a:cubicBezTo>
                        <a:pt x="5632" y="848"/>
                        <a:pt x="5497" y="1490"/>
                        <a:pt x="5452" y="1998"/>
                      </a:cubicBezTo>
                      <a:cubicBezTo>
                        <a:pt x="5044" y="1913"/>
                        <a:pt x="4502" y="1830"/>
                        <a:pt x="3931" y="1830"/>
                      </a:cubicBezTo>
                      <a:cubicBezTo>
                        <a:pt x="2791" y="1830"/>
                        <a:pt x="1539" y="2162"/>
                        <a:pt x="1031" y="3476"/>
                      </a:cubicBezTo>
                      <a:cubicBezTo>
                        <a:pt x="1" y="6135"/>
                        <a:pt x="4497" y="7106"/>
                        <a:pt x="4497" y="7106"/>
                      </a:cubicBezTo>
                      <a:cubicBezTo>
                        <a:pt x="4497" y="7106"/>
                        <a:pt x="5916" y="7762"/>
                        <a:pt x="7253" y="7762"/>
                      </a:cubicBezTo>
                      <a:cubicBezTo>
                        <a:pt x="8206" y="7762"/>
                        <a:pt x="9117" y="7428"/>
                        <a:pt x="9440" y="6284"/>
                      </a:cubicBezTo>
                      <a:cubicBezTo>
                        <a:pt x="10112" y="4014"/>
                        <a:pt x="7379" y="2670"/>
                        <a:pt x="6453" y="2296"/>
                      </a:cubicBezTo>
                      <a:cubicBezTo>
                        <a:pt x="6722" y="1848"/>
                        <a:pt x="7080" y="1490"/>
                        <a:pt x="7379" y="1236"/>
                      </a:cubicBezTo>
                      <a:cubicBezTo>
                        <a:pt x="7678" y="982"/>
                        <a:pt x="7603" y="519"/>
                        <a:pt x="7275" y="355"/>
                      </a:cubicBezTo>
                      <a:lnTo>
                        <a:pt x="6692" y="56"/>
                      </a:lnTo>
                      <a:cubicBezTo>
                        <a:pt x="6622" y="18"/>
                        <a:pt x="6543" y="0"/>
                        <a:pt x="646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9" name="Google Shape;359;p6"/>
                <p:cNvSpPr/>
                <p:nvPr/>
              </p:nvSpPr>
              <p:spPr>
                <a:xfrm>
                  <a:off x="7065175" y="8679500"/>
                  <a:ext cx="190450" cy="186150"/>
                </a:xfrm>
                <a:custGeom>
                  <a:avLst/>
                  <a:gdLst/>
                  <a:ahLst/>
                  <a:cxnLst/>
                  <a:rect l="l" t="t" r="r" b="b"/>
                  <a:pathLst>
                    <a:path w="7618" h="7446" extrusionOk="0">
                      <a:moveTo>
                        <a:pt x="2208" y="0"/>
                      </a:moveTo>
                      <a:cubicBezTo>
                        <a:pt x="1980" y="0"/>
                        <a:pt x="1759" y="147"/>
                        <a:pt x="1688" y="389"/>
                      </a:cubicBezTo>
                      <a:lnTo>
                        <a:pt x="538" y="3840"/>
                      </a:lnTo>
                      <a:cubicBezTo>
                        <a:pt x="0" y="5438"/>
                        <a:pt x="1673" y="7021"/>
                        <a:pt x="2599" y="7335"/>
                      </a:cubicBezTo>
                      <a:cubicBezTo>
                        <a:pt x="2659" y="7365"/>
                        <a:pt x="2733" y="7379"/>
                        <a:pt x="2793" y="7379"/>
                      </a:cubicBezTo>
                      <a:cubicBezTo>
                        <a:pt x="2986" y="7422"/>
                        <a:pt x="3215" y="7445"/>
                        <a:pt x="3464" y="7445"/>
                      </a:cubicBezTo>
                      <a:cubicBezTo>
                        <a:pt x="4179" y="7445"/>
                        <a:pt x="5055" y="7251"/>
                        <a:pt x="5676" y="6752"/>
                      </a:cubicBezTo>
                      <a:lnTo>
                        <a:pt x="5691" y="6737"/>
                      </a:lnTo>
                      <a:lnTo>
                        <a:pt x="5706" y="6737"/>
                      </a:lnTo>
                      <a:lnTo>
                        <a:pt x="5721" y="6722"/>
                      </a:lnTo>
                      <a:lnTo>
                        <a:pt x="5735" y="6707"/>
                      </a:lnTo>
                      <a:lnTo>
                        <a:pt x="5750" y="6692"/>
                      </a:lnTo>
                      <a:lnTo>
                        <a:pt x="5765" y="6677"/>
                      </a:lnTo>
                      <a:lnTo>
                        <a:pt x="5780" y="6677"/>
                      </a:lnTo>
                      <a:lnTo>
                        <a:pt x="5795" y="6663"/>
                      </a:lnTo>
                      <a:lnTo>
                        <a:pt x="5795" y="6648"/>
                      </a:lnTo>
                      <a:lnTo>
                        <a:pt x="5810" y="6633"/>
                      </a:lnTo>
                      <a:lnTo>
                        <a:pt x="5825" y="6618"/>
                      </a:lnTo>
                      <a:lnTo>
                        <a:pt x="5840" y="6603"/>
                      </a:lnTo>
                      <a:lnTo>
                        <a:pt x="5855" y="6603"/>
                      </a:lnTo>
                      <a:cubicBezTo>
                        <a:pt x="6079" y="6379"/>
                        <a:pt x="6258" y="6110"/>
                        <a:pt x="6378" y="5811"/>
                      </a:cubicBezTo>
                      <a:lnTo>
                        <a:pt x="7528" y="2361"/>
                      </a:lnTo>
                      <a:cubicBezTo>
                        <a:pt x="7617" y="2122"/>
                        <a:pt x="7513" y="1853"/>
                        <a:pt x="7304" y="1704"/>
                      </a:cubicBezTo>
                      <a:cubicBezTo>
                        <a:pt x="7289" y="1674"/>
                        <a:pt x="7244" y="1659"/>
                        <a:pt x="7214" y="1644"/>
                      </a:cubicBezTo>
                      <a:cubicBezTo>
                        <a:pt x="6004" y="808"/>
                        <a:pt x="4615" y="285"/>
                        <a:pt x="3181" y="91"/>
                      </a:cubicBezTo>
                      <a:cubicBezTo>
                        <a:pt x="2868" y="46"/>
                        <a:pt x="2569" y="16"/>
                        <a:pt x="2241" y="1"/>
                      </a:cubicBezTo>
                      <a:cubicBezTo>
                        <a:pt x="2230" y="0"/>
                        <a:pt x="2219" y="0"/>
                        <a:pt x="220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0" name="Google Shape;360;p6"/>
                <p:cNvSpPr/>
                <p:nvPr/>
              </p:nvSpPr>
              <p:spPr>
                <a:xfrm>
                  <a:off x="7064800" y="8679875"/>
                  <a:ext cx="79550" cy="184500"/>
                </a:xfrm>
                <a:custGeom>
                  <a:avLst/>
                  <a:gdLst/>
                  <a:ahLst/>
                  <a:cxnLst/>
                  <a:rect l="l" t="t" r="r" b="b"/>
                  <a:pathLst>
                    <a:path w="3182" h="7380" extrusionOk="0">
                      <a:moveTo>
                        <a:pt x="2223" y="0"/>
                      </a:moveTo>
                      <a:cubicBezTo>
                        <a:pt x="1982" y="0"/>
                        <a:pt x="1759" y="161"/>
                        <a:pt x="1688" y="389"/>
                      </a:cubicBezTo>
                      <a:lnTo>
                        <a:pt x="538" y="3825"/>
                      </a:lnTo>
                      <a:cubicBezTo>
                        <a:pt x="0" y="5438"/>
                        <a:pt x="1688" y="7021"/>
                        <a:pt x="2599" y="7335"/>
                      </a:cubicBezTo>
                      <a:cubicBezTo>
                        <a:pt x="2659" y="7364"/>
                        <a:pt x="2733" y="7364"/>
                        <a:pt x="2793" y="7379"/>
                      </a:cubicBezTo>
                      <a:cubicBezTo>
                        <a:pt x="1688" y="4616"/>
                        <a:pt x="2554" y="1629"/>
                        <a:pt x="3182" y="91"/>
                      </a:cubicBezTo>
                      <a:cubicBezTo>
                        <a:pt x="2868" y="46"/>
                        <a:pt x="2569" y="16"/>
                        <a:pt x="2256" y="1"/>
                      </a:cubicBezTo>
                      <a:cubicBezTo>
                        <a:pt x="2245" y="0"/>
                        <a:pt x="2234" y="0"/>
                        <a:pt x="222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1" name="Google Shape;361;p6"/>
                <p:cNvSpPr/>
                <p:nvPr/>
              </p:nvSpPr>
              <p:spPr>
                <a:xfrm>
                  <a:off x="7220125" y="8580850"/>
                  <a:ext cx="246100" cy="190825"/>
                </a:xfrm>
                <a:custGeom>
                  <a:avLst/>
                  <a:gdLst/>
                  <a:ahLst/>
                  <a:cxnLst/>
                  <a:rect l="l" t="t" r="r" b="b"/>
                  <a:pathLst>
                    <a:path w="9844" h="7633" extrusionOk="0">
                      <a:moveTo>
                        <a:pt x="4066" y="0"/>
                      </a:moveTo>
                      <a:cubicBezTo>
                        <a:pt x="4046" y="0"/>
                        <a:pt x="4025" y="2"/>
                        <a:pt x="4003" y="4"/>
                      </a:cubicBezTo>
                      <a:lnTo>
                        <a:pt x="3361" y="49"/>
                      </a:lnTo>
                      <a:cubicBezTo>
                        <a:pt x="3092" y="79"/>
                        <a:pt x="2883" y="318"/>
                        <a:pt x="2883" y="587"/>
                      </a:cubicBezTo>
                      <a:cubicBezTo>
                        <a:pt x="2883" y="1304"/>
                        <a:pt x="3107" y="1916"/>
                        <a:pt x="3346" y="2364"/>
                      </a:cubicBezTo>
                      <a:cubicBezTo>
                        <a:pt x="2181" y="2797"/>
                        <a:pt x="0" y="3902"/>
                        <a:pt x="419" y="5964"/>
                      </a:cubicBezTo>
                      <a:cubicBezTo>
                        <a:pt x="671" y="7283"/>
                        <a:pt x="1762" y="7633"/>
                        <a:pt x="2847" y="7633"/>
                      </a:cubicBezTo>
                      <a:cubicBezTo>
                        <a:pt x="4071" y="7633"/>
                        <a:pt x="5288" y="7188"/>
                        <a:pt x="5288" y="7188"/>
                      </a:cubicBezTo>
                      <a:cubicBezTo>
                        <a:pt x="5288" y="7188"/>
                        <a:pt x="9843" y="6576"/>
                        <a:pt x="9022" y="3843"/>
                      </a:cubicBezTo>
                      <a:cubicBezTo>
                        <a:pt x="8564" y="2286"/>
                        <a:pt x="7004" y="1949"/>
                        <a:pt x="5754" y="1949"/>
                      </a:cubicBezTo>
                      <a:cubicBezTo>
                        <a:pt x="5169" y="1949"/>
                        <a:pt x="4652" y="2023"/>
                        <a:pt x="4347" y="2080"/>
                      </a:cubicBezTo>
                      <a:cubicBezTo>
                        <a:pt x="4332" y="1557"/>
                        <a:pt x="4451" y="1065"/>
                        <a:pt x="4571" y="691"/>
                      </a:cubicBezTo>
                      <a:cubicBezTo>
                        <a:pt x="4669" y="339"/>
                        <a:pt x="4409" y="0"/>
                        <a:pt x="406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2" name="Google Shape;362;p6"/>
                <p:cNvSpPr/>
                <p:nvPr/>
              </p:nvSpPr>
              <p:spPr>
                <a:xfrm>
                  <a:off x="7266800" y="8692100"/>
                  <a:ext cx="174400" cy="183850"/>
                </a:xfrm>
                <a:custGeom>
                  <a:avLst/>
                  <a:gdLst/>
                  <a:ahLst/>
                  <a:cxnLst/>
                  <a:rect l="l" t="t" r="r" b="b"/>
                  <a:pathLst>
                    <a:path w="6976" h="7354" extrusionOk="0">
                      <a:moveTo>
                        <a:pt x="5102" y="1"/>
                      </a:moveTo>
                      <a:cubicBezTo>
                        <a:pt x="3724" y="1"/>
                        <a:pt x="2379" y="298"/>
                        <a:pt x="1151" y="856"/>
                      </a:cubicBezTo>
                      <a:cubicBezTo>
                        <a:pt x="882" y="976"/>
                        <a:pt x="598" y="1140"/>
                        <a:pt x="329" y="1289"/>
                      </a:cubicBezTo>
                      <a:cubicBezTo>
                        <a:pt x="105" y="1409"/>
                        <a:pt x="0" y="1663"/>
                        <a:pt x="60" y="1917"/>
                      </a:cubicBezTo>
                      <a:lnTo>
                        <a:pt x="912" y="5442"/>
                      </a:lnTo>
                      <a:cubicBezTo>
                        <a:pt x="1249" y="6815"/>
                        <a:pt x="2901" y="7354"/>
                        <a:pt x="3984" y="7354"/>
                      </a:cubicBezTo>
                      <a:cubicBezTo>
                        <a:pt x="4196" y="7354"/>
                        <a:pt x="4387" y="7333"/>
                        <a:pt x="4541" y="7294"/>
                      </a:cubicBezTo>
                      <a:cubicBezTo>
                        <a:pt x="4601" y="7279"/>
                        <a:pt x="4660" y="7264"/>
                        <a:pt x="4735" y="7234"/>
                      </a:cubicBezTo>
                      <a:cubicBezTo>
                        <a:pt x="5452" y="6980"/>
                        <a:pt x="6483" y="6173"/>
                        <a:pt x="6826" y="5158"/>
                      </a:cubicBezTo>
                      <a:lnTo>
                        <a:pt x="6841" y="5143"/>
                      </a:lnTo>
                      <a:lnTo>
                        <a:pt x="6841" y="5113"/>
                      </a:lnTo>
                      <a:lnTo>
                        <a:pt x="6856" y="5098"/>
                      </a:lnTo>
                      <a:lnTo>
                        <a:pt x="6856" y="5083"/>
                      </a:lnTo>
                      <a:lnTo>
                        <a:pt x="6856" y="5068"/>
                      </a:lnTo>
                      <a:lnTo>
                        <a:pt x="6871" y="5053"/>
                      </a:lnTo>
                      <a:lnTo>
                        <a:pt x="6871" y="5038"/>
                      </a:lnTo>
                      <a:lnTo>
                        <a:pt x="6871" y="5008"/>
                      </a:lnTo>
                      <a:lnTo>
                        <a:pt x="6886" y="4994"/>
                      </a:lnTo>
                      <a:lnTo>
                        <a:pt x="6886" y="4979"/>
                      </a:lnTo>
                      <a:lnTo>
                        <a:pt x="6886" y="4964"/>
                      </a:lnTo>
                      <a:lnTo>
                        <a:pt x="6886" y="4949"/>
                      </a:lnTo>
                      <a:cubicBezTo>
                        <a:pt x="6961" y="4635"/>
                        <a:pt x="6975" y="4307"/>
                        <a:pt x="6901" y="3978"/>
                      </a:cubicBezTo>
                      <a:lnTo>
                        <a:pt x="6035" y="453"/>
                      </a:lnTo>
                      <a:cubicBezTo>
                        <a:pt x="5975" y="199"/>
                        <a:pt x="5766" y="20"/>
                        <a:pt x="5497" y="5"/>
                      </a:cubicBezTo>
                      <a:lnTo>
                        <a:pt x="5392" y="5"/>
                      </a:lnTo>
                      <a:cubicBezTo>
                        <a:pt x="5295" y="2"/>
                        <a:pt x="5199" y="1"/>
                        <a:pt x="510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3" name="Google Shape;363;p6"/>
                <p:cNvSpPr/>
                <p:nvPr/>
              </p:nvSpPr>
              <p:spPr>
                <a:xfrm>
                  <a:off x="7266800" y="8713500"/>
                  <a:ext cx="118400" cy="162450"/>
                </a:xfrm>
                <a:custGeom>
                  <a:avLst/>
                  <a:gdLst/>
                  <a:ahLst/>
                  <a:cxnLst/>
                  <a:rect l="l" t="t" r="r" b="b"/>
                  <a:pathLst>
                    <a:path w="4736" h="6498" extrusionOk="0">
                      <a:moveTo>
                        <a:pt x="1151" y="0"/>
                      </a:moveTo>
                      <a:cubicBezTo>
                        <a:pt x="882" y="120"/>
                        <a:pt x="598" y="269"/>
                        <a:pt x="329" y="433"/>
                      </a:cubicBezTo>
                      <a:cubicBezTo>
                        <a:pt x="105" y="553"/>
                        <a:pt x="0" y="807"/>
                        <a:pt x="60" y="1061"/>
                      </a:cubicBezTo>
                      <a:lnTo>
                        <a:pt x="912" y="4586"/>
                      </a:lnTo>
                      <a:cubicBezTo>
                        <a:pt x="1249" y="5959"/>
                        <a:pt x="2901" y="6498"/>
                        <a:pt x="3984" y="6498"/>
                      </a:cubicBezTo>
                      <a:cubicBezTo>
                        <a:pt x="4196" y="6498"/>
                        <a:pt x="4387" y="6477"/>
                        <a:pt x="4541" y="6438"/>
                      </a:cubicBezTo>
                      <a:cubicBezTo>
                        <a:pt x="4601" y="6423"/>
                        <a:pt x="4660" y="6408"/>
                        <a:pt x="4735" y="6378"/>
                      </a:cubicBezTo>
                      <a:cubicBezTo>
                        <a:pt x="2316" y="4645"/>
                        <a:pt x="1449" y="1658"/>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4" name="Google Shape;364;p6"/>
                <p:cNvSpPr/>
                <p:nvPr/>
              </p:nvSpPr>
              <p:spPr>
                <a:xfrm>
                  <a:off x="7292575" y="8422250"/>
                  <a:ext cx="159825" cy="136675"/>
                </a:xfrm>
                <a:custGeom>
                  <a:avLst/>
                  <a:gdLst/>
                  <a:ahLst/>
                  <a:cxnLst/>
                  <a:rect l="l" t="t" r="r" b="b"/>
                  <a:pathLst>
                    <a:path w="6393" h="5467" extrusionOk="0">
                      <a:moveTo>
                        <a:pt x="1090" y="0"/>
                      </a:moveTo>
                      <a:cubicBezTo>
                        <a:pt x="1090" y="1"/>
                        <a:pt x="0" y="4541"/>
                        <a:pt x="5422" y="5467"/>
                      </a:cubicBezTo>
                      <a:lnTo>
                        <a:pt x="5437" y="5467"/>
                      </a:lnTo>
                      <a:cubicBezTo>
                        <a:pt x="5437" y="5467"/>
                        <a:pt x="6393" y="1479"/>
                        <a:pt x="10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5" name="Google Shape;365;p6"/>
                <p:cNvSpPr/>
                <p:nvPr/>
              </p:nvSpPr>
              <p:spPr>
                <a:xfrm>
                  <a:off x="7306375" y="8404700"/>
                  <a:ext cx="97850" cy="124000"/>
                </a:xfrm>
                <a:custGeom>
                  <a:avLst/>
                  <a:gdLst/>
                  <a:ahLst/>
                  <a:cxnLst/>
                  <a:rect l="l" t="t" r="r" b="b"/>
                  <a:pathLst>
                    <a:path w="3914" h="4960" fill="none" extrusionOk="0">
                      <a:moveTo>
                        <a:pt x="1" y="0"/>
                      </a:moveTo>
                      <a:lnTo>
                        <a:pt x="3914" y="495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6" name="Google Shape;366;p6"/>
                <p:cNvSpPr/>
                <p:nvPr/>
              </p:nvSpPr>
              <p:spPr>
                <a:xfrm>
                  <a:off x="7104375" y="8455100"/>
                  <a:ext cx="188200" cy="154625"/>
                </a:xfrm>
                <a:custGeom>
                  <a:avLst/>
                  <a:gdLst/>
                  <a:ahLst/>
                  <a:cxnLst/>
                  <a:rect l="l" t="t" r="r" b="b"/>
                  <a:pathLst>
                    <a:path w="7528" h="6185" extrusionOk="0">
                      <a:moveTo>
                        <a:pt x="6796" y="1"/>
                      </a:moveTo>
                      <a:lnTo>
                        <a:pt x="6796" y="1"/>
                      </a:lnTo>
                      <a:cubicBezTo>
                        <a:pt x="0" y="1091"/>
                        <a:pt x="643" y="6184"/>
                        <a:pt x="643" y="6184"/>
                      </a:cubicBezTo>
                      <a:lnTo>
                        <a:pt x="673" y="6184"/>
                      </a:lnTo>
                      <a:cubicBezTo>
                        <a:pt x="7528" y="5796"/>
                        <a:pt x="6796" y="1"/>
                        <a:pt x="67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7" name="Google Shape;367;p6"/>
                <p:cNvSpPr/>
                <p:nvPr/>
              </p:nvSpPr>
              <p:spPr>
                <a:xfrm>
                  <a:off x="7154775" y="8435700"/>
                  <a:ext cx="138925" cy="140025"/>
                </a:xfrm>
                <a:custGeom>
                  <a:avLst/>
                  <a:gdLst/>
                  <a:ahLst/>
                  <a:cxnLst/>
                  <a:rect l="l" t="t" r="r" b="b"/>
                  <a:pathLst>
                    <a:path w="5557" h="5601" fill="none" extrusionOk="0">
                      <a:moveTo>
                        <a:pt x="5557" y="0"/>
                      </a:moveTo>
                      <a:lnTo>
                        <a:pt x="1" y="560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68" name="Google Shape;368;p6"/>
              <p:cNvSpPr/>
              <p:nvPr/>
            </p:nvSpPr>
            <p:spPr>
              <a:xfrm rot="1675048">
                <a:off x="8341058" y="4811727"/>
                <a:ext cx="179319" cy="389297"/>
              </a:xfrm>
              <a:custGeom>
                <a:avLst/>
                <a:gdLst/>
                <a:ahLst/>
                <a:cxnLst/>
                <a:rect l="l" t="t" r="r" b="b"/>
                <a:pathLst>
                  <a:path w="4720" h="10247" fill="none" extrusionOk="0">
                    <a:moveTo>
                      <a:pt x="0" y="10247"/>
                    </a:moveTo>
                    <a:cubicBezTo>
                      <a:pt x="0" y="10247"/>
                      <a:pt x="3928" y="6020"/>
                      <a:pt x="4720" y="5647"/>
                    </a:cubicBezTo>
                    <a:moveTo>
                      <a:pt x="2763" y="2615"/>
                    </a:moveTo>
                    <a:cubicBezTo>
                      <a:pt x="2763" y="2615"/>
                      <a:pt x="3689" y="1390"/>
                      <a:pt x="4436" y="1226"/>
                    </a:cubicBezTo>
                    <a:moveTo>
                      <a:pt x="1359" y="8813"/>
                    </a:moveTo>
                    <a:cubicBezTo>
                      <a:pt x="1359" y="8813"/>
                      <a:pt x="3361" y="3735"/>
                      <a:pt x="262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369"/>
        <p:cNvGrpSpPr/>
        <p:nvPr/>
      </p:nvGrpSpPr>
      <p:grpSpPr>
        <a:xfrm>
          <a:off x="0" y="0"/>
          <a:ext cx="0" cy="0"/>
          <a:chOff x="0" y="0"/>
          <a:chExt cx="0" cy="0"/>
        </a:xfrm>
      </p:grpSpPr>
      <p:grpSp>
        <p:nvGrpSpPr>
          <p:cNvPr id="370" name="Google Shape;370;p7"/>
          <p:cNvGrpSpPr/>
          <p:nvPr/>
        </p:nvGrpSpPr>
        <p:grpSpPr>
          <a:xfrm>
            <a:off x="-434890" y="-462477"/>
            <a:ext cx="10038466" cy="5802360"/>
            <a:chOff x="-434890" y="-462477"/>
            <a:chExt cx="10038466" cy="5802360"/>
          </a:xfrm>
        </p:grpSpPr>
        <p:grpSp>
          <p:nvGrpSpPr>
            <p:cNvPr id="371" name="Google Shape;371;p7"/>
            <p:cNvGrpSpPr/>
            <p:nvPr/>
          </p:nvGrpSpPr>
          <p:grpSpPr>
            <a:xfrm>
              <a:off x="4084099" y="-247277"/>
              <a:ext cx="5519477" cy="5587160"/>
              <a:chOff x="4084099" y="-247277"/>
              <a:chExt cx="5519477" cy="5587160"/>
            </a:xfrm>
          </p:grpSpPr>
          <p:sp>
            <p:nvSpPr>
              <p:cNvPr id="372" name="Google Shape;372;p7"/>
              <p:cNvSpPr/>
              <p:nvPr/>
            </p:nvSpPr>
            <p:spPr>
              <a:xfrm>
                <a:off x="7269136" y="338341"/>
                <a:ext cx="170992" cy="109762"/>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3" name="Google Shape;373;p7"/>
              <p:cNvSpPr/>
              <p:nvPr/>
            </p:nvSpPr>
            <p:spPr>
              <a:xfrm rot="10800000" flipH="1">
                <a:off x="4084099" y="4749528"/>
                <a:ext cx="170992" cy="109762"/>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74" name="Google Shape;374;p7"/>
              <p:cNvGrpSpPr/>
              <p:nvPr/>
            </p:nvGrpSpPr>
            <p:grpSpPr>
              <a:xfrm rot="10800000">
                <a:off x="8292607" y="-247277"/>
                <a:ext cx="1169044" cy="1535771"/>
                <a:chOff x="3255967" y="2507600"/>
                <a:chExt cx="1305465" cy="1715179"/>
              </a:xfrm>
            </p:grpSpPr>
            <p:sp>
              <p:nvSpPr>
                <p:cNvPr id="375" name="Google Shape;375;p7"/>
                <p:cNvSpPr/>
                <p:nvPr/>
              </p:nvSpPr>
              <p:spPr>
                <a:xfrm>
                  <a:off x="4191774" y="3356698"/>
                  <a:ext cx="369658" cy="519086"/>
                </a:xfrm>
                <a:custGeom>
                  <a:avLst/>
                  <a:gdLst/>
                  <a:ahLst/>
                  <a:cxnLst/>
                  <a:rect l="l" t="t" r="r" b="b"/>
                  <a:pathLst>
                    <a:path w="11711" h="16445" extrusionOk="0">
                      <a:moveTo>
                        <a:pt x="10695" y="0"/>
                      </a:moveTo>
                      <a:cubicBezTo>
                        <a:pt x="10695" y="0"/>
                        <a:pt x="8962" y="777"/>
                        <a:pt x="7394" y="3032"/>
                      </a:cubicBezTo>
                      <a:lnTo>
                        <a:pt x="7290" y="2256"/>
                      </a:lnTo>
                      <a:cubicBezTo>
                        <a:pt x="7290" y="2256"/>
                        <a:pt x="4691" y="4735"/>
                        <a:pt x="3660" y="6841"/>
                      </a:cubicBezTo>
                      <a:lnTo>
                        <a:pt x="3660" y="5945"/>
                      </a:lnTo>
                      <a:cubicBezTo>
                        <a:pt x="3660" y="5945"/>
                        <a:pt x="1" y="10635"/>
                        <a:pt x="2674" y="16445"/>
                      </a:cubicBezTo>
                      <a:cubicBezTo>
                        <a:pt x="2674" y="16445"/>
                        <a:pt x="5423" y="16370"/>
                        <a:pt x="9067" y="13249"/>
                      </a:cubicBezTo>
                      <a:lnTo>
                        <a:pt x="8529" y="13174"/>
                      </a:lnTo>
                      <a:cubicBezTo>
                        <a:pt x="8529" y="13174"/>
                        <a:pt x="11053" y="9559"/>
                        <a:pt x="11666" y="5930"/>
                      </a:cubicBezTo>
                      <a:lnTo>
                        <a:pt x="11666" y="5930"/>
                      </a:lnTo>
                      <a:lnTo>
                        <a:pt x="11009" y="6184"/>
                      </a:lnTo>
                      <a:cubicBezTo>
                        <a:pt x="11009" y="6184"/>
                        <a:pt x="11711" y="2659"/>
                        <a:pt x="1069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6" name="Google Shape;376;p7"/>
                <p:cNvSpPr/>
                <p:nvPr/>
              </p:nvSpPr>
              <p:spPr>
                <a:xfrm>
                  <a:off x="3567576" y="2507600"/>
                  <a:ext cx="429537" cy="595474"/>
                </a:xfrm>
                <a:custGeom>
                  <a:avLst/>
                  <a:gdLst/>
                  <a:ahLst/>
                  <a:cxnLst/>
                  <a:rect l="l" t="t" r="r" b="b"/>
                  <a:pathLst>
                    <a:path w="13608" h="18865" extrusionOk="0">
                      <a:moveTo>
                        <a:pt x="1300" y="1"/>
                      </a:moveTo>
                      <a:lnTo>
                        <a:pt x="1315" y="31"/>
                      </a:lnTo>
                      <a:lnTo>
                        <a:pt x="1300" y="16"/>
                      </a:lnTo>
                      <a:cubicBezTo>
                        <a:pt x="1106" y="554"/>
                        <a:pt x="1211" y="2779"/>
                        <a:pt x="1211" y="2779"/>
                      </a:cubicBezTo>
                      <a:lnTo>
                        <a:pt x="539" y="2421"/>
                      </a:lnTo>
                      <a:lnTo>
                        <a:pt x="539" y="2421"/>
                      </a:lnTo>
                      <a:cubicBezTo>
                        <a:pt x="434" y="3317"/>
                        <a:pt x="1255" y="6408"/>
                        <a:pt x="1270" y="6513"/>
                      </a:cubicBezTo>
                      <a:lnTo>
                        <a:pt x="1" y="6080"/>
                      </a:lnTo>
                      <a:lnTo>
                        <a:pt x="1" y="6080"/>
                      </a:lnTo>
                      <a:cubicBezTo>
                        <a:pt x="583" y="8783"/>
                        <a:pt x="4332" y="13309"/>
                        <a:pt x="4332" y="13309"/>
                      </a:cubicBezTo>
                      <a:lnTo>
                        <a:pt x="3152" y="13488"/>
                      </a:lnTo>
                      <a:cubicBezTo>
                        <a:pt x="6677" y="17924"/>
                        <a:pt x="12995" y="18865"/>
                        <a:pt x="12995" y="18865"/>
                      </a:cubicBezTo>
                      <a:cubicBezTo>
                        <a:pt x="13010" y="18820"/>
                        <a:pt x="13040" y="18775"/>
                        <a:pt x="13055" y="18731"/>
                      </a:cubicBezTo>
                      <a:cubicBezTo>
                        <a:pt x="13085" y="18686"/>
                        <a:pt x="13100" y="18641"/>
                        <a:pt x="13115" y="18596"/>
                      </a:cubicBezTo>
                      <a:cubicBezTo>
                        <a:pt x="13144" y="18536"/>
                        <a:pt x="13159" y="18492"/>
                        <a:pt x="13174" y="18447"/>
                      </a:cubicBezTo>
                      <a:cubicBezTo>
                        <a:pt x="13189" y="18402"/>
                        <a:pt x="13204" y="18342"/>
                        <a:pt x="13219" y="18297"/>
                      </a:cubicBezTo>
                      <a:cubicBezTo>
                        <a:pt x="13249" y="18238"/>
                        <a:pt x="13264" y="18193"/>
                        <a:pt x="13279" y="18148"/>
                      </a:cubicBezTo>
                      <a:cubicBezTo>
                        <a:pt x="13294" y="18088"/>
                        <a:pt x="13309" y="18029"/>
                        <a:pt x="13324" y="17984"/>
                      </a:cubicBezTo>
                      <a:cubicBezTo>
                        <a:pt x="13339" y="17924"/>
                        <a:pt x="13353" y="17864"/>
                        <a:pt x="13353" y="17819"/>
                      </a:cubicBezTo>
                      <a:cubicBezTo>
                        <a:pt x="13368" y="17760"/>
                        <a:pt x="13383" y="17700"/>
                        <a:pt x="13398" y="17640"/>
                      </a:cubicBezTo>
                      <a:cubicBezTo>
                        <a:pt x="13413" y="17595"/>
                        <a:pt x="13413" y="17536"/>
                        <a:pt x="13428" y="17476"/>
                      </a:cubicBezTo>
                      <a:cubicBezTo>
                        <a:pt x="13443" y="17416"/>
                        <a:pt x="13458" y="17356"/>
                        <a:pt x="13458" y="17297"/>
                      </a:cubicBezTo>
                      <a:cubicBezTo>
                        <a:pt x="13473" y="17237"/>
                        <a:pt x="13488" y="17177"/>
                        <a:pt x="13488" y="17117"/>
                      </a:cubicBezTo>
                      <a:cubicBezTo>
                        <a:pt x="13503" y="17058"/>
                        <a:pt x="13503" y="16983"/>
                        <a:pt x="13518" y="16923"/>
                      </a:cubicBezTo>
                      <a:cubicBezTo>
                        <a:pt x="13518" y="16864"/>
                        <a:pt x="13533" y="16804"/>
                        <a:pt x="13533" y="16744"/>
                      </a:cubicBezTo>
                      <a:cubicBezTo>
                        <a:pt x="13548" y="16669"/>
                        <a:pt x="13548" y="16610"/>
                        <a:pt x="13548" y="16550"/>
                      </a:cubicBezTo>
                      <a:cubicBezTo>
                        <a:pt x="13563" y="16490"/>
                        <a:pt x="13563" y="16415"/>
                        <a:pt x="13578" y="16356"/>
                      </a:cubicBezTo>
                      <a:cubicBezTo>
                        <a:pt x="13578" y="16281"/>
                        <a:pt x="13578" y="16221"/>
                        <a:pt x="13578" y="16162"/>
                      </a:cubicBezTo>
                      <a:cubicBezTo>
                        <a:pt x="13592" y="16087"/>
                        <a:pt x="13592" y="16027"/>
                        <a:pt x="13592" y="15952"/>
                      </a:cubicBezTo>
                      <a:cubicBezTo>
                        <a:pt x="13592" y="15893"/>
                        <a:pt x="13607" y="15818"/>
                        <a:pt x="13607" y="15758"/>
                      </a:cubicBezTo>
                      <a:cubicBezTo>
                        <a:pt x="13607" y="15684"/>
                        <a:pt x="13607" y="15624"/>
                        <a:pt x="13607" y="15549"/>
                      </a:cubicBezTo>
                      <a:cubicBezTo>
                        <a:pt x="13607" y="15489"/>
                        <a:pt x="13607" y="15415"/>
                        <a:pt x="13607" y="15355"/>
                      </a:cubicBezTo>
                      <a:cubicBezTo>
                        <a:pt x="13607" y="15280"/>
                        <a:pt x="13607" y="15206"/>
                        <a:pt x="13607" y="15146"/>
                      </a:cubicBezTo>
                      <a:cubicBezTo>
                        <a:pt x="13607" y="15071"/>
                        <a:pt x="13607" y="15012"/>
                        <a:pt x="13607" y="14937"/>
                      </a:cubicBezTo>
                      <a:cubicBezTo>
                        <a:pt x="13607" y="14862"/>
                        <a:pt x="13607" y="14802"/>
                        <a:pt x="13607" y="14728"/>
                      </a:cubicBezTo>
                      <a:cubicBezTo>
                        <a:pt x="13607" y="14668"/>
                        <a:pt x="13607" y="14593"/>
                        <a:pt x="13607" y="14519"/>
                      </a:cubicBezTo>
                      <a:cubicBezTo>
                        <a:pt x="13607" y="14459"/>
                        <a:pt x="13607" y="14384"/>
                        <a:pt x="13592" y="14310"/>
                      </a:cubicBezTo>
                      <a:cubicBezTo>
                        <a:pt x="13592" y="14250"/>
                        <a:pt x="13592" y="14175"/>
                        <a:pt x="13592" y="14115"/>
                      </a:cubicBezTo>
                      <a:cubicBezTo>
                        <a:pt x="13592" y="14041"/>
                        <a:pt x="13592" y="13966"/>
                        <a:pt x="13578" y="13906"/>
                      </a:cubicBezTo>
                      <a:cubicBezTo>
                        <a:pt x="13578" y="13832"/>
                        <a:pt x="13578" y="13772"/>
                        <a:pt x="13578" y="13697"/>
                      </a:cubicBezTo>
                      <a:cubicBezTo>
                        <a:pt x="13428" y="11233"/>
                        <a:pt x="12980" y="8962"/>
                        <a:pt x="12980" y="8962"/>
                      </a:cubicBezTo>
                      <a:lnTo>
                        <a:pt x="12547" y="9754"/>
                      </a:lnTo>
                      <a:cubicBezTo>
                        <a:pt x="11755" y="6737"/>
                        <a:pt x="8425" y="3138"/>
                        <a:pt x="8425" y="3138"/>
                      </a:cubicBezTo>
                      <a:lnTo>
                        <a:pt x="8425" y="3152"/>
                      </a:lnTo>
                      <a:lnTo>
                        <a:pt x="8440" y="4064"/>
                      </a:lnTo>
                      <a:cubicBezTo>
                        <a:pt x="7439" y="2630"/>
                        <a:pt x="5094" y="1285"/>
                        <a:pt x="5094" y="1285"/>
                      </a:cubicBezTo>
                      <a:lnTo>
                        <a:pt x="5094" y="1300"/>
                      </a:lnTo>
                      <a:lnTo>
                        <a:pt x="5109" y="1883"/>
                      </a:lnTo>
                      <a:cubicBezTo>
                        <a:pt x="4034" y="1002"/>
                        <a:pt x="1390" y="31"/>
                        <a:pt x="130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7" name="Google Shape;377;p7"/>
                <p:cNvSpPr/>
                <p:nvPr/>
              </p:nvSpPr>
              <p:spPr>
                <a:xfrm>
                  <a:off x="4137577" y="3199694"/>
                  <a:ext cx="207445" cy="272059"/>
                </a:xfrm>
                <a:custGeom>
                  <a:avLst/>
                  <a:gdLst/>
                  <a:ahLst/>
                  <a:cxnLst/>
                  <a:rect l="l" t="t" r="r" b="b"/>
                  <a:pathLst>
                    <a:path w="6572" h="8619" extrusionOk="0">
                      <a:moveTo>
                        <a:pt x="6199" y="1"/>
                      </a:moveTo>
                      <a:lnTo>
                        <a:pt x="6199" y="1"/>
                      </a:lnTo>
                      <a:cubicBezTo>
                        <a:pt x="4630" y="300"/>
                        <a:pt x="3555" y="1420"/>
                        <a:pt x="3555" y="1420"/>
                      </a:cubicBezTo>
                      <a:lnTo>
                        <a:pt x="3316" y="807"/>
                      </a:lnTo>
                      <a:cubicBezTo>
                        <a:pt x="2241" y="1509"/>
                        <a:pt x="1583" y="4078"/>
                        <a:pt x="1583" y="4078"/>
                      </a:cubicBezTo>
                      <a:lnTo>
                        <a:pt x="1285" y="3660"/>
                      </a:lnTo>
                      <a:lnTo>
                        <a:pt x="1285" y="3660"/>
                      </a:lnTo>
                      <a:cubicBezTo>
                        <a:pt x="0" y="6020"/>
                        <a:pt x="1389" y="8619"/>
                        <a:pt x="1389" y="8619"/>
                      </a:cubicBezTo>
                      <a:cubicBezTo>
                        <a:pt x="3540" y="8365"/>
                        <a:pt x="5228" y="6408"/>
                        <a:pt x="5228" y="6408"/>
                      </a:cubicBezTo>
                      <a:lnTo>
                        <a:pt x="5228" y="6408"/>
                      </a:lnTo>
                      <a:lnTo>
                        <a:pt x="4436" y="6573"/>
                      </a:lnTo>
                      <a:cubicBezTo>
                        <a:pt x="5691" y="5736"/>
                        <a:pt x="6527" y="3302"/>
                        <a:pt x="6572" y="3197"/>
                      </a:cubicBezTo>
                      <a:lnTo>
                        <a:pt x="6572" y="3197"/>
                      </a:lnTo>
                      <a:lnTo>
                        <a:pt x="5945" y="3451"/>
                      </a:lnTo>
                      <a:cubicBezTo>
                        <a:pt x="6467" y="2286"/>
                        <a:pt x="6199" y="1"/>
                        <a:pt x="619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8" name="Google Shape;378;p7"/>
                <p:cNvSpPr/>
                <p:nvPr/>
              </p:nvSpPr>
              <p:spPr>
                <a:xfrm>
                  <a:off x="3255967" y="2989439"/>
                  <a:ext cx="652512" cy="337619"/>
                </a:xfrm>
                <a:custGeom>
                  <a:avLst/>
                  <a:gdLst/>
                  <a:ahLst/>
                  <a:cxnLst/>
                  <a:rect l="l" t="t" r="r" b="b"/>
                  <a:pathLst>
                    <a:path w="20672" h="10696" extrusionOk="0">
                      <a:moveTo>
                        <a:pt x="12427" y="0"/>
                      </a:moveTo>
                      <a:lnTo>
                        <a:pt x="12427" y="15"/>
                      </a:lnTo>
                      <a:lnTo>
                        <a:pt x="12681" y="658"/>
                      </a:lnTo>
                      <a:cubicBezTo>
                        <a:pt x="12576" y="629"/>
                        <a:pt x="11042" y="273"/>
                        <a:pt x="9055" y="273"/>
                      </a:cubicBezTo>
                      <a:cubicBezTo>
                        <a:pt x="7921" y="273"/>
                        <a:pt x="6640" y="389"/>
                        <a:pt x="5392" y="747"/>
                      </a:cubicBezTo>
                      <a:lnTo>
                        <a:pt x="5407" y="762"/>
                      </a:lnTo>
                      <a:lnTo>
                        <a:pt x="5392" y="762"/>
                      </a:lnTo>
                      <a:lnTo>
                        <a:pt x="6109" y="1330"/>
                      </a:lnTo>
                      <a:cubicBezTo>
                        <a:pt x="5870" y="1434"/>
                        <a:pt x="2286" y="2943"/>
                        <a:pt x="0" y="5796"/>
                      </a:cubicBezTo>
                      <a:cubicBezTo>
                        <a:pt x="165" y="5945"/>
                        <a:pt x="1972" y="7588"/>
                        <a:pt x="4466" y="8155"/>
                      </a:cubicBezTo>
                      <a:lnTo>
                        <a:pt x="3689" y="8514"/>
                      </a:lnTo>
                      <a:cubicBezTo>
                        <a:pt x="3689" y="8514"/>
                        <a:pt x="7041" y="10001"/>
                        <a:pt x="10015" y="10001"/>
                      </a:cubicBezTo>
                      <a:cubicBezTo>
                        <a:pt x="10224" y="10001"/>
                        <a:pt x="10431" y="9993"/>
                        <a:pt x="10635" y="9978"/>
                      </a:cubicBezTo>
                      <a:lnTo>
                        <a:pt x="10635" y="9978"/>
                      </a:lnTo>
                      <a:lnTo>
                        <a:pt x="9604" y="10575"/>
                      </a:lnTo>
                      <a:cubicBezTo>
                        <a:pt x="9604" y="10575"/>
                        <a:pt x="10408" y="10695"/>
                        <a:pt x="11654" y="10695"/>
                      </a:cubicBezTo>
                      <a:cubicBezTo>
                        <a:pt x="13921" y="10695"/>
                        <a:pt x="17654" y="10297"/>
                        <a:pt x="20671" y="8051"/>
                      </a:cubicBezTo>
                      <a:lnTo>
                        <a:pt x="20671" y="8036"/>
                      </a:lnTo>
                      <a:lnTo>
                        <a:pt x="20657" y="8021"/>
                      </a:lnTo>
                      <a:lnTo>
                        <a:pt x="20642" y="7991"/>
                      </a:lnTo>
                      <a:lnTo>
                        <a:pt x="20627" y="7946"/>
                      </a:lnTo>
                      <a:lnTo>
                        <a:pt x="20612" y="7901"/>
                      </a:lnTo>
                      <a:lnTo>
                        <a:pt x="20582" y="7857"/>
                      </a:lnTo>
                      <a:lnTo>
                        <a:pt x="20567" y="7797"/>
                      </a:lnTo>
                      <a:lnTo>
                        <a:pt x="20537" y="7722"/>
                      </a:lnTo>
                      <a:lnTo>
                        <a:pt x="20507" y="7648"/>
                      </a:lnTo>
                      <a:lnTo>
                        <a:pt x="20462" y="7573"/>
                      </a:lnTo>
                      <a:lnTo>
                        <a:pt x="20418" y="7483"/>
                      </a:lnTo>
                      <a:lnTo>
                        <a:pt x="20373" y="7394"/>
                      </a:lnTo>
                      <a:lnTo>
                        <a:pt x="20328" y="7304"/>
                      </a:lnTo>
                      <a:cubicBezTo>
                        <a:pt x="20313" y="7274"/>
                        <a:pt x="20298" y="7229"/>
                        <a:pt x="20283" y="7200"/>
                      </a:cubicBezTo>
                      <a:cubicBezTo>
                        <a:pt x="19402" y="5467"/>
                        <a:pt x="17012" y="1613"/>
                        <a:pt x="1242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9" name="Google Shape;379;p7"/>
                <p:cNvSpPr/>
                <p:nvPr/>
              </p:nvSpPr>
              <p:spPr>
                <a:xfrm>
                  <a:off x="3675560" y="3494669"/>
                  <a:ext cx="490331" cy="341123"/>
                </a:xfrm>
                <a:custGeom>
                  <a:avLst/>
                  <a:gdLst/>
                  <a:ahLst/>
                  <a:cxnLst/>
                  <a:rect l="l" t="t" r="r" b="b"/>
                  <a:pathLst>
                    <a:path w="15534" h="10807" extrusionOk="0">
                      <a:moveTo>
                        <a:pt x="1855" y="1"/>
                      </a:moveTo>
                      <a:cubicBezTo>
                        <a:pt x="1234" y="1"/>
                        <a:pt x="602" y="57"/>
                        <a:pt x="0" y="200"/>
                      </a:cubicBezTo>
                      <a:cubicBezTo>
                        <a:pt x="0" y="200"/>
                        <a:pt x="553" y="2022"/>
                        <a:pt x="2569" y="3874"/>
                      </a:cubicBezTo>
                      <a:lnTo>
                        <a:pt x="1778" y="3874"/>
                      </a:lnTo>
                      <a:cubicBezTo>
                        <a:pt x="1778" y="3874"/>
                        <a:pt x="3898" y="6787"/>
                        <a:pt x="5855" y="8071"/>
                      </a:cubicBezTo>
                      <a:lnTo>
                        <a:pt x="4959" y="7952"/>
                      </a:lnTo>
                      <a:lnTo>
                        <a:pt x="4959" y="7952"/>
                      </a:lnTo>
                      <a:cubicBezTo>
                        <a:pt x="4959" y="7952"/>
                        <a:pt x="7764" y="10807"/>
                        <a:pt x="12135" y="10807"/>
                      </a:cubicBezTo>
                      <a:cubicBezTo>
                        <a:pt x="13101" y="10807"/>
                        <a:pt x="14144" y="10667"/>
                        <a:pt x="15250" y="10326"/>
                      </a:cubicBezTo>
                      <a:cubicBezTo>
                        <a:pt x="15250" y="10326"/>
                        <a:pt x="15533" y="7593"/>
                        <a:pt x="12935" y="3575"/>
                      </a:cubicBezTo>
                      <a:lnTo>
                        <a:pt x="12785" y="4083"/>
                      </a:lnTo>
                      <a:cubicBezTo>
                        <a:pt x="12785" y="4083"/>
                        <a:pt x="9529" y="1096"/>
                        <a:pt x="6004" y="36"/>
                      </a:cubicBezTo>
                      <a:lnTo>
                        <a:pt x="6004" y="36"/>
                      </a:lnTo>
                      <a:lnTo>
                        <a:pt x="6169" y="723"/>
                      </a:lnTo>
                      <a:cubicBezTo>
                        <a:pt x="6169" y="723"/>
                        <a:pt x="4085" y="1"/>
                        <a:pt x="185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0" name="Google Shape;380;p7"/>
                <p:cNvSpPr/>
                <p:nvPr/>
              </p:nvSpPr>
              <p:spPr>
                <a:xfrm>
                  <a:off x="3688281" y="2611322"/>
                  <a:ext cx="602544" cy="1611456"/>
                </a:xfrm>
                <a:custGeom>
                  <a:avLst/>
                  <a:gdLst/>
                  <a:ahLst/>
                  <a:cxnLst/>
                  <a:rect l="l" t="t" r="r" b="b"/>
                  <a:pathLst>
                    <a:path w="19089" h="51052" extrusionOk="0">
                      <a:moveTo>
                        <a:pt x="120" y="1"/>
                      </a:moveTo>
                      <a:lnTo>
                        <a:pt x="0" y="76"/>
                      </a:lnTo>
                      <a:cubicBezTo>
                        <a:pt x="717" y="972"/>
                        <a:pt x="1375" y="1913"/>
                        <a:pt x="2017" y="2854"/>
                      </a:cubicBezTo>
                      <a:cubicBezTo>
                        <a:pt x="2674" y="3795"/>
                        <a:pt x="3286" y="4780"/>
                        <a:pt x="3869" y="5751"/>
                      </a:cubicBezTo>
                      <a:cubicBezTo>
                        <a:pt x="5064" y="7693"/>
                        <a:pt x="6184" y="9694"/>
                        <a:pt x="7229" y="11740"/>
                      </a:cubicBezTo>
                      <a:cubicBezTo>
                        <a:pt x="9291" y="15818"/>
                        <a:pt x="11098" y="20045"/>
                        <a:pt x="12636" y="24361"/>
                      </a:cubicBezTo>
                      <a:cubicBezTo>
                        <a:pt x="12830" y="24884"/>
                        <a:pt x="13010" y="25437"/>
                        <a:pt x="13204" y="25974"/>
                      </a:cubicBezTo>
                      <a:cubicBezTo>
                        <a:pt x="13398" y="26527"/>
                        <a:pt x="13592" y="27065"/>
                        <a:pt x="13756" y="27602"/>
                      </a:cubicBezTo>
                      <a:lnTo>
                        <a:pt x="14279" y="29245"/>
                      </a:lnTo>
                      <a:lnTo>
                        <a:pt x="14772" y="30888"/>
                      </a:lnTo>
                      <a:lnTo>
                        <a:pt x="15011" y="31710"/>
                      </a:lnTo>
                      <a:lnTo>
                        <a:pt x="15250" y="32531"/>
                      </a:lnTo>
                      <a:lnTo>
                        <a:pt x="15698" y="34189"/>
                      </a:lnTo>
                      <a:lnTo>
                        <a:pt x="16116" y="35847"/>
                      </a:lnTo>
                      <a:lnTo>
                        <a:pt x="16325" y="36683"/>
                      </a:lnTo>
                      <a:lnTo>
                        <a:pt x="16505" y="37520"/>
                      </a:lnTo>
                      <a:cubicBezTo>
                        <a:pt x="17535" y="41986"/>
                        <a:pt x="18342" y="46511"/>
                        <a:pt x="18879" y="51052"/>
                      </a:cubicBezTo>
                      <a:lnTo>
                        <a:pt x="19088" y="51022"/>
                      </a:lnTo>
                      <a:cubicBezTo>
                        <a:pt x="18536" y="46466"/>
                        <a:pt x="17729" y="41941"/>
                        <a:pt x="16684" y="37490"/>
                      </a:cubicBezTo>
                      <a:lnTo>
                        <a:pt x="16505" y="36653"/>
                      </a:lnTo>
                      <a:lnTo>
                        <a:pt x="16295" y="35817"/>
                      </a:lnTo>
                      <a:lnTo>
                        <a:pt x="15862" y="34144"/>
                      </a:lnTo>
                      <a:lnTo>
                        <a:pt x="15414" y="32471"/>
                      </a:lnTo>
                      <a:lnTo>
                        <a:pt x="15175" y="31650"/>
                      </a:lnTo>
                      <a:lnTo>
                        <a:pt x="14936" y="30828"/>
                      </a:lnTo>
                      <a:lnTo>
                        <a:pt x="14443" y="29186"/>
                      </a:lnTo>
                      <a:lnTo>
                        <a:pt x="13921" y="27558"/>
                      </a:lnTo>
                      <a:cubicBezTo>
                        <a:pt x="13741" y="27005"/>
                        <a:pt x="13562" y="26452"/>
                        <a:pt x="13368" y="25915"/>
                      </a:cubicBezTo>
                      <a:cubicBezTo>
                        <a:pt x="13189" y="25377"/>
                        <a:pt x="13010" y="24839"/>
                        <a:pt x="12800" y="24302"/>
                      </a:cubicBezTo>
                      <a:cubicBezTo>
                        <a:pt x="11247" y="19985"/>
                        <a:pt x="9425" y="15758"/>
                        <a:pt x="7349" y="11681"/>
                      </a:cubicBezTo>
                      <a:cubicBezTo>
                        <a:pt x="6303" y="9649"/>
                        <a:pt x="5183" y="7648"/>
                        <a:pt x="3988" y="5676"/>
                      </a:cubicBezTo>
                      <a:cubicBezTo>
                        <a:pt x="3391" y="4706"/>
                        <a:pt x="2779" y="3735"/>
                        <a:pt x="2136" y="2779"/>
                      </a:cubicBezTo>
                      <a:cubicBezTo>
                        <a:pt x="1494" y="1838"/>
                        <a:pt x="822" y="897"/>
                        <a:pt x="120" y="1"/>
                      </a:cubicBez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1" name="Google Shape;381;p7"/>
                <p:cNvSpPr/>
                <p:nvPr/>
              </p:nvSpPr>
              <p:spPr>
                <a:xfrm>
                  <a:off x="3347884" y="3087985"/>
                  <a:ext cx="723722" cy="239515"/>
                </a:xfrm>
                <a:custGeom>
                  <a:avLst/>
                  <a:gdLst/>
                  <a:ahLst/>
                  <a:cxnLst/>
                  <a:rect l="l" t="t" r="r" b="b"/>
                  <a:pathLst>
                    <a:path w="22928" h="7588" fill="none" extrusionOk="0">
                      <a:moveTo>
                        <a:pt x="22927" y="7587"/>
                      </a:moveTo>
                      <a:cubicBezTo>
                        <a:pt x="22927" y="7587"/>
                        <a:pt x="11785" y="0"/>
                        <a:pt x="1" y="227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2" name="Google Shape;382;p7"/>
                <p:cNvSpPr/>
                <p:nvPr/>
              </p:nvSpPr>
              <p:spPr>
                <a:xfrm>
                  <a:off x="4023470" y="2831962"/>
                  <a:ext cx="318270" cy="431430"/>
                </a:xfrm>
                <a:custGeom>
                  <a:avLst/>
                  <a:gdLst/>
                  <a:ahLst/>
                  <a:cxnLst/>
                  <a:rect l="l" t="t" r="r" b="b"/>
                  <a:pathLst>
                    <a:path w="10083" h="13668" extrusionOk="0">
                      <a:moveTo>
                        <a:pt x="9933" y="3376"/>
                      </a:moveTo>
                      <a:cubicBezTo>
                        <a:pt x="9933" y="3376"/>
                        <a:pt x="9933" y="3376"/>
                        <a:pt x="9933" y="3376"/>
                      </a:cubicBezTo>
                      <a:lnTo>
                        <a:pt x="9933" y="3376"/>
                      </a:lnTo>
                      <a:lnTo>
                        <a:pt x="9933" y="3376"/>
                      </a:lnTo>
                      <a:close/>
                      <a:moveTo>
                        <a:pt x="9739" y="1"/>
                      </a:moveTo>
                      <a:lnTo>
                        <a:pt x="9739" y="1"/>
                      </a:lnTo>
                      <a:cubicBezTo>
                        <a:pt x="6976" y="270"/>
                        <a:pt x="4526" y="1987"/>
                        <a:pt x="4526" y="1987"/>
                      </a:cubicBezTo>
                      <a:lnTo>
                        <a:pt x="4467" y="1300"/>
                      </a:lnTo>
                      <a:cubicBezTo>
                        <a:pt x="2420" y="3048"/>
                        <a:pt x="1450" y="5751"/>
                        <a:pt x="1450" y="5751"/>
                      </a:cubicBezTo>
                      <a:lnTo>
                        <a:pt x="1151" y="5333"/>
                      </a:lnTo>
                      <a:lnTo>
                        <a:pt x="1151" y="5333"/>
                      </a:lnTo>
                      <a:cubicBezTo>
                        <a:pt x="1" y="9859"/>
                        <a:pt x="2764" y="13667"/>
                        <a:pt x="2764" y="13667"/>
                      </a:cubicBezTo>
                      <a:cubicBezTo>
                        <a:pt x="6811" y="12174"/>
                        <a:pt x="8798" y="7858"/>
                        <a:pt x="8798" y="7857"/>
                      </a:cubicBezTo>
                      <a:lnTo>
                        <a:pt x="8798" y="7857"/>
                      </a:lnTo>
                      <a:lnTo>
                        <a:pt x="8006" y="8260"/>
                      </a:lnTo>
                      <a:cubicBezTo>
                        <a:pt x="9406" y="6444"/>
                        <a:pt x="9915" y="3397"/>
                        <a:pt x="9933" y="3376"/>
                      </a:cubicBezTo>
                      <a:lnTo>
                        <a:pt x="9933" y="3376"/>
                      </a:lnTo>
                      <a:lnTo>
                        <a:pt x="9395" y="3705"/>
                      </a:lnTo>
                      <a:cubicBezTo>
                        <a:pt x="10082" y="1853"/>
                        <a:pt x="9739" y="1"/>
                        <a:pt x="973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3" name="Google Shape;383;p7"/>
                <p:cNvSpPr/>
                <p:nvPr/>
              </p:nvSpPr>
              <p:spPr>
                <a:xfrm>
                  <a:off x="4090893" y="2884296"/>
                  <a:ext cx="194756" cy="513436"/>
                </a:xfrm>
                <a:custGeom>
                  <a:avLst/>
                  <a:gdLst/>
                  <a:ahLst/>
                  <a:cxnLst/>
                  <a:rect l="l" t="t" r="r" b="b"/>
                  <a:pathLst>
                    <a:path w="6170" h="16266" fill="none" extrusionOk="0">
                      <a:moveTo>
                        <a:pt x="180" y="16266"/>
                      </a:moveTo>
                      <a:cubicBezTo>
                        <a:pt x="180" y="16266"/>
                        <a:pt x="1" y="6334"/>
                        <a:pt x="616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4" name="Google Shape;384;p7"/>
                <p:cNvSpPr/>
                <p:nvPr/>
              </p:nvSpPr>
              <p:spPr>
                <a:xfrm>
                  <a:off x="3751443" y="3534914"/>
                  <a:ext cx="495065" cy="419625"/>
                </a:xfrm>
                <a:custGeom>
                  <a:avLst/>
                  <a:gdLst/>
                  <a:ahLst/>
                  <a:cxnLst/>
                  <a:rect l="l" t="t" r="r" b="b"/>
                  <a:pathLst>
                    <a:path w="15684" h="13294" fill="none" extrusionOk="0">
                      <a:moveTo>
                        <a:pt x="1" y="0"/>
                      </a:moveTo>
                      <a:cubicBezTo>
                        <a:pt x="1" y="0"/>
                        <a:pt x="13368" y="6781"/>
                        <a:pt x="15683" y="1329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385;p7"/>
                <p:cNvSpPr/>
                <p:nvPr/>
              </p:nvSpPr>
              <p:spPr>
                <a:xfrm>
                  <a:off x="4225265" y="3427404"/>
                  <a:ext cx="260727" cy="608699"/>
                </a:xfrm>
                <a:custGeom>
                  <a:avLst/>
                  <a:gdLst/>
                  <a:ahLst/>
                  <a:cxnLst/>
                  <a:rect l="l" t="t" r="r" b="b"/>
                  <a:pathLst>
                    <a:path w="8260" h="19284" fill="none" extrusionOk="0">
                      <a:moveTo>
                        <a:pt x="8260" y="1"/>
                      </a:moveTo>
                      <a:cubicBezTo>
                        <a:pt x="8260" y="1"/>
                        <a:pt x="0" y="12502"/>
                        <a:pt x="1180" y="1928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6" name="Google Shape;386;p7"/>
                <p:cNvSpPr/>
                <p:nvPr/>
              </p:nvSpPr>
              <p:spPr>
                <a:xfrm>
                  <a:off x="3786827" y="3358119"/>
                  <a:ext cx="384714" cy="273479"/>
                </a:xfrm>
                <a:custGeom>
                  <a:avLst/>
                  <a:gdLst/>
                  <a:ahLst/>
                  <a:cxnLst/>
                  <a:rect l="l" t="t" r="r" b="b"/>
                  <a:pathLst>
                    <a:path w="12188" h="8664" fill="none" extrusionOk="0">
                      <a:moveTo>
                        <a:pt x="12188" y="8663"/>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7"/>
                <p:cNvSpPr/>
                <p:nvPr/>
              </p:nvSpPr>
              <p:spPr>
                <a:xfrm>
                  <a:off x="3934835" y="3380751"/>
                  <a:ext cx="22664" cy="98546"/>
                </a:xfrm>
                <a:custGeom>
                  <a:avLst/>
                  <a:gdLst/>
                  <a:ahLst/>
                  <a:cxnLst/>
                  <a:rect l="l" t="t" r="r" b="b"/>
                  <a:pathLst>
                    <a:path w="718" h="3122" fill="none" extrusionOk="0">
                      <a:moveTo>
                        <a:pt x="1" y="0"/>
                      </a:moveTo>
                      <a:lnTo>
                        <a:pt x="718" y="312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388;p7"/>
                <p:cNvSpPr/>
                <p:nvPr/>
              </p:nvSpPr>
              <p:spPr>
                <a:xfrm>
                  <a:off x="4149824" y="3259099"/>
                  <a:ext cx="148545" cy="298479"/>
                </a:xfrm>
                <a:custGeom>
                  <a:avLst/>
                  <a:gdLst/>
                  <a:ahLst/>
                  <a:cxnLst/>
                  <a:rect l="l" t="t" r="r" b="b"/>
                  <a:pathLst>
                    <a:path w="4706" h="9456" fill="none" extrusionOk="0">
                      <a:moveTo>
                        <a:pt x="1" y="9455"/>
                      </a:moveTo>
                      <a:cubicBezTo>
                        <a:pt x="1" y="9455"/>
                        <a:pt x="2286" y="2420"/>
                        <a:pt x="4705"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9" name="Google Shape;389;p7"/>
                <p:cNvSpPr/>
                <p:nvPr/>
              </p:nvSpPr>
              <p:spPr>
                <a:xfrm>
                  <a:off x="4182841" y="3523582"/>
                  <a:ext cx="68370" cy="149965"/>
                </a:xfrm>
                <a:custGeom>
                  <a:avLst/>
                  <a:gdLst/>
                  <a:ahLst/>
                  <a:cxnLst/>
                  <a:rect l="l" t="t" r="r" b="b"/>
                  <a:pathLst>
                    <a:path w="2166" h="4751" fill="none" extrusionOk="0">
                      <a:moveTo>
                        <a:pt x="0" y="4750"/>
                      </a:moveTo>
                      <a:lnTo>
                        <a:pt x="2166"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0" name="Google Shape;390;p7"/>
                <p:cNvSpPr/>
                <p:nvPr/>
              </p:nvSpPr>
              <p:spPr>
                <a:xfrm>
                  <a:off x="4212071" y="3533494"/>
                  <a:ext cx="11805" cy="50472"/>
                </a:xfrm>
                <a:custGeom>
                  <a:avLst/>
                  <a:gdLst/>
                  <a:ahLst/>
                  <a:cxnLst/>
                  <a:rect l="l" t="t" r="r" b="b"/>
                  <a:pathLst>
                    <a:path w="374" h="1599" fill="none" extrusionOk="0">
                      <a:moveTo>
                        <a:pt x="0" y="0"/>
                      </a:moveTo>
                      <a:lnTo>
                        <a:pt x="374"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1" name="Google Shape;391;p7"/>
                <p:cNvSpPr/>
                <p:nvPr/>
              </p:nvSpPr>
              <p:spPr>
                <a:xfrm>
                  <a:off x="3668963" y="3201588"/>
                  <a:ext cx="138160" cy="48137"/>
                </a:xfrm>
                <a:custGeom>
                  <a:avLst/>
                  <a:gdLst/>
                  <a:ahLst/>
                  <a:cxnLst/>
                  <a:rect l="l" t="t" r="r" b="b"/>
                  <a:pathLst>
                    <a:path w="4377" h="1525" fill="none" extrusionOk="0">
                      <a:moveTo>
                        <a:pt x="4376" y="1"/>
                      </a:moveTo>
                      <a:lnTo>
                        <a:pt x="0"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2" name="Google Shape;392;p7"/>
                <p:cNvSpPr/>
                <p:nvPr/>
              </p:nvSpPr>
              <p:spPr>
                <a:xfrm>
                  <a:off x="4101751" y="3068636"/>
                  <a:ext cx="28314" cy="98577"/>
                </a:xfrm>
                <a:custGeom>
                  <a:avLst/>
                  <a:gdLst/>
                  <a:ahLst/>
                  <a:cxnLst/>
                  <a:rect l="l" t="t" r="r" b="b"/>
                  <a:pathLst>
                    <a:path w="897" h="3123" fill="none" extrusionOk="0">
                      <a:moveTo>
                        <a:pt x="896" y="312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7"/>
                <p:cNvSpPr/>
                <p:nvPr/>
              </p:nvSpPr>
              <p:spPr>
                <a:xfrm>
                  <a:off x="4178580" y="3003107"/>
                  <a:ext cx="91033" cy="35384"/>
                </a:xfrm>
                <a:custGeom>
                  <a:avLst/>
                  <a:gdLst/>
                  <a:ahLst/>
                  <a:cxnLst/>
                  <a:rect l="l" t="t" r="r" b="b"/>
                  <a:pathLst>
                    <a:path w="2884" h="1121" fill="none" extrusionOk="0">
                      <a:moveTo>
                        <a:pt x="2883" y="1"/>
                      </a:moveTo>
                      <a:lnTo>
                        <a:pt x="1" y="112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4" name="Google Shape;394;p7"/>
                <p:cNvSpPr/>
                <p:nvPr/>
              </p:nvSpPr>
              <p:spPr>
                <a:xfrm>
                  <a:off x="4309638" y="3719727"/>
                  <a:ext cx="96210" cy="48105"/>
                </a:xfrm>
                <a:custGeom>
                  <a:avLst/>
                  <a:gdLst/>
                  <a:ahLst/>
                  <a:cxnLst/>
                  <a:rect l="l" t="t" r="r" b="b"/>
                  <a:pathLst>
                    <a:path w="3048" h="1524" fill="none" extrusionOk="0">
                      <a:moveTo>
                        <a:pt x="3048" y="0"/>
                      </a:moveTo>
                      <a:lnTo>
                        <a:pt x="1"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5" name="Google Shape;395;p7"/>
                <p:cNvSpPr/>
                <p:nvPr/>
              </p:nvSpPr>
              <p:spPr>
                <a:xfrm>
                  <a:off x="4368570" y="3540091"/>
                  <a:ext cx="14173" cy="66034"/>
                </a:xfrm>
                <a:custGeom>
                  <a:avLst/>
                  <a:gdLst/>
                  <a:ahLst/>
                  <a:cxnLst/>
                  <a:rect l="l" t="t" r="r" b="b"/>
                  <a:pathLst>
                    <a:path w="449" h="2092" fill="none" extrusionOk="0">
                      <a:moveTo>
                        <a:pt x="1" y="1"/>
                      </a:moveTo>
                      <a:lnTo>
                        <a:pt x="449" y="20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6" name="Google Shape;396;p7"/>
                <p:cNvSpPr/>
                <p:nvPr/>
              </p:nvSpPr>
              <p:spPr>
                <a:xfrm>
                  <a:off x="3969746" y="3756500"/>
                  <a:ext cx="130616" cy="10385"/>
                </a:xfrm>
                <a:custGeom>
                  <a:avLst/>
                  <a:gdLst/>
                  <a:ahLst/>
                  <a:cxnLst/>
                  <a:rect l="l" t="t" r="r" b="b"/>
                  <a:pathLst>
                    <a:path w="4138" h="329" fill="none" extrusionOk="0">
                      <a:moveTo>
                        <a:pt x="4137" y="329"/>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7"/>
                <p:cNvSpPr/>
                <p:nvPr/>
              </p:nvSpPr>
              <p:spPr>
                <a:xfrm>
                  <a:off x="3956994" y="3585355"/>
                  <a:ext cx="19854" cy="86299"/>
                </a:xfrm>
                <a:custGeom>
                  <a:avLst/>
                  <a:gdLst/>
                  <a:ahLst/>
                  <a:cxnLst/>
                  <a:rect l="l" t="t" r="r" b="b"/>
                  <a:pathLst>
                    <a:path w="629" h="2734" fill="none" extrusionOk="0">
                      <a:moveTo>
                        <a:pt x="1" y="0"/>
                      </a:moveTo>
                      <a:lnTo>
                        <a:pt x="628" y="273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7"/>
                <p:cNvSpPr/>
                <p:nvPr/>
              </p:nvSpPr>
              <p:spPr>
                <a:xfrm>
                  <a:off x="3783513" y="2922490"/>
                  <a:ext cx="124966" cy="38225"/>
                </a:xfrm>
                <a:custGeom>
                  <a:avLst/>
                  <a:gdLst/>
                  <a:ahLst/>
                  <a:cxnLst/>
                  <a:rect l="l" t="t" r="r" b="b"/>
                  <a:pathLst>
                    <a:path w="3959" h="1211" fill="none" extrusionOk="0">
                      <a:moveTo>
                        <a:pt x="3958" y="1210"/>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399;p7"/>
                <p:cNvSpPr/>
                <p:nvPr/>
              </p:nvSpPr>
              <p:spPr>
                <a:xfrm>
                  <a:off x="3824042" y="2697621"/>
                  <a:ext cx="32102" cy="111740"/>
                </a:xfrm>
                <a:custGeom>
                  <a:avLst/>
                  <a:gdLst/>
                  <a:ahLst/>
                  <a:cxnLst/>
                  <a:rect l="l" t="t" r="r" b="b"/>
                  <a:pathLst>
                    <a:path w="1017" h="3540" fill="none" extrusionOk="0">
                      <a:moveTo>
                        <a:pt x="1017" y="0"/>
                      </a:moveTo>
                      <a:lnTo>
                        <a:pt x="1" y="354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00" name="Google Shape;400;p7"/>
              <p:cNvGrpSpPr/>
              <p:nvPr/>
            </p:nvGrpSpPr>
            <p:grpSpPr>
              <a:xfrm>
                <a:off x="8434591" y="2692981"/>
                <a:ext cx="1168985" cy="1136281"/>
                <a:chOff x="4719681" y="3910588"/>
                <a:chExt cx="1477670" cy="1436330"/>
              </a:xfrm>
            </p:grpSpPr>
            <p:sp>
              <p:nvSpPr>
                <p:cNvPr id="401" name="Google Shape;401;p7"/>
                <p:cNvSpPr/>
                <p:nvPr/>
              </p:nvSpPr>
              <p:spPr>
                <a:xfrm>
                  <a:off x="4918697" y="3910588"/>
                  <a:ext cx="1278654" cy="1245050"/>
                </a:xfrm>
                <a:custGeom>
                  <a:avLst/>
                  <a:gdLst/>
                  <a:ahLst/>
                  <a:cxnLst/>
                  <a:rect l="l" t="t" r="r" b="b"/>
                  <a:pathLst>
                    <a:path w="24466" h="23823" extrusionOk="0">
                      <a:moveTo>
                        <a:pt x="1" y="0"/>
                      </a:moveTo>
                      <a:lnTo>
                        <a:pt x="1" y="15"/>
                      </a:lnTo>
                      <a:cubicBezTo>
                        <a:pt x="1" y="15"/>
                        <a:pt x="22" y="37"/>
                        <a:pt x="62" y="77"/>
                      </a:cubicBezTo>
                      <a:lnTo>
                        <a:pt x="62" y="77"/>
                      </a:lnTo>
                      <a:lnTo>
                        <a:pt x="1" y="0"/>
                      </a:lnTo>
                      <a:close/>
                      <a:moveTo>
                        <a:pt x="62" y="77"/>
                      </a:moveTo>
                      <a:lnTo>
                        <a:pt x="18969" y="23823"/>
                      </a:lnTo>
                      <a:lnTo>
                        <a:pt x="22136" y="20417"/>
                      </a:lnTo>
                      <a:lnTo>
                        <a:pt x="21240" y="20776"/>
                      </a:lnTo>
                      <a:lnTo>
                        <a:pt x="21240" y="20776"/>
                      </a:lnTo>
                      <a:lnTo>
                        <a:pt x="24077" y="17953"/>
                      </a:lnTo>
                      <a:lnTo>
                        <a:pt x="23331" y="18058"/>
                      </a:lnTo>
                      <a:lnTo>
                        <a:pt x="23331" y="18058"/>
                      </a:lnTo>
                      <a:lnTo>
                        <a:pt x="24466" y="16400"/>
                      </a:lnTo>
                      <a:lnTo>
                        <a:pt x="24466" y="16400"/>
                      </a:lnTo>
                      <a:cubicBezTo>
                        <a:pt x="24383" y="16414"/>
                        <a:pt x="24307" y="16420"/>
                        <a:pt x="24235" y="16420"/>
                      </a:cubicBezTo>
                      <a:cubicBezTo>
                        <a:pt x="22322" y="16420"/>
                        <a:pt x="24182" y="11591"/>
                        <a:pt x="24182" y="11590"/>
                      </a:cubicBezTo>
                      <a:lnTo>
                        <a:pt x="24182" y="11590"/>
                      </a:lnTo>
                      <a:cubicBezTo>
                        <a:pt x="24104" y="11626"/>
                        <a:pt x="24033" y="11642"/>
                        <a:pt x="23968" y="11642"/>
                      </a:cubicBezTo>
                      <a:cubicBezTo>
                        <a:pt x="23026" y="11642"/>
                        <a:pt x="23510" y="8097"/>
                        <a:pt x="23510" y="8095"/>
                      </a:cubicBezTo>
                      <a:lnTo>
                        <a:pt x="23510" y="8095"/>
                      </a:lnTo>
                      <a:cubicBezTo>
                        <a:pt x="22919" y="10108"/>
                        <a:pt x="21833" y="10302"/>
                        <a:pt x="21435" y="10302"/>
                      </a:cubicBezTo>
                      <a:cubicBezTo>
                        <a:pt x="21340" y="10302"/>
                        <a:pt x="21284" y="10291"/>
                        <a:pt x="21284" y="10291"/>
                      </a:cubicBezTo>
                      <a:cubicBezTo>
                        <a:pt x="21284" y="10291"/>
                        <a:pt x="20344" y="11977"/>
                        <a:pt x="19409" y="11977"/>
                      </a:cubicBezTo>
                      <a:cubicBezTo>
                        <a:pt x="19183" y="11977"/>
                        <a:pt x="18957" y="11879"/>
                        <a:pt x="18745" y="11635"/>
                      </a:cubicBezTo>
                      <a:cubicBezTo>
                        <a:pt x="17640" y="10396"/>
                        <a:pt x="20448" y="8663"/>
                        <a:pt x="20448" y="8663"/>
                      </a:cubicBezTo>
                      <a:lnTo>
                        <a:pt x="20448" y="8663"/>
                      </a:lnTo>
                      <a:cubicBezTo>
                        <a:pt x="20433" y="8664"/>
                        <a:pt x="20418" y="8664"/>
                        <a:pt x="20404" y="8664"/>
                      </a:cubicBezTo>
                      <a:cubicBezTo>
                        <a:pt x="19350" y="8664"/>
                        <a:pt x="21284" y="5960"/>
                        <a:pt x="21284" y="5960"/>
                      </a:cubicBezTo>
                      <a:lnTo>
                        <a:pt x="21284" y="5960"/>
                      </a:lnTo>
                      <a:cubicBezTo>
                        <a:pt x="21199" y="5985"/>
                        <a:pt x="21125" y="5996"/>
                        <a:pt x="21060" y="5996"/>
                      </a:cubicBezTo>
                      <a:cubicBezTo>
                        <a:pt x="20045" y="5996"/>
                        <a:pt x="21404" y="3107"/>
                        <a:pt x="21404" y="3107"/>
                      </a:cubicBezTo>
                      <a:lnTo>
                        <a:pt x="21404" y="3107"/>
                      </a:lnTo>
                      <a:cubicBezTo>
                        <a:pt x="21404" y="3107"/>
                        <a:pt x="21162" y="3309"/>
                        <a:pt x="20897" y="3309"/>
                      </a:cubicBezTo>
                      <a:cubicBezTo>
                        <a:pt x="20801" y="3309"/>
                        <a:pt x="20703" y="3283"/>
                        <a:pt x="20612" y="3211"/>
                      </a:cubicBezTo>
                      <a:cubicBezTo>
                        <a:pt x="20299" y="2928"/>
                        <a:pt x="20791" y="867"/>
                        <a:pt x="20792" y="866"/>
                      </a:cubicBezTo>
                      <a:lnTo>
                        <a:pt x="20792" y="866"/>
                      </a:lnTo>
                      <a:cubicBezTo>
                        <a:pt x="20791" y="867"/>
                        <a:pt x="19940" y="2181"/>
                        <a:pt x="18969" y="2569"/>
                      </a:cubicBezTo>
                      <a:cubicBezTo>
                        <a:pt x="18858" y="2615"/>
                        <a:pt x="18769" y="2636"/>
                        <a:pt x="18700" y="2636"/>
                      </a:cubicBezTo>
                      <a:cubicBezTo>
                        <a:pt x="18164" y="2636"/>
                        <a:pt x="18760" y="1419"/>
                        <a:pt x="18760" y="1419"/>
                      </a:cubicBezTo>
                      <a:lnTo>
                        <a:pt x="18760" y="1419"/>
                      </a:lnTo>
                      <a:cubicBezTo>
                        <a:pt x="18760" y="1419"/>
                        <a:pt x="18118" y="2121"/>
                        <a:pt x="17789" y="2300"/>
                      </a:cubicBezTo>
                      <a:cubicBezTo>
                        <a:pt x="17746" y="2324"/>
                        <a:pt x="17708" y="2335"/>
                        <a:pt x="17675" y="2335"/>
                      </a:cubicBezTo>
                      <a:cubicBezTo>
                        <a:pt x="17465" y="2335"/>
                        <a:pt x="17476" y="1897"/>
                        <a:pt x="17476" y="1897"/>
                      </a:cubicBezTo>
                      <a:lnTo>
                        <a:pt x="17476" y="1897"/>
                      </a:lnTo>
                      <a:cubicBezTo>
                        <a:pt x="17476" y="1897"/>
                        <a:pt x="16744" y="3495"/>
                        <a:pt x="16117" y="4033"/>
                      </a:cubicBezTo>
                      <a:cubicBezTo>
                        <a:pt x="15967" y="4157"/>
                        <a:pt x="15841" y="4205"/>
                        <a:pt x="15735" y="4205"/>
                      </a:cubicBezTo>
                      <a:cubicBezTo>
                        <a:pt x="15395" y="4205"/>
                        <a:pt x="15265" y="3719"/>
                        <a:pt x="15265" y="3719"/>
                      </a:cubicBezTo>
                      <a:cubicBezTo>
                        <a:pt x="15265" y="3719"/>
                        <a:pt x="14892" y="7319"/>
                        <a:pt x="14638" y="7408"/>
                      </a:cubicBezTo>
                      <a:cubicBezTo>
                        <a:pt x="14630" y="7411"/>
                        <a:pt x="14621" y="7412"/>
                        <a:pt x="14613" y="7412"/>
                      </a:cubicBezTo>
                      <a:cubicBezTo>
                        <a:pt x="14367" y="7412"/>
                        <a:pt x="14115" y="6393"/>
                        <a:pt x="14115" y="6393"/>
                      </a:cubicBezTo>
                      <a:lnTo>
                        <a:pt x="14115" y="6393"/>
                      </a:lnTo>
                      <a:cubicBezTo>
                        <a:pt x="14115" y="6394"/>
                        <a:pt x="14305" y="9930"/>
                        <a:pt x="12993" y="9930"/>
                      </a:cubicBezTo>
                      <a:cubicBezTo>
                        <a:pt x="12928" y="9930"/>
                        <a:pt x="12859" y="9921"/>
                        <a:pt x="12786" y="9903"/>
                      </a:cubicBezTo>
                      <a:cubicBezTo>
                        <a:pt x="11233" y="9514"/>
                        <a:pt x="12890" y="6572"/>
                        <a:pt x="12890" y="6572"/>
                      </a:cubicBezTo>
                      <a:lnTo>
                        <a:pt x="12890" y="6572"/>
                      </a:lnTo>
                      <a:cubicBezTo>
                        <a:pt x="12762" y="6617"/>
                        <a:pt x="12660" y="6637"/>
                        <a:pt x="12582" y="6637"/>
                      </a:cubicBezTo>
                      <a:cubicBezTo>
                        <a:pt x="11771" y="6637"/>
                        <a:pt x="13473" y="4451"/>
                        <a:pt x="13473" y="4451"/>
                      </a:cubicBezTo>
                      <a:lnTo>
                        <a:pt x="13473" y="4451"/>
                      </a:lnTo>
                      <a:cubicBezTo>
                        <a:pt x="13222" y="4601"/>
                        <a:pt x="13020" y="4663"/>
                        <a:pt x="12858" y="4663"/>
                      </a:cubicBezTo>
                      <a:cubicBezTo>
                        <a:pt x="12031" y="4663"/>
                        <a:pt x="12218" y="3047"/>
                        <a:pt x="12218" y="3047"/>
                      </a:cubicBezTo>
                      <a:lnTo>
                        <a:pt x="12218" y="3047"/>
                      </a:lnTo>
                      <a:cubicBezTo>
                        <a:pt x="12128" y="3072"/>
                        <a:pt x="12044" y="3083"/>
                        <a:pt x="11965" y="3083"/>
                      </a:cubicBezTo>
                      <a:cubicBezTo>
                        <a:pt x="10858" y="3083"/>
                        <a:pt x="10949" y="778"/>
                        <a:pt x="10949" y="777"/>
                      </a:cubicBezTo>
                      <a:lnTo>
                        <a:pt x="10949" y="777"/>
                      </a:lnTo>
                      <a:cubicBezTo>
                        <a:pt x="10949" y="777"/>
                        <a:pt x="10769" y="1569"/>
                        <a:pt x="10172" y="2494"/>
                      </a:cubicBezTo>
                      <a:cubicBezTo>
                        <a:pt x="9918" y="2872"/>
                        <a:pt x="9672" y="2983"/>
                        <a:pt x="9470" y="2983"/>
                      </a:cubicBezTo>
                      <a:cubicBezTo>
                        <a:pt x="9187" y="2983"/>
                        <a:pt x="8992" y="2763"/>
                        <a:pt x="8992" y="2763"/>
                      </a:cubicBezTo>
                      <a:lnTo>
                        <a:pt x="8992" y="2763"/>
                      </a:lnTo>
                      <a:cubicBezTo>
                        <a:pt x="8992" y="2764"/>
                        <a:pt x="9291" y="3376"/>
                        <a:pt x="9127" y="4272"/>
                      </a:cubicBezTo>
                      <a:cubicBezTo>
                        <a:pt x="9056" y="4630"/>
                        <a:pt x="8861" y="4739"/>
                        <a:pt x="8650" y="4739"/>
                      </a:cubicBezTo>
                      <a:cubicBezTo>
                        <a:pt x="8324" y="4739"/>
                        <a:pt x="7962" y="4481"/>
                        <a:pt x="7962" y="4481"/>
                      </a:cubicBezTo>
                      <a:lnTo>
                        <a:pt x="7962" y="4481"/>
                      </a:lnTo>
                      <a:cubicBezTo>
                        <a:pt x="7962" y="4481"/>
                        <a:pt x="9664" y="7408"/>
                        <a:pt x="7992" y="7588"/>
                      </a:cubicBezTo>
                      <a:cubicBezTo>
                        <a:pt x="7959" y="7591"/>
                        <a:pt x="7928" y="7593"/>
                        <a:pt x="7898" y="7593"/>
                      </a:cubicBezTo>
                      <a:cubicBezTo>
                        <a:pt x="6356" y="7593"/>
                        <a:pt x="7304" y="3183"/>
                        <a:pt x="7304" y="3181"/>
                      </a:cubicBezTo>
                      <a:lnTo>
                        <a:pt x="7304" y="3181"/>
                      </a:lnTo>
                      <a:cubicBezTo>
                        <a:pt x="7304" y="3182"/>
                        <a:pt x="6973" y="3977"/>
                        <a:pt x="6438" y="3977"/>
                      </a:cubicBezTo>
                      <a:cubicBezTo>
                        <a:pt x="6302" y="3977"/>
                        <a:pt x="6151" y="3925"/>
                        <a:pt x="5990" y="3794"/>
                      </a:cubicBezTo>
                      <a:cubicBezTo>
                        <a:pt x="5214" y="3167"/>
                        <a:pt x="5437" y="1674"/>
                        <a:pt x="5438" y="1673"/>
                      </a:cubicBezTo>
                      <a:lnTo>
                        <a:pt x="5438" y="1673"/>
                      </a:lnTo>
                      <a:cubicBezTo>
                        <a:pt x="5255" y="2325"/>
                        <a:pt x="5004" y="2560"/>
                        <a:pt x="4737" y="2560"/>
                      </a:cubicBezTo>
                      <a:cubicBezTo>
                        <a:pt x="4044" y="2560"/>
                        <a:pt x="3242" y="971"/>
                        <a:pt x="3242" y="971"/>
                      </a:cubicBezTo>
                      <a:cubicBezTo>
                        <a:pt x="3066" y="1370"/>
                        <a:pt x="2786" y="1522"/>
                        <a:pt x="2464" y="1522"/>
                      </a:cubicBezTo>
                      <a:cubicBezTo>
                        <a:pt x="1571" y="1522"/>
                        <a:pt x="346" y="359"/>
                        <a:pt x="62" y="77"/>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2" name="Google Shape;402;p7"/>
                <p:cNvGrpSpPr/>
                <p:nvPr/>
              </p:nvGrpSpPr>
              <p:grpSpPr>
                <a:xfrm>
                  <a:off x="4719681" y="3910588"/>
                  <a:ext cx="1387935" cy="1436330"/>
                  <a:chOff x="4719681" y="3910588"/>
                  <a:chExt cx="1387935" cy="1436330"/>
                </a:xfrm>
              </p:grpSpPr>
              <p:sp>
                <p:nvSpPr>
                  <p:cNvPr id="403" name="Google Shape;403;p7"/>
                  <p:cNvSpPr/>
                  <p:nvPr/>
                </p:nvSpPr>
                <p:spPr>
                  <a:xfrm>
                    <a:off x="4719681" y="3910588"/>
                    <a:ext cx="1189651" cy="1436330"/>
                  </a:xfrm>
                  <a:custGeom>
                    <a:avLst/>
                    <a:gdLst/>
                    <a:ahLst/>
                    <a:cxnLst/>
                    <a:rect l="l" t="t" r="r" b="b"/>
                    <a:pathLst>
                      <a:path w="22763" h="27483" extrusionOk="0">
                        <a:moveTo>
                          <a:pt x="3809" y="0"/>
                        </a:moveTo>
                        <a:lnTo>
                          <a:pt x="3809" y="15"/>
                        </a:lnTo>
                        <a:cubicBezTo>
                          <a:pt x="3809" y="15"/>
                          <a:pt x="5795" y="3047"/>
                          <a:pt x="4033" y="3376"/>
                        </a:cubicBezTo>
                        <a:cubicBezTo>
                          <a:pt x="4033" y="3376"/>
                          <a:pt x="6647" y="5571"/>
                          <a:pt x="4212" y="5676"/>
                        </a:cubicBezTo>
                        <a:cubicBezTo>
                          <a:pt x="4212" y="5676"/>
                          <a:pt x="5721" y="5795"/>
                          <a:pt x="6169" y="6706"/>
                        </a:cubicBezTo>
                        <a:cubicBezTo>
                          <a:pt x="6617" y="7602"/>
                          <a:pt x="5258" y="7856"/>
                          <a:pt x="5258" y="7856"/>
                        </a:cubicBezTo>
                        <a:cubicBezTo>
                          <a:pt x="5258" y="7856"/>
                          <a:pt x="9947" y="7916"/>
                          <a:pt x="9410" y="9499"/>
                        </a:cubicBezTo>
                        <a:cubicBezTo>
                          <a:pt x="9269" y="9907"/>
                          <a:pt x="9003" y="10059"/>
                          <a:pt x="8685" y="10059"/>
                        </a:cubicBezTo>
                        <a:cubicBezTo>
                          <a:pt x="7759" y="10059"/>
                          <a:pt x="6393" y="8768"/>
                          <a:pt x="6393" y="8767"/>
                        </a:cubicBezTo>
                        <a:lnTo>
                          <a:pt x="6393" y="8767"/>
                        </a:lnTo>
                        <a:cubicBezTo>
                          <a:pt x="6393" y="8768"/>
                          <a:pt x="6824" y="9859"/>
                          <a:pt x="5981" y="9859"/>
                        </a:cubicBezTo>
                        <a:cubicBezTo>
                          <a:pt x="5965" y="9859"/>
                          <a:pt x="5947" y="9859"/>
                          <a:pt x="5930" y="9858"/>
                        </a:cubicBezTo>
                        <a:cubicBezTo>
                          <a:pt x="5019" y="9813"/>
                          <a:pt x="4496" y="9395"/>
                          <a:pt x="4496" y="9395"/>
                        </a:cubicBezTo>
                        <a:lnTo>
                          <a:pt x="4496" y="9395"/>
                        </a:lnTo>
                        <a:cubicBezTo>
                          <a:pt x="4496" y="9395"/>
                          <a:pt x="5004" y="10082"/>
                          <a:pt x="3973" y="10470"/>
                        </a:cubicBezTo>
                        <a:cubicBezTo>
                          <a:pt x="2943" y="10858"/>
                          <a:pt x="2121" y="10858"/>
                          <a:pt x="2121" y="10858"/>
                        </a:cubicBezTo>
                        <a:cubicBezTo>
                          <a:pt x="2121" y="10858"/>
                          <a:pt x="4720" y="11366"/>
                          <a:pt x="4048" y="12606"/>
                        </a:cubicBezTo>
                        <a:cubicBezTo>
                          <a:pt x="4048" y="12606"/>
                          <a:pt x="6393" y="12845"/>
                          <a:pt x="5153" y="14144"/>
                        </a:cubicBezTo>
                        <a:cubicBezTo>
                          <a:pt x="5153" y="14144"/>
                          <a:pt x="6546" y="13493"/>
                          <a:pt x="7175" y="13493"/>
                        </a:cubicBezTo>
                        <a:cubicBezTo>
                          <a:pt x="7469" y="13493"/>
                          <a:pt x="7596" y="13636"/>
                          <a:pt x="7334" y="14055"/>
                        </a:cubicBezTo>
                        <a:cubicBezTo>
                          <a:pt x="7334" y="14055"/>
                          <a:pt x="8304" y="13769"/>
                          <a:pt x="9187" y="13769"/>
                        </a:cubicBezTo>
                        <a:cubicBezTo>
                          <a:pt x="9919" y="13769"/>
                          <a:pt x="10591" y="13965"/>
                          <a:pt x="10605" y="14682"/>
                        </a:cubicBezTo>
                        <a:cubicBezTo>
                          <a:pt x="10611" y="15358"/>
                          <a:pt x="9947" y="15553"/>
                          <a:pt x="9178" y="15553"/>
                        </a:cubicBezTo>
                        <a:cubicBezTo>
                          <a:pt x="8129" y="15553"/>
                          <a:pt x="6886" y="15190"/>
                          <a:pt x="6886" y="15190"/>
                        </a:cubicBezTo>
                        <a:lnTo>
                          <a:pt x="6886" y="15190"/>
                        </a:lnTo>
                        <a:cubicBezTo>
                          <a:pt x="6886" y="15190"/>
                          <a:pt x="7901" y="15683"/>
                          <a:pt x="7737" y="15922"/>
                        </a:cubicBezTo>
                        <a:cubicBezTo>
                          <a:pt x="7709" y="15971"/>
                          <a:pt x="7536" y="15990"/>
                          <a:pt x="7278" y="15990"/>
                        </a:cubicBezTo>
                        <a:cubicBezTo>
                          <a:pt x="6277" y="15990"/>
                          <a:pt x="4003" y="15698"/>
                          <a:pt x="4003" y="15698"/>
                        </a:cubicBezTo>
                        <a:lnTo>
                          <a:pt x="4003" y="15698"/>
                        </a:lnTo>
                        <a:cubicBezTo>
                          <a:pt x="4003" y="15698"/>
                          <a:pt x="4780" y="16116"/>
                          <a:pt x="4123" y="16594"/>
                        </a:cubicBezTo>
                        <a:cubicBezTo>
                          <a:pt x="3465" y="17087"/>
                          <a:pt x="1748" y="17445"/>
                          <a:pt x="1748" y="17445"/>
                        </a:cubicBezTo>
                        <a:cubicBezTo>
                          <a:pt x="1748" y="17445"/>
                          <a:pt x="2315" y="17550"/>
                          <a:pt x="2061" y="17848"/>
                        </a:cubicBezTo>
                        <a:cubicBezTo>
                          <a:pt x="1822" y="18132"/>
                          <a:pt x="986" y="18595"/>
                          <a:pt x="986" y="18595"/>
                        </a:cubicBezTo>
                        <a:cubicBezTo>
                          <a:pt x="986" y="18595"/>
                          <a:pt x="1370" y="18507"/>
                          <a:pt x="1705" y="18507"/>
                        </a:cubicBezTo>
                        <a:cubicBezTo>
                          <a:pt x="2073" y="18507"/>
                          <a:pt x="2382" y="18613"/>
                          <a:pt x="2061" y="19058"/>
                        </a:cubicBezTo>
                        <a:cubicBezTo>
                          <a:pt x="1464" y="19910"/>
                          <a:pt x="0" y="20432"/>
                          <a:pt x="0" y="20432"/>
                        </a:cubicBezTo>
                        <a:cubicBezTo>
                          <a:pt x="0" y="20432"/>
                          <a:pt x="11" y="20432"/>
                          <a:pt x="31" y="20432"/>
                        </a:cubicBezTo>
                        <a:cubicBezTo>
                          <a:pt x="293" y="20432"/>
                          <a:pt x="2135" y="20445"/>
                          <a:pt x="2315" y="20806"/>
                        </a:cubicBezTo>
                        <a:cubicBezTo>
                          <a:pt x="2509" y="21194"/>
                          <a:pt x="2032" y="21553"/>
                          <a:pt x="2032" y="21553"/>
                        </a:cubicBezTo>
                        <a:cubicBezTo>
                          <a:pt x="2032" y="21553"/>
                          <a:pt x="3088" y="21320"/>
                          <a:pt x="3926" y="21320"/>
                        </a:cubicBezTo>
                        <a:cubicBezTo>
                          <a:pt x="4619" y="21320"/>
                          <a:pt x="5164" y="21479"/>
                          <a:pt x="4839" y="22060"/>
                        </a:cubicBezTo>
                        <a:cubicBezTo>
                          <a:pt x="4839" y="22060"/>
                          <a:pt x="6406" y="21404"/>
                          <a:pt x="7215" y="21404"/>
                        </a:cubicBezTo>
                        <a:cubicBezTo>
                          <a:pt x="7550" y="21404"/>
                          <a:pt x="7754" y="21517"/>
                          <a:pt x="7662" y="21836"/>
                        </a:cubicBezTo>
                        <a:cubicBezTo>
                          <a:pt x="7662" y="21836"/>
                          <a:pt x="9061" y="20420"/>
                          <a:pt x="10140" y="20420"/>
                        </a:cubicBezTo>
                        <a:cubicBezTo>
                          <a:pt x="10449" y="20420"/>
                          <a:pt x="10732" y="20536"/>
                          <a:pt x="10948" y="20836"/>
                        </a:cubicBezTo>
                        <a:cubicBezTo>
                          <a:pt x="11934" y="22180"/>
                          <a:pt x="9066" y="23001"/>
                          <a:pt x="9066" y="23001"/>
                        </a:cubicBezTo>
                        <a:cubicBezTo>
                          <a:pt x="9066" y="23001"/>
                          <a:pt x="9036" y="24525"/>
                          <a:pt x="6438" y="24704"/>
                        </a:cubicBezTo>
                        <a:cubicBezTo>
                          <a:pt x="6438" y="24704"/>
                          <a:pt x="10515" y="25062"/>
                          <a:pt x="9679" y="26138"/>
                        </a:cubicBezTo>
                        <a:cubicBezTo>
                          <a:pt x="9679" y="26138"/>
                          <a:pt x="10691" y="25990"/>
                          <a:pt x="11778" y="25990"/>
                        </a:cubicBezTo>
                        <a:cubicBezTo>
                          <a:pt x="13228" y="25990"/>
                          <a:pt x="14812" y="26253"/>
                          <a:pt x="14309" y="27482"/>
                        </a:cubicBezTo>
                        <a:lnTo>
                          <a:pt x="16176" y="26750"/>
                        </a:lnTo>
                        <a:lnTo>
                          <a:pt x="15907" y="27452"/>
                        </a:lnTo>
                        <a:lnTo>
                          <a:pt x="19297" y="25301"/>
                        </a:lnTo>
                        <a:lnTo>
                          <a:pt x="18745" y="26093"/>
                        </a:lnTo>
                        <a:lnTo>
                          <a:pt x="22762" y="23778"/>
                        </a:lnTo>
                        <a:lnTo>
                          <a:pt x="38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4" name="Google Shape;404;p7"/>
                  <p:cNvSpPr/>
                  <p:nvPr/>
                </p:nvSpPr>
                <p:spPr>
                  <a:xfrm>
                    <a:off x="5010835" y="4029223"/>
                    <a:ext cx="976525" cy="1220904"/>
                  </a:xfrm>
                  <a:custGeom>
                    <a:avLst/>
                    <a:gdLst/>
                    <a:ahLst/>
                    <a:cxnLst/>
                    <a:rect l="l" t="t" r="r" b="b"/>
                    <a:pathLst>
                      <a:path w="18685" h="23361" extrusionOk="0">
                        <a:moveTo>
                          <a:pt x="180" y="0"/>
                        </a:moveTo>
                        <a:lnTo>
                          <a:pt x="0" y="135"/>
                        </a:lnTo>
                        <a:lnTo>
                          <a:pt x="18297" y="23360"/>
                        </a:lnTo>
                        <a:lnTo>
                          <a:pt x="18685" y="23031"/>
                        </a:lnTo>
                        <a:lnTo>
                          <a:pt x="18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05" name="Google Shape;405;p7"/>
                  <p:cNvGrpSpPr/>
                  <p:nvPr/>
                </p:nvGrpSpPr>
                <p:grpSpPr>
                  <a:xfrm>
                    <a:off x="4959305" y="4124446"/>
                    <a:ext cx="1148312" cy="1094429"/>
                    <a:chOff x="11860675" y="4981025"/>
                    <a:chExt cx="549300" cy="523525"/>
                  </a:xfrm>
                </p:grpSpPr>
                <p:sp>
                  <p:nvSpPr>
                    <p:cNvPr id="406" name="Google Shape;406;p7"/>
                    <p:cNvSpPr/>
                    <p:nvPr/>
                  </p:nvSpPr>
                  <p:spPr>
                    <a:xfrm>
                      <a:off x="12020875" y="5415275"/>
                      <a:ext cx="258025" cy="83300"/>
                    </a:xfrm>
                    <a:custGeom>
                      <a:avLst/>
                      <a:gdLst/>
                      <a:ahLst/>
                      <a:cxnLst/>
                      <a:rect l="l" t="t" r="r" b="b"/>
                      <a:pathLst>
                        <a:path w="10321" h="3332" fill="none" extrusionOk="0">
                          <a:moveTo>
                            <a:pt x="10321" y="509"/>
                          </a:moveTo>
                          <a:cubicBezTo>
                            <a:pt x="10321" y="509"/>
                            <a:pt x="3988" y="1"/>
                            <a:pt x="0" y="333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7" name="Google Shape;407;p7"/>
                    <p:cNvSpPr/>
                    <p:nvPr/>
                  </p:nvSpPr>
                  <p:spPr>
                    <a:xfrm>
                      <a:off x="12023100" y="5439550"/>
                      <a:ext cx="123625" cy="9375"/>
                    </a:xfrm>
                    <a:custGeom>
                      <a:avLst/>
                      <a:gdLst/>
                      <a:ahLst/>
                      <a:cxnLst/>
                      <a:rect l="l" t="t" r="r" b="b"/>
                      <a:pathLst>
                        <a:path w="4945" h="375" fill="none" extrusionOk="0">
                          <a:moveTo>
                            <a:pt x="1" y="374"/>
                          </a:moveTo>
                          <a:lnTo>
                            <a:pt x="4944"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8" name="Google Shape;408;p7"/>
                    <p:cNvSpPr/>
                    <p:nvPr/>
                  </p:nvSpPr>
                  <p:spPr>
                    <a:xfrm>
                      <a:off x="12052975" y="5451500"/>
                      <a:ext cx="53050" cy="53050"/>
                    </a:xfrm>
                    <a:custGeom>
                      <a:avLst/>
                      <a:gdLst/>
                      <a:ahLst/>
                      <a:cxnLst/>
                      <a:rect l="l" t="t" r="r" b="b"/>
                      <a:pathLst>
                        <a:path w="2122" h="2122" fill="none" extrusionOk="0">
                          <a:moveTo>
                            <a:pt x="2121" y="1"/>
                          </a:moveTo>
                          <a:cubicBezTo>
                            <a:pt x="2121" y="1"/>
                            <a:pt x="314" y="1479"/>
                            <a:pt x="0" y="212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9" name="Google Shape;409;p7"/>
                    <p:cNvSpPr/>
                    <p:nvPr/>
                  </p:nvSpPr>
                  <p:spPr>
                    <a:xfrm>
                      <a:off x="12066800" y="5366375"/>
                      <a:ext cx="166550" cy="4500"/>
                    </a:xfrm>
                    <a:custGeom>
                      <a:avLst/>
                      <a:gdLst/>
                      <a:ahLst/>
                      <a:cxnLst/>
                      <a:rect l="l" t="t" r="r" b="b"/>
                      <a:pathLst>
                        <a:path w="6662" h="180" fill="none" extrusionOk="0">
                          <a:moveTo>
                            <a:pt x="0" y="0"/>
                          </a:moveTo>
                          <a:lnTo>
                            <a:pt x="6661" y="18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0" name="Google Shape;410;p7"/>
                    <p:cNvSpPr/>
                    <p:nvPr/>
                  </p:nvSpPr>
                  <p:spPr>
                    <a:xfrm>
                      <a:off x="11860675" y="5278625"/>
                      <a:ext cx="342425" cy="83300"/>
                    </a:xfrm>
                    <a:custGeom>
                      <a:avLst/>
                      <a:gdLst/>
                      <a:ahLst/>
                      <a:cxnLst/>
                      <a:rect l="l" t="t" r="r" b="b"/>
                      <a:pathLst>
                        <a:path w="13697" h="3332" fill="none" extrusionOk="0">
                          <a:moveTo>
                            <a:pt x="13697" y="2181"/>
                          </a:moveTo>
                          <a:cubicBezTo>
                            <a:pt x="13697" y="2181"/>
                            <a:pt x="6348" y="0"/>
                            <a:pt x="1" y="333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1" name="Google Shape;411;p7"/>
                    <p:cNvSpPr/>
                    <p:nvPr/>
                  </p:nvSpPr>
                  <p:spPr>
                    <a:xfrm>
                      <a:off x="11868525" y="5317450"/>
                      <a:ext cx="87400" cy="14600"/>
                    </a:xfrm>
                    <a:custGeom>
                      <a:avLst/>
                      <a:gdLst/>
                      <a:ahLst/>
                      <a:cxnLst/>
                      <a:rect l="l" t="t" r="r" b="b"/>
                      <a:pathLst>
                        <a:path w="3496" h="584" fill="none" extrusionOk="0">
                          <a:moveTo>
                            <a:pt x="0" y="1"/>
                          </a:moveTo>
                          <a:cubicBezTo>
                            <a:pt x="0" y="1"/>
                            <a:pt x="2494" y="583"/>
                            <a:pt x="3495" y="389"/>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 name="Google Shape;412;p7"/>
                    <p:cNvSpPr/>
                    <p:nvPr/>
                  </p:nvSpPr>
                  <p:spPr>
                    <a:xfrm>
                      <a:off x="11953275" y="5315600"/>
                      <a:ext cx="107200" cy="58275"/>
                    </a:xfrm>
                    <a:custGeom>
                      <a:avLst/>
                      <a:gdLst/>
                      <a:ahLst/>
                      <a:cxnLst/>
                      <a:rect l="l" t="t" r="r" b="b"/>
                      <a:pathLst>
                        <a:path w="4288" h="2331" fill="none" extrusionOk="0">
                          <a:moveTo>
                            <a:pt x="1" y="2330"/>
                          </a:moveTo>
                          <a:cubicBezTo>
                            <a:pt x="1" y="2330"/>
                            <a:pt x="2346" y="553"/>
                            <a:pt x="4287"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13;p7"/>
                    <p:cNvSpPr/>
                    <p:nvPr/>
                  </p:nvSpPr>
                  <p:spPr>
                    <a:xfrm>
                      <a:off x="12062300" y="5245775"/>
                      <a:ext cx="84800" cy="17200"/>
                    </a:xfrm>
                    <a:custGeom>
                      <a:avLst/>
                      <a:gdLst/>
                      <a:ahLst/>
                      <a:cxnLst/>
                      <a:rect l="l" t="t" r="r" b="b"/>
                      <a:pathLst>
                        <a:path w="3392" h="688" fill="none" extrusionOk="0">
                          <a:moveTo>
                            <a:pt x="1" y="0"/>
                          </a:moveTo>
                          <a:lnTo>
                            <a:pt x="3391" y="68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4" name="Google Shape;414;p7"/>
                    <p:cNvSpPr/>
                    <p:nvPr/>
                  </p:nvSpPr>
                  <p:spPr>
                    <a:xfrm>
                      <a:off x="12057825" y="5253600"/>
                      <a:ext cx="42975" cy="20200"/>
                    </a:xfrm>
                    <a:custGeom>
                      <a:avLst/>
                      <a:gdLst/>
                      <a:ahLst/>
                      <a:cxnLst/>
                      <a:rect l="l" t="t" r="r" b="b"/>
                      <a:pathLst>
                        <a:path w="1719" h="808" fill="none" extrusionOk="0">
                          <a:moveTo>
                            <a:pt x="1" y="807"/>
                          </a:moveTo>
                          <a:lnTo>
                            <a:pt x="1718"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5" name="Google Shape;415;p7"/>
                    <p:cNvSpPr/>
                    <p:nvPr/>
                  </p:nvSpPr>
                  <p:spPr>
                    <a:xfrm>
                      <a:off x="11897650" y="5153900"/>
                      <a:ext cx="191200" cy="35875"/>
                    </a:xfrm>
                    <a:custGeom>
                      <a:avLst/>
                      <a:gdLst/>
                      <a:ahLst/>
                      <a:cxnLst/>
                      <a:rect l="l" t="t" r="r" b="b"/>
                      <a:pathLst>
                        <a:path w="7648" h="1435" fill="none" extrusionOk="0">
                          <a:moveTo>
                            <a:pt x="0" y="1"/>
                          </a:moveTo>
                          <a:lnTo>
                            <a:pt x="7647" y="14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6" name="Google Shape;416;p7"/>
                    <p:cNvSpPr/>
                    <p:nvPr/>
                  </p:nvSpPr>
                  <p:spPr>
                    <a:xfrm>
                      <a:off x="11938725" y="5170700"/>
                      <a:ext cx="49300" cy="17225"/>
                    </a:xfrm>
                    <a:custGeom>
                      <a:avLst/>
                      <a:gdLst/>
                      <a:ahLst/>
                      <a:cxnLst/>
                      <a:rect l="l" t="t" r="r" b="b"/>
                      <a:pathLst>
                        <a:path w="1972" h="689" fill="none" extrusionOk="0">
                          <a:moveTo>
                            <a:pt x="0" y="688"/>
                          </a:moveTo>
                          <a:lnTo>
                            <a:pt x="1972"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7" name="Google Shape;417;p7"/>
                    <p:cNvSpPr/>
                    <p:nvPr/>
                  </p:nvSpPr>
                  <p:spPr>
                    <a:xfrm>
                      <a:off x="11896900" y="5001575"/>
                      <a:ext cx="72075" cy="38100"/>
                    </a:xfrm>
                    <a:custGeom>
                      <a:avLst/>
                      <a:gdLst/>
                      <a:ahLst/>
                      <a:cxnLst/>
                      <a:rect l="l" t="t" r="r" b="b"/>
                      <a:pathLst>
                        <a:path w="2883" h="1524" fill="none" extrusionOk="0">
                          <a:moveTo>
                            <a:pt x="0" y="0"/>
                          </a:moveTo>
                          <a:lnTo>
                            <a:pt x="2883" y="1523"/>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8" name="Google Shape;418;p7"/>
                    <p:cNvSpPr/>
                    <p:nvPr/>
                  </p:nvSpPr>
                  <p:spPr>
                    <a:xfrm>
                      <a:off x="11909600" y="5019850"/>
                      <a:ext cx="21300" cy="4900"/>
                    </a:xfrm>
                    <a:custGeom>
                      <a:avLst/>
                      <a:gdLst/>
                      <a:ahLst/>
                      <a:cxnLst/>
                      <a:rect l="l" t="t" r="r" b="b"/>
                      <a:pathLst>
                        <a:path w="852" h="196" fill="none" extrusionOk="0">
                          <a:moveTo>
                            <a:pt x="0" y="195"/>
                          </a:moveTo>
                          <a:lnTo>
                            <a:pt x="85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9" name="Google Shape;419;p7"/>
                    <p:cNvSpPr/>
                    <p:nvPr/>
                  </p:nvSpPr>
                  <p:spPr>
                    <a:xfrm>
                      <a:off x="12283725" y="5195350"/>
                      <a:ext cx="126250" cy="236025"/>
                    </a:xfrm>
                    <a:custGeom>
                      <a:avLst/>
                      <a:gdLst/>
                      <a:ahLst/>
                      <a:cxnLst/>
                      <a:rect l="l" t="t" r="r" b="b"/>
                      <a:pathLst>
                        <a:path w="5050" h="9441" fill="none" extrusionOk="0">
                          <a:moveTo>
                            <a:pt x="1" y="9440"/>
                          </a:moveTo>
                          <a:cubicBezTo>
                            <a:pt x="1" y="9440"/>
                            <a:pt x="912" y="3152"/>
                            <a:pt x="504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0" name="Google Shape;420;p7"/>
                    <p:cNvSpPr/>
                    <p:nvPr/>
                  </p:nvSpPr>
                  <p:spPr>
                    <a:xfrm>
                      <a:off x="12324425" y="5186775"/>
                      <a:ext cx="36625" cy="118375"/>
                    </a:xfrm>
                    <a:custGeom>
                      <a:avLst/>
                      <a:gdLst/>
                      <a:ahLst/>
                      <a:cxnLst/>
                      <a:rect l="l" t="t" r="r" b="b"/>
                      <a:pathLst>
                        <a:path w="1465" h="4735" fill="none" extrusionOk="0">
                          <a:moveTo>
                            <a:pt x="1465" y="0"/>
                          </a:moveTo>
                          <a:lnTo>
                            <a:pt x="1" y="47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1" name="Google Shape;421;p7"/>
                    <p:cNvSpPr/>
                    <p:nvPr/>
                  </p:nvSpPr>
                  <p:spPr>
                    <a:xfrm>
                      <a:off x="12344975" y="5227850"/>
                      <a:ext cx="63875" cy="39975"/>
                    </a:xfrm>
                    <a:custGeom>
                      <a:avLst/>
                      <a:gdLst/>
                      <a:ahLst/>
                      <a:cxnLst/>
                      <a:rect l="l" t="t" r="r" b="b"/>
                      <a:pathLst>
                        <a:path w="2555" h="1599" fill="none" extrusionOk="0">
                          <a:moveTo>
                            <a:pt x="0" y="1598"/>
                          </a:moveTo>
                          <a:cubicBezTo>
                            <a:pt x="0" y="1598"/>
                            <a:pt x="1852" y="179"/>
                            <a:pt x="2554"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2" name="Google Shape;422;p7"/>
                    <p:cNvSpPr/>
                    <p:nvPr/>
                  </p:nvSpPr>
                  <p:spPr>
                    <a:xfrm>
                      <a:off x="12251625" y="5228600"/>
                      <a:ext cx="32875" cy="162825"/>
                    </a:xfrm>
                    <a:custGeom>
                      <a:avLst/>
                      <a:gdLst/>
                      <a:ahLst/>
                      <a:cxnLst/>
                      <a:rect l="l" t="t" r="r" b="b"/>
                      <a:pathLst>
                        <a:path w="1315" h="6513" fill="none" extrusionOk="0">
                          <a:moveTo>
                            <a:pt x="1315" y="0"/>
                          </a:moveTo>
                          <a:lnTo>
                            <a:pt x="0" y="651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3" name="Google Shape;423;p7"/>
                    <p:cNvSpPr/>
                    <p:nvPr/>
                  </p:nvSpPr>
                  <p:spPr>
                    <a:xfrm>
                      <a:off x="12199350" y="5013500"/>
                      <a:ext cx="116525" cy="327125"/>
                    </a:xfrm>
                    <a:custGeom>
                      <a:avLst/>
                      <a:gdLst/>
                      <a:ahLst/>
                      <a:cxnLst/>
                      <a:rect l="l" t="t" r="r" b="b"/>
                      <a:pathLst>
                        <a:path w="4661" h="13085" fill="none" extrusionOk="0">
                          <a:moveTo>
                            <a:pt x="478" y="13085"/>
                          </a:moveTo>
                          <a:cubicBezTo>
                            <a:pt x="478" y="13085"/>
                            <a:pt x="0" y="5423"/>
                            <a:pt x="466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4" name="Google Shape;424;p7"/>
                    <p:cNvSpPr/>
                    <p:nvPr/>
                  </p:nvSpPr>
                  <p:spPr>
                    <a:xfrm>
                      <a:off x="12260575" y="5010900"/>
                      <a:ext cx="10850" cy="87400"/>
                    </a:xfrm>
                    <a:custGeom>
                      <a:avLst/>
                      <a:gdLst/>
                      <a:ahLst/>
                      <a:cxnLst/>
                      <a:rect l="l" t="t" r="r" b="b"/>
                      <a:pathLst>
                        <a:path w="434" h="3496" fill="none" extrusionOk="0">
                          <a:moveTo>
                            <a:pt x="404" y="0"/>
                          </a:moveTo>
                          <a:cubicBezTo>
                            <a:pt x="404" y="0"/>
                            <a:pt x="434" y="2554"/>
                            <a:pt x="1" y="349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5" name="Google Shape;425;p7"/>
                    <p:cNvSpPr/>
                    <p:nvPr/>
                  </p:nvSpPr>
                  <p:spPr>
                    <a:xfrm>
                      <a:off x="12226225" y="5106125"/>
                      <a:ext cx="80675" cy="91125"/>
                    </a:xfrm>
                    <a:custGeom>
                      <a:avLst/>
                      <a:gdLst/>
                      <a:ahLst/>
                      <a:cxnLst/>
                      <a:rect l="l" t="t" r="r" b="b"/>
                      <a:pathLst>
                        <a:path w="3227" h="3645" fill="none" extrusionOk="0">
                          <a:moveTo>
                            <a:pt x="3227" y="0"/>
                          </a:moveTo>
                          <a:cubicBezTo>
                            <a:pt x="3227" y="0"/>
                            <a:pt x="972" y="1882"/>
                            <a:pt x="1" y="3644"/>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6" name="Google Shape;426;p7"/>
                    <p:cNvSpPr/>
                    <p:nvPr/>
                  </p:nvSpPr>
                  <p:spPr>
                    <a:xfrm>
                      <a:off x="12166125" y="5196850"/>
                      <a:ext cx="1500" cy="86650"/>
                    </a:xfrm>
                    <a:custGeom>
                      <a:avLst/>
                      <a:gdLst/>
                      <a:ahLst/>
                      <a:cxnLst/>
                      <a:rect l="l" t="t" r="r" b="b"/>
                      <a:pathLst>
                        <a:path w="60" h="3466" fill="none" extrusionOk="0">
                          <a:moveTo>
                            <a:pt x="60" y="0"/>
                          </a:moveTo>
                          <a:lnTo>
                            <a:pt x="0" y="3466"/>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7" name="Google Shape;427;p7"/>
                    <p:cNvSpPr/>
                    <p:nvPr/>
                  </p:nvSpPr>
                  <p:spPr>
                    <a:xfrm>
                      <a:off x="12167225" y="5199100"/>
                      <a:ext cx="29150" cy="37350"/>
                    </a:xfrm>
                    <a:custGeom>
                      <a:avLst/>
                      <a:gdLst/>
                      <a:ahLst/>
                      <a:cxnLst/>
                      <a:rect l="l" t="t" r="r" b="b"/>
                      <a:pathLst>
                        <a:path w="1166" h="1494" fill="none" extrusionOk="0">
                          <a:moveTo>
                            <a:pt x="1166" y="0"/>
                          </a:moveTo>
                          <a:lnTo>
                            <a:pt x="1" y="149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7"/>
                    <p:cNvSpPr/>
                    <p:nvPr/>
                  </p:nvSpPr>
                  <p:spPr>
                    <a:xfrm>
                      <a:off x="12093675" y="4998575"/>
                      <a:ext cx="7875" cy="194200"/>
                    </a:xfrm>
                    <a:custGeom>
                      <a:avLst/>
                      <a:gdLst/>
                      <a:ahLst/>
                      <a:cxnLst/>
                      <a:rect l="l" t="t" r="r" b="b"/>
                      <a:pathLst>
                        <a:path w="315" h="7768" fill="none" extrusionOk="0">
                          <a:moveTo>
                            <a:pt x="314" y="1"/>
                          </a:moveTo>
                          <a:lnTo>
                            <a:pt x="0" y="77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429;p7"/>
                    <p:cNvSpPr/>
                    <p:nvPr/>
                  </p:nvSpPr>
                  <p:spPr>
                    <a:xfrm>
                      <a:off x="12097775" y="5046375"/>
                      <a:ext cx="27650" cy="43700"/>
                    </a:xfrm>
                    <a:custGeom>
                      <a:avLst/>
                      <a:gdLst/>
                      <a:ahLst/>
                      <a:cxnLst/>
                      <a:rect l="l" t="t" r="r" b="b"/>
                      <a:pathLst>
                        <a:path w="1106" h="1748" fill="none" extrusionOk="0">
                          <a:moveTo>
                            <a:pt x="1106" y="0"/>
                          </a:moveTo>
                          <a:lnTo>
                            <a:pt x="1" y="1748"/>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7"/>
                    <p:cNvSpPr/>
                    <p:nvPr/>
                  </p:nvSpPr>
                  <p:spPr>
                    <a:xfrm>
                      <a:off x="11967100" y="4981025"/>
                      <a:ext cx="20925" cy="79175"/>
                    </a:xfrm>
                    <a:custGeom>
                      <a:avLst/>
                      <a:gdLst/>
                      <a:ahLst/>
                      <a:cxnLst/>
                      <a:rect l="l" t="t" r="r" b="b"/>
                      <a:pathLst>
                        <a:path w="837" h="3167" fill="none" extrusionOk="0">
                          <a:moveTo>
                            <a:pt x="0" y="1"/>
                          </a:moveTo>
                          <a:lnTo>
                            <a:pt x="837" y="31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1" name="Google Shape;431;p7"/>
                    <p:cNvSpPr/>
                    <p:nvPr/>
                  </p:nvSpPr>
                  <p:spPr>
                    <a:xfrm>
                      <a:off x="11977175" y="4998575"/>
                      <a:ext cx="9350" cy="19825"/>
                    </a:xfrm>
                    <a:custGeom>
                      <a:avLst/>
                      <a:gdLst/>
                      <a:ahLst/>
                      <a:cxnLst/>
                      <a:rect l="l" t="t" r="r" b="b"/>
                      <a:pathLst>
                        <a:path w="374" h="793" fill="none" extrusionOk="0">
                          <a:moveTo>
                            <a:pt x="374" y="1"/>
                          </a:moveTo>
                          <a:lnTo>
                            <a:pt x="1" y="7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32" name="Google Shape;432;p7"/>
              <p:cNvGrpSpPr/>
              <p:nvPr/>
            </p:nvGrpSpPr>
            <p:grpSpPr>
              <a:xfrm flipH="1">
                <a:off x="8153466" y="4268944"/>
                <a:ext cx="810662" cy="1070939"/>
                <a:chOff x="7756700" y="5724825"/>
                <a:chExt cx="274475" cy="362600"/>
              </a:xfrm>
            </p:grpSpPr>
            <p:sp>
              <p:nvSpPr>
                <p:cNvPr id="433" name="Google Shape;433;p7"/>
                <p:cNvSpPr/>
                <p:nvPr/>
              </p:nvSpPr>
              <p:spPr>
                <a:xfrm>
                  <a:off x="7756700" y="5724825"/>
                  <a:ext cx="157575" cy="271875"/>
                </a:xfrm>
                <a:custGeom>
                  <a:avLst/>
                  <a:gdLst/>
                  <a:ahLst/>
                  <a:cxnLst/>
                  <a:rect l="l" t="t" r="r" b="b"/>
                  <a:pathLst>
                    <a:path w="6303" h="10875" extrusionOk="0">
                      <a:moveTo>
                        <a:pt x="1718" y="1"/>
                      </a:moveTo>
                      <a:cubicBezTo>
                        <a:pt x="867" y="1390"/>
                        <a:pt x="628" y="3750"/>
                        <a:pt x="628" y="3750"/>
                      </a:cubicBezTo>
                      <a:lnTo>
                        <a:pt x="403" y="3615"/>
                      </a:lnTo>
                      <a:lnTo>
                        <a:pt x="403" y="3615"/>
                      </a:lnTo>
                      <a:cubicBezTo>
                        <a:pt x="0" y="5169"/>
                        <a:pt x="717" y="6782"/>
                        <a:pt x="717" y="6782"/>
                      </a:cubicBezTo>
                      <a:lnTo>
                        <a:pt x="299" y="6587"/>
                      </a:lnTo>
                      <a:lnTo>
                        <a:pt x="299" y="6587"/>
                      </a:lnTo>
                      <a:cubicBezTo>
                        <a:pt x="1001" y="10516"/>
                        <a:pt x="3794" y="10874"/>
                        <a:pt x="3794" y="10874"/>
                      </a:cubicBezTo>
                      <a:cubicBezTo>
                        <a:pt x="6303" y="8634"/>
                        <a:pt x="4616" y="4810"/>
                        <a:pt x="4615" y="4810"/>
                      </a:cubicBezTo>
                      <a:lnTo>
                        <a:pt x="4615" y="4810"/>
                      </a:lnTo>
                      <a:lnTo>
                        <a:pt x="4332" y="5288"/>
                      </a:lnTo>
                      <a:cubicBezTo>
                        <a:pt x="4391" y="4198"/>
                        <a:pt x="3435" y="2704"/>
                        <a:pt x="3435" y="2704"/>
                      </a:cubicBezTo>
                      <a:lnTo>
                        <a:pt x="3286" y="3152"/>
                      </a:lnTo>
                      <a:cubicBezTo>
                        <a:pt x="3196" y="2734"/>
                        <a:pt x="2838" y="2047"/>
                        <a:pt x="2315" y="1450"/>
                      </a:cubicBezTo>
                      <a:cubicBezTo>
                        <a:pt x="1793" y="852"/>
                        <a:pt x="1718" y="1"/>
                        <a:pt x="17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4" name="Google Shape;434;p7"/>
                <p:cNvSpPr/>
                <p:nvPr/>
              </p:nvSpPr>
              <p:spPr>
                <a:xfrm>
                  <a:off x="7877675" y="5780100"/>
                  <a:ext cx="153500" cy="214725"/>
                </a:xfrm>
                <a:custGeom>
                  <a:avLst/>
                  <a:gdLst/>
                  <a:ahLst/>
                  <a:cxnLst/>
                  <a:rect l="l" t="t" r="r" b="b"/>
                  <a:pathLst>
                    <a:path w="6140" h="8589" extrusionOk="0">
                      <a:moveTo>
                        <a:pt x="5123" y="5213"/>
                      </a:moveTo>
                      <a:cubicBezTo>
                        <a:pt x="5123" y="5213"/>
                        <a:pt x="5123" y="5213"/>
                        <a:pt x="5123" y="5213"/>
                      </a:cubicBezTo>
                      <a:lnTo>
                        <a:pt x="5123" y="5213"/>
                      </a:lnTo>
                      <a:lnTo>
                        <a:pt x="5123" y="5213"/>
                      </a:lnTo>
                      <a:cubicBezTo>
                        <a:pt x="5123" y="5213"/>
                        <a:pt x="5123" y="5213"/>
                        <a:pt x="5123" y="5213"/>
                      </a:cubicBezTo>
                      <a:close/>
                      <a:moveTo>
                        <a:pt x="5571" y="0"/>
                      </a:moveTo>
                      <a:cubicBezTo>
                        <a:pt x="4929" y="180"/>
                        <a:pt x="4272" y="807"/>
                        <a:pt x="4272" y="807"/>
                      </a:cubicBezTo>
                      <a:lnTo>
                        <a:pt x="4212" y="553"/>
                      </a:lnTo>
                      <a:cubicBezTo>
                        <a:pt x="2360" y="1688"/>
                        <a:pt x="1673" y="3719"/>
                        <a:pt x="1673" y="3719"/>
                      </a:cubicBezTo>
                      <a:lnTo>
                        <a:pt x="1539" y="3480"/>
                      </a:lnTo>
                      <a:cubicBezTo>
                        <a:pt x="0" y="5990"/>
                        <a:pt x="986" y="8588"/>
                        <a:pt x="986" y="8588"/>
                      </a:cubicBezTo>
                      <a:cubicBezTo>
                        <a:pt x="4339" y="7565"/>
                        <a:pt x="5113" y="5230"/>
                        <a:pt x="5123" y="5213"/>
                      </a:cubicBezTo>
                      <a:lnTo>
                        <a:pt x="5123" y="5213"/>
                      </a:lnTo>
                      <a:lnTo>
                        <a:pt x="4720" y="5288"/>
                      </a:lnTo>
                      <a:cubicBezTo>
                        <a:pt x="6139" y="3854"/>
                        <a:pt x="6139" y="2495"/>
                        <a:pt x="6139" y="2495"/>
                      </a:cubicBezTo>
                      <a:lnTo>
                        <a:pt x="6139" y="2495"/>
                      </a:lnTo>
                      <a:lnTo>
                        <a:pt x="5885" y="2674"/>
                      </a:lnTo>
                      <a:cubicBezTo>
                        <a:pt x="6094" y="1464"/>
                        <a:pt x="5571" y="0"/>
                        <a:pt x="55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5" name="Google Shape;435;p7"/>
                <p:cNvSpPr/>
                <p:nvPr/>
              </p:nvSpPr>
              <p:spPr>
                <a:xfrm>
                  <a:off x="7795900" y="5754700"/>
                  <a:ext cx="101225" cy="332725"/>
                </a:xfrm>
                <a:custGeom>
                  <a:avLst/>
                  <a:gdLst/>
                  <a:ahLst/>
                  <a:cxnLst/>
                  <a:rect l="l" t="t" r="r" b="b"/>
                  <a:pathLst>
                    <a:path w="4049" h="13309" extrusionOk="0">
                      <a:moveTo>
                        <a:pt x="135" y="1"/>
                      </a:moveTo>
                      <a:lnTo>
                        <a:pt x="0" y="16"/>
                      </a:lnTo>
                      <a:cubicBezTo>
                        <a:pt x="165" y="2614"/>
                        <a:pt x="643" y="5213"/>
                        <a:pt x="1419" y="7693"/>
                      </a:cubicBezTo>
                      <a:cubicBezTo>
                        <a:pt x="2032" y="9619"/>
                        <a:pt x="2779" y="11531"/>
                        <a:pt x="3749" y="13308"/>
                      </a:cubicBezTo>
                      <a:cubicBezTo>
                        <a:pt x="3749" y="13308"/>
                        <a:pt x="4048" y="13144"/>
                        <a:pt x="4048" y="13144"/>
                      </a:cubicBezTo>
                      <a:cubicBezTo>
                        <a:pt x="3481" y="12143"/>
                        <a:pt x="2988" y="11098"/>
                        <a:pt x="2540" y="10038"/>
                      </a:cubicBezTo>
                      <a:cubicBezTo>
                        <a:pt x="2360" y="9589"/>
                        <a:pt x="2106" y="8917"/>
                        <a:pt x="1927" y="8424"/>
                      </a:cubicBezTo>
                      <a:cubicBezTo>
                        <a:pt x="971" y="5721"/>
                        <a:pt x="344" y="2868"/>
                        <a:pt x="13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6" name="Google Shape;436;p7"/>
                <p:cNvSpPr/>
                <p:nvPr/>
              </p:nvSpPr>
              <p:spPr>
                <a:xfrm>
                  <a:off x="7873200" y="5795400"/>
                  <a:ext cx="135175" cy="250200"/>
                </a:xfrm>
                <a:custGeom>
                  <a:avLst/>
                  <a:gdLst/>
                  <a:ahLst/>
                  <a:cxnLst/>
                  <a:rect l="l" t="t" r="r" b="b"/>
                  <a:pathLst>
                    <a:path w="5407" h="10008" fill="none" extrusionOk="0">
                      <a:moveTo>
                        <a:pt x="0" y="10008"/>
                      </a:moveTo>
                      <a:cubicBezTo>
                        <a:pt x="0" y="10008"/>
                        <a:pt x="4048" y="3062"/>
                        <a:pt x="5407"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7" name="Google Shape;437;p7"/>
                <p:cNvSpPr/>
                <p:nvPr/>
              </p:nvSpPr>
              <p:spPr>
                <a:xfrm>
                  <a:off x="7783575" y="5800625"/>
                  <a:ext cx="75075" cy="174400"/>
                </a:xfrm>
                <a:custGeom>
                  <a:avLst/>
                  <a:gdLst/>
                  <a:ahLst/>
                  <a:cxnLst/>
                  <a:rect l="l" t="t" r="r" b="b"/>
                  <a:pathLst>
                    <a:path w="3003" h="6976" fill="none" extrusionOk="0">
                      <a:moveTo>
                        <a:pt x="2420" y="6976"/>
                      </a:moveTo>
                      <a:cubicBezTo>
                        <a:pt x="2420" y="6976"/>
                        <a:pt x="2868" y="4735"/>
                        <a:pt x="3003" y="4362"/>
                      </a:cubicBezTo>
                      <a:moveTo>
                        <a:pt x="1808" y="299"/>
                      </a:moveTo>
                      <a:lnTo>
                        <a:pt x="1390" y="613"/>
                      </a:lnTo>
                      <a:moveTo>
                        <a:pt x="1016" y="1793"/>
                      </a:moveTo>
                      <a:lnTo>
                        <a:pt x="1584" y="1"/>
                      </a:lnTo>
                      <a:moveTo>
                        <a:pt x="1" y="404"/>
                      </a:moveTo>
                      <a:lnTo>
                        <a:pt x="852" y="912"/>
                      </a:lnTo>
                      <a:moveTo>
                        <a:pt x="225" y="2824"/>
                      </a:moveTo>
                      <a:lnTo>
                        <a:pt x="1479" y="3899"/>
                      </a:lnTo>
                      <a:moveTo>
                        <a:pt x="269" y="5198"/>
                      </a:moveTo>
                      <a:lnTo>
                        <a:pt x="927" y="5169"/>
                      </a:lnTo>
                      <a:moveTo>
                        <a:pt x="105" y="4676"/>
                      </a:moveTo>
                      <a:lnTo>
                        <a:pt x="2032" y="5826"/>
                      </a:lnTo>
                      <a:moveTo>
                        <a:pt x="2196" y="2540"/>
                      </a:moveTo>
                      <a:lnTo>
                        <a:pt x="2719" y="1927"/>
                      </a:lnTo>
                      <a:moveTo>
                        <a:pt x="1733" y="4870"/>
                      </a:moveTo>
                      <a:lnTo>
                        <a:pt x="2510" y="1046"/>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8" name="Google Shape;438;p7"/>
                <p:cNvSpPr/>
                <p:nvPr/>
              </p:nvSpPr>
              <p:spPr>
                <a:xfrm>
                  <a:off x="7911275" y="5824525"/>
                  <a:ext cx="98225" cy="146400"/>
                </a:xfrm>
                <a:custGeom>
                  <a:avLst/>
                  <a:gdLst/>
                  <a:ahLst/>
                  <a:cxnLst/>
                  <a:rect l="l" t="t" r="r" b="b"/>
                  <a:pathLst>
                    <a:path w="3929" h="5856" fill="none" extrusionOk="0">
                      <a:moveTo>
                        <a:pt x="733" y="4900"/>
                      </a:moveTo>
                      <a:lnTo>
                        <a:pt x="299" y="2958"/>
                      </a:lnTo>
                      <a:moveTo>
                        <a:pt x="3929" y="314"/>
                      </a:moveTo>
                      <a:lnTo>
                        <a:pt x="3525" y="344"/>
                      </a:lnTo>
                      <a:moveTo>
                        <a:pt x="2868" y="897"/>
                      </a:moveTo>
                      <a:lnTo>
                        <a:pt x="3929" y="1"/>
                      </a:lnTo>
                      <a:moveTo>
                        <a:pt x="2361" y="195"/>
                      </a:moveTo>
                      <a:lnTo>
                        <a:pt x="2136" y="822"/>
                      </a:lnTo>
                      <a:moveTo>
                        <a:pt x="2346" y="1912"/>
                      </a:moveTo>
                      <a:lnTo>
                        <a:pt x="2047" y="329"/>
                      </a:lnTo>
                      <a:moveTo>
                        <a:pt x="3451" y="2122"/>
                      </a:moveTo>
                      <a:lnTo>
                        <a:pt x="3092" y="2644"/>
                      </a:lnTo>
                      <a:moveTo>
                        <a:pt x="1464" y="3570"/>
                      </a:moveTo>
                      <a:lnTo>
                        <a:pt x="3675" y="2316"/>
                      </a:lnTo>
                      <a:moveTo>
                        <a:pt x="2331" y="4227"/>
                      </a:moveTo>
                      <a:lnTo>
                        <a:pt x="2032" y="4705"/>
                      </a:lnTo>
                      <a:moveTo>
                        <a:pt x="180" y="5855"/>
                      </a:moveTo>
                      <a:lnTo>
                        <a:pt x="2824" y="4227"/>
                      </a:lnTo>
                      <a:moveTo>
                        <a:pt x="1" y="3600"/>
                      </a:moveTo>
                      <a:lnTo>
                        <a:pt x="508" y="392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39" name="Google Shape;439;p7"/>
              <p:cNvGrpSpPr/>
              <p:nvPr/>
            </p:nvGrpSpPr>
            <p:grpSpPr>
              <a:xfrm rot="1900636">
                <a:off x="8459521" y="1452414"/>
                <a:ext cx="828012" cy="1076652"/>
                <a:chOff x="7054700" y="8340850"/>
                <a:chExt cx="411525" cy="535100"/>
              </a:xfrm>
            </p:grpSpPr>
            <p:sp>
              <p:nvSpPr>
                <p:cNvPr id="440" name="Google Shape;440;p7"/>
                <p:cNvSpPr/>
                <p:nvPr/>
              </p:nvSpPr>
              <p:spPr>
                <a:xfrm>
                  <a:off x="7224975" y="8340850"/>
                  <a:ext cx="101600" cy="243850"/>
                </a:xfrm>
                <a:custGeom>
                  <a:avLst/>
                  <a:gdLst/>
                  <a:ahLst/>
                  <a:cxnLst/>
                  <a:rect l="l" t="t" r="r" b="b"/>
                  <a:pathLst>
                    <a:path w="4064" h="9754" fill="none" extrusionOk="0">
                      <a:moveTo>
                        <a:pt x="1" y="9753"/>
                      </a:moveTo>
                      <a:cubicBezTo>
                        <a:pt x="1" y="9753"/>
                        <a:pt x="3107" y="3690"/>
                        <a:pt x="4063" y="0"/>
                      </a:cubicBezTo>
                      <a:moveTo>
                        <a:pt x="3555" y="9753"/>
                      </a:moveTo>
                      <a:cubicBezTo>
                        <a:pt x="3555" y="9753"/>
                        <a:pt x="2465" y="7050"/>
                        <a:pt x="2420" y="4496"/>
                      </a:cubicBezTo>
                    </a:path>
                  </a:pathLst>
                </a:custGeom>
                <a:noFill/>
                <a:ln w="156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1" name="Google Shape;441;p7"/>
                <p:cNvSpPr/>
                <p:nvPr/>
              </p:nvSpPr>
              <p:spPr>
                <a:xfrm>
                  <a:off x="7054700" y="8573950"/>
                  <a:ext cx="252825" cy="194075"/>
                </a:xfrm>
                <a:custGeom>
                  <a:avLst/>
                  <a:gdLst/>
                  <a:ahLst/>
                  <a:cxnLst/>
                  <a:rect l="l" t="t" r="r" b="b"/>
                  <a:pathLst>
                    <a:path w="10113" h="7763" extrusionOk="0">
                      <a:moveTo>
                        <a:pt x="6465" y="0"/>
                      </a:moveTo>
                      <a:cubicBezTo>
                        <a:pt x="6295" y="0"/>
                        <a:pt x="6122" y="87"/>
                        <a:pt x="6020" y="250"/>
                      </a:cubicBezTo>
                      <a:cubicBezTo>
                        <a:pt x="5632" y="848"/>
                        <a:pt x="5497" y="1490"/>
                        <a:pt x="5452" y="1998"/>
                      </a:cubicBezTo>
                      <a:cubicBezTo>
                        <a:pt x="5044" y="1913"/>
                        <a:pt x="4502" y="1830"/>
                        <a:pt x="3931" y="1830"/>
                      </a:cubicBezTo>
                      <a:cubicBezTo>
                        <a:pt x="2791" y="1830"/>
                        <a:pt x="1539" y="2162"/>
                        <a:pt x="1031" y="3476"/>
                      </a:cubicBezTo>
                      <a:cubicBezTo>
                        <a:pt x="1" y="6135"/>
                        <a:pt x="4497" y="7106"/>
                        <a:pt x="4497" y="7106"/>
                      </a:cubicBezTo>
                      <a:cubicBezTo>
                        <a:pt x="4497" y="7106"/>
                        <a:pt x="5916" y="7762"/>
                        <a:pt x="7253" y="7762"/>
                      </a:cubicBezTo>
                      <a:cubicBezTo>
                        <a:pt x="8206" y="7762"/>
                        <a:pt x="9117" y="7428"/>
                        <a:pt x="9440" y="6284"/>
                      </a:cubicBezTo>
                      <a:cubicBezTo>
                        <a:pt x="10112" y="4014"/>
                        <a:pt x="7379" y="2670"/>
                        <a:pt x="6453" y="2296"/>
                      </a:cubicBezTo>
                      <a:cubicBezTo>
                        <a:pt x="6722" y="1848"/>
                        <a:pt x="7080" y="1490"/>
                        <a:pt x="7379" y="1236"/>
                      </a:cubicBezTo>
                      <a:cubicBezTo>
                        <a:pt x="7678" y="982"/>
                        <a:pt x="7603" y="519"/>
                        <a:pt x="7275" y="355"/>
                      </a:cubicBezTo>
                      <a:lnTo>
                        <a:pt x="6692" y="56"/>
                      </a:lnTo>
                      <a:cubicBezTo>
                        <a:pt x="6622" y="18"/>
                        <a:pt x="6543" y="0"/>
                        <a:pt x="646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2" name="Google Shape;442;p7"/>
                <p:cNvSpPr/>
                <p:nvPr/>
              </p:nvSpPr>
              <p:spPr>
                <a:xfrm>
                  <a:off x="7065175" y="8679500"/>
                  <a:ext cx="190450" cy="186150"/>
                </a:xfrm>
                <a:custGeom>
                  <a:avLst/>
                  <a:gdLst/>
                  <a:ahLst/>
                  <a:cxnLst/>
                  <a:rect l="l" t="t" r="r" b="b"/>
                  <a:pathLst>
                    <a:path w="7618" h="7446" extrusionOk="0">
                      <a:moveTo>
                        <a:pt x="2208" y="0"/>
                      </a:moveTo>
                      <a:cubicBezTo>
                        <a:pt x="1980" y="0"/>
                        <a:pt x="1759" y="147"/>
                        <a:pt x="1688" y="389"/>
                      </a:cubicBezTo>
                      <a:lnTo>
                        <a:pt x="538" y="3840"/>
                      </a:lnTo>
                      <a:cubicBezTo>
                        <a:pt x="0" y="5438"/>
                        <a:pt x="1673" y="7021"/>
                        <a:pt x="2599" y="7335"/>
                      </a:cubicBezTo>
                      <a:cubicBezTo>
                        <a:pt x="2659" y="7365"/>
                        <a:pt x="2733" y="7379"/>
                        <a:pt x="2793" y="7379"/>
                      </a:cubicBezTo>
                      <a:cubicBezTo>
                        <a:pt x="2986" y="7422"/>
                        <a:pt x="3215" y="7445"/>
                        <a:pt x="3464" y="7445"/>
                      </a:cubicBezTo>
                      <a:cubicBezTo>
                        <a:pt x="4179" y="7445"/>
                        <a:pt x="5055" y="7251"/>
                        <a:pt x="5676" y="6752"/>
                      </a:cubicBezTo>
                      <a:lnTo>
                        <a:pt x="5691" y="6737"/>
                      </a:lnTo>
                      <a:lnTo>
                        <a:pt x="5706" y="6737"/>
                      </a:lnTo>
                      <a:lnTo>
                        <a:pt x="5721" y="6722"/>
                      </a:lnTo>
                      <a:lnTo>
                        <a:pt x="5735" y="6707"/>
                      </a:lnTo>
                      <a:lnTo>
                        <a:pt x="5750" y="6692"/>
                      </a:lnTo>
                      <a:lnTo>
                        <a:pt x="5765" y="6677"/>
                      </a:lnTo>
                      <a:lnTo>
                        <a:pt x="5780" y="6677"/>
                      </a:lnTo>
                      <a:lnTo>
                        <a:pt x="5795" y="6663"/>
                      </a:lnTo>
                      <a:lnTo>
                        <a:pt x="5795" y="6648"/>
                      </a:lnTo>
                      <a:lnTo>
                        <a:pt x="5810" y="6633"/>
                      </a:lnTo>
                      <a:lnTo>
                        <a:pt x="5825" y="6618"/>
                      </a:lnTo>
                      <a:lnTo>
                        <a:pt x="5840" y="6603"/>
                      </a:lnTo>
                      <a:lnTo>
                        <a:pt x="5855" y="6603"/>
                      </a:lnTo>
                      <a:cubicBezTo>
                        <a:pt x="6079" y="6379"/>
                        <a:pt x="6258" y="6110"/>
                        <a:pt x="6378" y="5811"/>
                      </a:cubicBezTo>
                      <a:lnTo>
                        <a:pt x="7528" y="2361"/>
                      </a:lnTo>
                      <a:cubicBezTo>
                        <a:pt x="7617" y="2122"/>
                        <a:pt x="7513" y="1853"/>
                        <a:pt x="7304" y="1704"/>
                      </a:cubicBezTo>
                      <a:cubicBezTo>
                        <a:pt x="7289" y="1674"/>
                        <a:pt x="7244" y="1659"/>
                        <a:pt x="7214" y="1644"/>
                      </a:cubicBezTo>
                      <a:cubicBezTo>
                        <a:pt x="6004" y="808"/>
                        <a:pt x="4615" y="285"/>
                        <a:pt x="3181" y="91"/>
                      </a:cubicBezTo>
                      <a:cubicBezTo>
                        <a:pt x="2868" y="46"/>
                        <a:pt x="2569" y="16"/>
                        <a:pt x="2241" y="1"/>
                      </a:cubicBezTo>
                      <a:cubicBezTo>
                        <a:pt x="2230" y="0"/>
                        <a:pt x="2219" y="0"/>
                        <a:pt x="220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3" name="Google Shape;443;p7"/>
                <p:cNvSpPr/>
                <p:nvPr/>
              </p:nvSpPr>
              <p:spPr>
                <a:xfrm>
                  <a:off x="7064800" y="8679875"/>
                  <a:ext cx="79550" cy="184500"/>
                </a:xfrm>
                <a:custGeom>
                  <a:avLst/>
                  <a:gdLst/>
                  <a:ahLst/>
                  <a:cxnLst/>
                  <a:rect l="l" t="t" r="r" b="b"/>
                  <a:pathLst>
                    <a:path w="3182" h="7380" extrusionOk="0">
                      <a:moveTo>
                        <a:pt x="2223" y="0"/>
                      </a:moveTo>
                      <a:cubicBezTo>
                        <a:pt x="1982" y="0"/>
                        <a:pt x="1759" y="161"/>
                        <a:pt x="1688" y="389"/>
                      </a:cubicBezTo>
                      <a:lnTo>
                        <a:pt x="538" y="3825"/>
                      </a:lnTo>
                      <a:cubicBezTo>
                        <a:pt x="0" y="5438"/>
                        <a:pt x="1688" y="7021"/>
                        <a:pt x="2599" y="7335"/>
                      </a:cubicBezTo>
                      <a:cubicBezTo>
                        <a:pt x="2659" y="7364"/>
                        <a:pt x="2733" y="7364"/>
                        <a:pt x="2793" y="7379"/>
                      </a:cubicBezTo>
                      <a:cubicBezTo>
                        <a:pt x="1688" y="4616"/>
                        <a:pt x="2554" y="1629"/>
                        <a:pt x="3182" y="91"/>
                      </a:cubicBezTo>
                      <a:cubicBezTo>
                        <a:pt x="2868" y="46"/>
                        <a:pt x="2569" y="16"/>
                        <a:pt x="2256" y="1"/>
                      </a:cubicBezTo>
                      <a:cubicBezTo>
                        <a:pt x="2245" y="0"/>
                        <a:pt x="2234" y="0"/>
                        <a:pt x="222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4" name="Google Shape;444;p7"/>
                <p:cNvSpPr/>
                <p:nvPr/>
              </p:nvSpPr>
              <p:spPr>
                <a:xfrm>
                  <a:off x="7220125" y="8580850"/>
                  <a:ext cx="246100" cy="190825"/>
                </a:xfrm>
                <a:custGeom>
                  <a:avLst/>
                  <a:gdLst/>
                  <a:ahLst/>
                  <a:cxnLst/>
                  <a:rect l="l" t="t" r="r" b="b"/>
                  <a:pathLst>
                    <a:path w="9844" h="7633" extrusionOk="0">
                      <a:moveTo>
                        <a:pt x="4066" y="0"/>
                      </a:moveTo>
                      <a:cubicBezTo>
                        <a:pt x="4046" y="0"/>
                        <a:pt x="4025" y="2"/>
                        <a:pt x="4003" y="4"/>
                      </a:cubicBezTo>
                      <a:lnTo>
                        <a:pt x="3361" y="49"/>
                      </a:lnTo>
                      <a:cubicBezTo>
                        <a:pt x="3092" y="79"/>
                        <a:pt x="2883" y="318"/>
                        <a:pt x="2883" y="587"/>
                      </a:cubicBezTo>
                      <a:cubicBezTo>
                        <a:pt x="2883" y="1304"/>
                        <a:pt x="3107" y="1916"/>
                        <a:pt x="3346" y="2364"/>
                      </a:cubicBezTo>
                      <a:cubicBezTo>
                        <a:pt x="2181" y="2797"/>
                        <a:pt x="0" y="3902"/>
                        <a:pt x="419" y="5964"/>
                      </a:cubicBezTo>
                      <a:cubicBezTo>
                        <a:pt x="671" y="7283"/>
                        <a:pt x="1762" y="7633"/>
                        <a:pt x="2847" y="7633"/>
                      </a:cubicBezTo>
                      <a:cubicBezTo>
                        <a:pt x="4071" y="7633"/>
                        <a:pt x="5288" y="7188"/>
                        <a:pt x="5288" y="7188"/>
                      </a:cubicBezTo>
                      <a:cubicBezTo>
                        <a:pt x="5288" y="7188"/>
                        <a:pt x="9843" y="6576"/>
                        <a:pt x="9022" y="3843"/>
                      </a:cubicBezTo>
                      <a:cubicBezTo>
                        <a:pt x="8564" y="2286"/>
                        <a:pt x="7004" y="1949"/>
                        <a:pt x="5754" y="1949"/>
                      </a:cubicBezTo>
                      <a:cubicBezTo>
                        <a:pt x="5169" y="1949"/>
                        <a:pt x="4652" y="2023"/>
                        <a:pt x="4347" y="2080"/>
                      </a:cubicBezTo>
                      <a:cubicBezTo>
                        <a:pt x="4332" y="1557"/>
                        <a:pt x="4451" y="1065"/>
                        <a:pt x="4571" y="691"/>
                      </a:cubicBezTo>
                      <a:cubicBezTo>
                        <a:pt x="4669" y="339"/>
                        <a:pt x="4409" y="0"/>
                        <a:pt x="406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5" name="Google Shape;445;p7"/>
                <p:cNvSpPr/>
                <p:nvPr/>
              </p:nvSpPr>
              <p:spPr>
                <a:xfrm>
                  <a:off x="7266800" y="8692100"/>
                  <a:ext cx="174400" cy="183850"/>
                </a:xfrm>
                <a:custGeom>
                  <a:avLst/>
                  <a:gdLst/>
                  <a:ahLst/>
                  <a:cxnLst/>
                  <a:rect l="l" t="t" r="r" b="b"/>
                  <a:pathLst>
                    <a:path w="6976" h="7354" extrusionOk="0">
                      <a:moveTo>
                        <a:pt x="5102" y="1"/>
                      </a:moveTo>
                      <a:cubicBezTo>
                        <a:pt x="3724" y="1"/>
                        <a:pt x="2379" y="298"/>
                        <a:pt x="1151" y="856"/>
                      </a:cubicBezTo>
                      <a:cubicBezTo>
                        <a:pt x="882" y="976"/>
                        <a:pt x="598" y="1140"/>
                        <a:pt x="329" y="1289"/>
                      </a:cubicBezTo>
                      <a:cubicBezTo>
                        <a:pt x="105" y="1409"/>
                        <a:pt x="0" y="1663"/>
                        <a:pt x="60" y="1917"/>
                      </a:cubicBezTo>
                      <a:lnTo>
                        <a:pt x="912" y="5442"/>
                      </a:lnTo>
                      <a:cubicBezTo>
                        <a:pt x="1249" y="6815"/>
                        <a:pt x="2901" y="7354"/>
                        <a:pt x="3984" y="7354"/>
                      </a:cubicBezTo>
                      <a:cubicBezTo>
                        <a:pt x="4196" y="7354"/>
                        <a:pt x="4387" y="7333"/>
                        <a:pt x="4541" y="7294"/>
                      </a:cubicBezTo>
                      <a:cubicBezTo>
                        <a:pt x="4601" y="7279"/>
                        <a:pt x="4660" y="7264"/>
                        <a:pt x="4735" y="7234"/>
                      </a:cubicBezTo>
                      <a:cubicBezTo>
                        <a:pt x="5452" y="6980"/>
                        <a:pt x="6483" y="6173"/>
                        <a:pt x="6826" y="5158"/>
                      </a:cubicBezTo>
                      <a:lnTo>
                        <a:pt x="6841" y="5143"/>
                      </a:lnTo>
                      <a:lnTo>
                        <a:pt x="6841" y="5113"/>
                      </a:lnTo>
                      <a:lnTo>
                        <a:pt x="6856" y="5098"/>
                      </a:lnTo>
                      <a:lnTo>
                        <a:pt x="6856" y="5083"/>
                      </a:lnTo>
                      <a:lnTo>
                        <a:pt x="6856" y="5068"/>
                      </a:lnTo>
                      <a:lnTo>
                        <a:pt x="6871" y="5053"/>
                      </a:lnTo>
                      <a:lnTo>
                        <a:pt x="6871" y="5038"/>
                      </a:lnTo>
                      <a:lnTo>
                        <a:pt x="6871" y="5008"/>
                      </a:lnTo>
                      <a:lnTo>
                        <a:pt x="6886" y="4994"/>
                      </a:lnTo>
                      <a:lnTo>
                        <a:pt x="6886" y="4979"/>
                      </a:lnTo>
                      <a:lnTo>
                        <a:pt x="6886" y="4964"/>
                      </a:lnTo>
                      <a:lnTo>
                        <a:pt x="6886" y="4949"/>
                      </a:lnTo>
                      <a:cubicBezTo>
                        <a:pt x="6961" y="4635"/>
                        <a:pt x="6975" y="4307"/>
                        <a:pt x="6901" y="3978"/>
                      </a:cubicBezTo>
                      <a:lnTo>
                        <a:pt x="6035" y="453"/>
                      </a:lnTo>
                      <a:cubicBezTo>
                        <a:pt x="5975" y="199"/>
                        <a:pt x="5766" y="20"/>
                        <a:pt x="5497" y="5"/>
                      </a:cubicBezTo>
                      <a:lnTo>
                        <a:pt x="5392" y="5"/>
                      </a:lnTo>
                      <a:cubicBezTo>
                        <a:pt x="5295" y="2"/>
                        <a:pt x="5199" y="1"/>
                        <a:pt x="510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6" name="Google Shape;446;p7"/>
                <p:cNvSpPr/>
                <p:nvPr/>
              </p:nvSpPr>
              <p:spPr>
                <a:xfrm>
                  <a:off x="7266800" y="8713500"/>
                  <a:ext cx="118400" cy="162450"/>
                </a:xfrm>
                <a:custGeom>
                  <a:avLst/>
                  <a:gdLst/>
                  <a:ahLst/>
                  <a:cxnLst/>
                  <a:rect l="l" t="t" r="r" b="b"/>
                  <a:pathLst>
                    <a:path w="4736" h="6498" extrusionOk="0">
                      <a:moveTo>
                        <a:pt x="1151" y="0"/>
                      </a:moveTo>
                      <a:cubicBezTo>
                        <a:pt x="882" y="120"/>
                        <a:pt x="598" y="269"/>
                        <a:pt x="329" y="433"/>
                      </a:cubicBezTo>
                      <a:cubicBezTo>
                        <a:pt x="105" y="553"/>
                        <a:pt x="0" y="807"/>
                        <a:pt x="60" y="1061"/>
                      </a:cubicBezTo>
                      <a:lnTo>
                        <a:pt x="912" y="4586"/>
                      </a:lnTo>
                      <a:cubicBezTo>
                        <a:pt x="1249" y="5959"/>
                        <a:pt x="2901" y="6498"/>
                        <a:pt x="3984" y="6498"/>
                      </a:cubicBezTo>
                      <a:cubicBezTo>
                        <a:pt x="4196" y="6498"/>
                        <a:pt x="4387" y="6477"/>
                        <a:pt x="4541" y="6438"/>
                      </a:cubicBezTo>
                      <a:cubicBezTo>
                        <a:pt x="4601" y="6423"/>
                        <a:pt x="4660" y="6408"/>
                        <a:pt x="4735" y="6378"/>
                      </a:cubicBezTo>
                      <a:cubicBezTo>
                        <a:pt x="2316" y="4645"/>
                        <a:pt x="1449" y="1658"/>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7" name="Google Shape;447;p7"/>
                <p:cNvSpPr/>
                <p:nvPr/>
              </p:nvSpPr>
              <p:spPr>
                <a:xfrm>
                  <a:off x="7292575" y="8422250"/>
                  <a:ext cx="159825" cy="136675"/>
                </a:xfrm>
                <a:custGeom>
                  <a:avLst/>
                  <a:gdLst/>
                  <a:ahLst/>
                  <a:cxnLst/>
                  <a:rect l="l" t="t" r="r" b="b"/>
                  <a:pathLst>
                    <a:path w="6393" h="5467" extrusionOk="0">
                      <a:moveTo>
                        <a:pt x="1090" y="0"/>
                      </a:moveTo>
                      <a:cubicBezTo>
                        <a:pt x="1090" y="1"/>
                        <a:pt x="0" y="4541"/>
                        <a:pt x="5422" y="5467"/>
                      </a:cubicBezTo>
                      <a:lnTo>
                        <a:pt x="5437" y="5467"/>
                      </a:lnTo>
                      <a:cubicBezTo>
                        <a:pt x="5437" y="5467"/>
                        <a:pt x="6393" y="1479"/>
                        <a:pt x="10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8" name="Google Shape;448;p7"/>
                <p:cNvSpPr/>
                <p:nvPr/>
              </p:nvSpPr>
              <p:spPr>
                <a:xfrm>
                  <a:off x="7306375" y="8404700"/>
                  <a:ext cx="97850" cy="124000"/>
                </a:xfrm>
                <a:custGeom>
                  <a:avLst/>
                  <a:gdLst/>
                  <a:ahLst/>
                  <a:cxnLst/>
                  <a:rect l="l" t="t" r="r" b="b"/>
                  <a:pathLst>
                    <a:path w="3914" h="4960" fill="none" extrusionOk="0">
                      <a:moveTo>
                        <a:pt x="1" y="0"/>
                      </a:moveTo>
                      <a:lnTo>
                        <a:pt x="3914" y="495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9" name="Google Shape;449;p7"/>
                <p:cNvSpPr/>
                <p:nvPr/>
              </p:nvSpPr>
              <p:spPr>
                <a:xfrm>
                  <a:off x="7104375" y="8455100"/>
                  <a:ext cx="188200" cy="154625"/>
                </a:xfrm>
                <a:custGeom>
                  <a:avLst/>
                  <a:gdLst/>
                  <a:ahLst/>
                  <a:cxnLst/>
                  <a:rect l="l" t="t" r="r" b="b"/>
                  <a:pathLst>
                    <a:path w="7528" h="6185" extrusionOk="0">
                      <a:moveTo>
                        <a:pt x="6796" y="1"/>
                      </a:moveTo>
                      <a:lnTo>
                        <a:pt x="6796" y="1"/>
                      </a:lnTo>
                      <a:cubicBezTo>
                        <a:pt x="0" y="1091"/>
                        <a:pt x="643" y="6184"/>
                        <a:pt x="643" y="6184"/>
                      </a:cubicBezTo>
                      <a:lnTo>
                        <a:pt x="673" y="6184"/>
                      </a:lnTo>
                      <a:cubicBezTo>
                        <a:pt x="7528" y="5796"/>
                        <a:pt x="6796" y="1"/>
                        <a:pt x="67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0" name="Google Shape;450;p7"/>
                <p:cNvSpPr/>
                <p:nvPr/>
              </p:nvSpPr>
              <p:spPr>
                <a:xfrm>
                  <a:off x="7154775" y="8435700"/>
                  <a:ext cx="138925" cy="140025"/>
                </a:xfrm>
                <a:custGeom>
                  <a:avLst/>
                  <a:gdLst/>
                  <a:ahLst/>
                  <a:cxnLst/>
                  <a:rect l="l" t="t" r="r" b="b"/>
                  <a:pathLst>
                    <a:path w="5557" h="5601" fill="none" extrusionOk="0">
                      <a:moveTo>
                        <a:pt x="5557" y="0"/>
                      </a:moveTo>
                      <a:lnTo>
                        <a:pt x="1" y="560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51" name="Google Shape;451;p7"/>
            <p:cNvGrpSpPr/>
            <p:nvPr/>
          </p:nvGrpSpPr>
          <p:grpSpPr>
            <a:xfrm>
              <a:off x="-434890" y="-462477"/>
              <a:ext cx="1988235" cy="2096219"/>
              <a:chOff x="-434890" y="-462477"/>
              <a:chExt cx="1988235" cy="2096219"/>
            </a:xfrm>
          </p:grpSpPr>
          <p:sp>
            <p:nvSpPr>
              <p:cNvPr id="452" name="Google Shape;452;p7"/>
              <p:cNvSpPr/>
              <p:nvPr/>
            </p:nvSpPr>
            <p:spPr>
              <a:xfrm>
                <a:off x="318695" y="1468600"/>
                <a:ext cx="215061" cy="165143"/>
              </a:xfrm>
              <a:custGeom>
                <a:avLst/>
                <a:gdLst/>
                <a:ahLst/>
                <a:cxnLst/>
                <a:rect l="l" t="t" r="r" b="b"/>
                <a:pathLst>
                  <a:path w="5661" h="4347" fill="none" extrusionOk="0">
                    <a:moveTo>
                      <a:pt x="5661" y="4347"/>
                    </a:moveTo>
                    <a:cubicBezTo>
                      <a:pt x="5661" y="4347"/>
                      <a:pt x="1150" y="762"/>
                      <a:pt x="702" y="1"/>
                    </a:cubicBezTo>
                    <a:moveTo>
                      <a:pt x="0" y="2181"/>
                    </a:moveTo>
                    <a:lnTo>
                      <a:pt x="3017" y="218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3" name="Google Shape;453;p7"/>
              <p:cNvGrpSpPr/>
              <p:nvPr/>
            </p:nvGrpSpPr>
            <p:grpSpPr>
              <a:xfrm flipH="1">
                <a:off x="-434890" y="-462477"/>
                <a:ext cx="1479591" cy="1438198"/>
                <a:chOff x="4719681" y="3910588"/>
                <a:chExt cx="1477670" cy="1436330"/>
              </a:xfrm>
            </p:grpSpPr>
            <p:sp>
              <p:nvSpPr>
                <p:cNvPr id="454" name="Google Shape;454;p7"/>
                <p:cNvSpPr/>
                <p:nvPr/>
              </p:nvSpPr>
              <p:spPr>
                <a:xfrm>
                  <a:off x="4918697" y="3910588"/>
                  <a:ext cx="1278654" cy="1245050"/>
                </a:xfrm>
                <a:custGeom>
                  <a:avLst/>
                  <a:gdLst/>
                  <a:ahLst/>
                  <a:cxnLst/>
                  <a:rect l="l" t="t" r="r" b="b"/>
                  <a:pathLst>
                    <a:path w="24466" h="23823" extrusionOk="0">
                      <a:moveTo>
                        <a:pt x="1" y="0"/>
                      </a:moveTo>
                      <a:lnTo>
                        <a:pt x="1" y="15"/>
                      </a:lnTo>
                      <a:cubicBezTo>
                        <a:pt x="1" y="15"/>
                        <a:pt x="22" y="37"/>
                        <a:pt x="62" y="77"/>
                      </a:cubicBezTo>
                      <a:lnTo>
                        <a:pt x="62" y="77"/>
                      </a:lnTo>
                      <a:lnTo>
                        <a:pt x="1" y="0"/>
                      </a:lnTo>
                      <a:close/>
                      <a:moveTo>
                        <a:pt x="62" y="77"/>
                      </a:moveTo>
                      <a:lnTo>
                        <a:pt x="18969" y="23823"/>
                      </a:lnTo>
                      <a:lnTo>
                        <a:pt x="22136" y="20417"/>
                      </a:lnTo>
                      <a:lnTo>
                        <a:pt x="21240" y="20776"/>
                      </a:lnTo>
                      <a:lnTo>
                        <a:pt x="21240" y="20776"/>
                      </a:lnTo>
                      <a:lnTo>
                        <a:pt x="24077" y="17953"/>
                      </a:lnTo>
                      <a:lnTo>
                        <a:pt x="23331" y="18058"/>
                      </a:lnTo>
                      <a:lnTo>
                        <a:pt x="23331" y="18058"/>
                      </a:lnTo>
                      <a:lnTo>
                        <a:pt x="24466" y="16400"/>
                      </a:lnTo>
                      <a:lnTo>
                        <a:pt x="24466" y="16400"/>
                      </a:lnTo>
                      <a:cubicBezTo>
                        <a:pt x="24383" y="16414"/>
                        <a:pt x="24307" y="16420"/>
                        <a:pt x="24235" y="16420"/>
                      </a:cubicBezTo>
                      <a:cubicBezTo>
                        <a:pt x="22322" y="16420"/>
                        <a:pt x="24182" y="11591"/>
                        <a:pt x="24182" y="11590"/>
                      </a:cubicBezTo>
                      <a:lnTo>
                        <a:pt x="24182" y="11590"/>
                      </a:lnTo>
                      <a:cubicBezTo>
                        <a:pt x="24104" y="11626"/>
                        <a:pt x="24033" y="11642"/>
                        <a:pt x="23968" y="11642"/>
                      </a:cubicBezTo>
                      <a:cubicBezTo>
                        <a:pt x="23026" y="11642"/>
                        <a:pt x="23510" y="8097"/>
                        <a:pt x="23510" y="8095"/>
                      </a:cubicBezTo>
                      <a:lnTo>
                        <a:pt x="23510" y="8095"/>
                      </a:lnTo>
                      <a:cubicBezTo>
                        <a:pt x="22919" y="10108"/>
                        <a:pt x="21833" y="10302"/>
                        <a:pt x="21435" y="10302"/>
                      </a:cubicBezTo>
                      <a:cubicBezTo>
                        <a:pt x="21340" y="10302"/>
                        <a:pt x="21284" y="10291"/>
                        <a:pt x="21284" y="10291"/>
                      </a:cubicBezTo>
                      <a:cubicBezTo>
                        <a:pt x="21284" y="10291"/>
                        <a:pt x="20344" y="11977"/>
                        <a:pt x="19409" y="11977"/>
                      </a:cubicBezTo>
                      <a:cubicBezTo>
                        <a:pt x="19183" y="11977"/>
                        <a:pt x="18957" y="11879"/>
                        <a:pt x="18745" y="11635"/>
                      </a:cubicBezTo>
                      <a:cubicBezTo>
                        <a:pt x="17640" y="10396"/>
                        <a:pt x="20448" y="8663"/>
                        <a:pt x="20448" y="8663"/>
                      </a:cubicBezTo>
                      <a:lnTo>
                        <a:pt x="20448" y="8663"/>
                      </a:lnTo>
                      <a:cubicBezTo>
                        <a:pt x="20433" y="8664"/>
                        <a:pt x="20418" y="8664"/>
                        <a:pt x="20404" y="8664"/>
                      </a:cubicBezTo>
                      <a:cubicBezTo>
                        <a:pt x="19350" y="8664"/>
                        <a:pt x="21284" y="5960"/>
                        <a:pt x="21284" y="5960"/>
                      </a:cubicBezTo>
                      <a:lnTo>
                        <a:pt x="21284" y="5960"/>
                      </a:lnTo>
                      <a:cubicBezTo>
                        <a:pt x="21199" y="5985"/>
                        <a:pt x="21125" y="5996"/>
                        <a:pt x="21060" y="5996"/>
                      </a:cubicBezTo>
                      <a:cubicBezTo>
                        <a:pt x="20045" y="5996"/>
                        <a:pt x="21404" y="3107"/>
                        <a:pt x="21404" y="3107"/>
                      </a:cubicBezTo>
                      <a:lnTo>
                        <a:pt x="21404" y="3107"/>
                      </a:lnTo>
                      <a:cubicBezTo>
                        <a:pt x="21404" y="3107"/>
                        <a:pt x="21162" y="3309"/>
                        <a:pt x="20897" y="3309"/>
                      </a:cubicBezTo>
                      <a:cubicBezTo>
                        <a:pt x="20801" y="3309"/>
                        <a:pt x="20703" y="3283"/>
                        <a:pt x="20612" y="3211"/>
                      </a:cubicBezTo>
                      <a:cubicBezTo>
                        <a:pt x="20299" y="2928"/>
                        <a:pt x="20791" y="867"/>
                        <a:pt x="20792" y="866"/>
                      </a:cubicBezTo>
                      <a:lnTo>
                        <a:pt x="20792" y="866"/>
                      </a:lnTo>
                      <a:cubicBezTo>
                        <a:pt x="20791" y="867"/>
                        <a:pt x="19940" y="2181"/>
                        <a:pt x="18969" y="2569"/>
                      </a:cubicBezTo>
                      <a:cubicBezTo>
                        <a:pt x="18858" y="2615"/>
                        <a:pt x="18769" y="2636"/>
                        <a:pt x="18700" y="2636"/>
                      </a:cubicBezTo>
                      <a:cubicBezTo>
                        <a:pt x="18164" y="2636"/>
                        <a:pt x="18760" y="1419"/>
                        <a:pt x="18760" y="1419"/>
                      </a:cubicBezTo>
                      <a:lnTo>
                        <a:pt x="18760" y="1419"/>
                      </a:lnTo>
                      <a:cubicBezTo>
                        <a:pt x="18760" y="1419"/>
                        <a:pt x="18118" y="2121"/>
                        <a:pt x="17789" y="2300"/>
                      </a:cubicBezTo>
                      <a:cubicBezTo>
                        <a:pt x="17746" y="2324"/>
                        <a:pt x="17708" y="2335"/>
                        <a:pt x="17675" y="2335"/>
                      </a:cubicBezTo>
                      <a:cubicBezTo>
                        <a:pt x="17465" y="2335"/>
                        <a:pt x="17476" y="1897"/>
                        <a:pt x="17476" y="1897"/>
                      </a:cubicBezTo>
                      <a:lnTo>
                        <a:pt x="17476" y="1897"/>
                      </a:lnTo>
                      <a:cubicBezTo>
                        <a:pt x="17476" y="1897"/>
                        <a:pt x="16744" y="3495"/>
                        <a:pt x="16117" y="4033"/>
                      </a:cubicBezTo>
                      <a:cubicBezTo>
                        <a:pt x="15967" y="4157"/>
                        <a:pt x="15841" y="4205"/>
                        <a:pt x="15735" y="4205"/>
                      </a:cubicBezTo>
                      <a:cubicBezTo>
                        <a:pt x="15395" y="4205"/>
                        <a:pt x="15265" y="3719"/>
                        <a:pt x="15265" y="3719"/>
                      </a:cubicBezTo>
                      <a:cubicBezTo>
                        <a:pt x="15265" y="3719"/>
                        <a:pt x="14892" y="7319"/>
                        <a:pt x="14638" y="7408"/>
                      </a:cubicBezTo>
                      <a:cubicBezTo>
                        <a:pt x="14630" y="7411"/>
                        <a:pt x="14621" y="7412"/>
                        <a:pt x="14613" y="7412"/>
                      </a:cubicBezTo>
                      <a:cubicBezTo>
                        <a:pt x="14367" y="7412"/>
                        <a:pt x="14115" y="6393"/>
                        <a:pt x="14115" y="6393"/>
                      </a:cubicBezTo>
                      <a:lnTo>
                        <a:pt x="14115" y="6393"/>
                      </a:lnTo>
                      <a:cubicBezTo>
                        <a:pt x="14115" y="6394"/>
                        <a:pt x="14305" y="9930"/>
                        <a:pt x="12993" y="9930"/>
                      </a:cubicBezTo>
                      <a:cubicBezTo>
                        <a:pt x="12928" y="9930"/>
                        <a:pt x="12859" y="9921"/>
                        <a:pt x="12786" y="9903"/>
                      </a:cubicBezTo>
                      <a:cubicBezTo>
                        <a:pt x="11233" y="9514"/>
                        <a:pt x="12890" y="6572"/>
                        <a:pt x="12890" y="6572"/>
                      </a:cubicBezTo>
                      <a:lnTo>
                        <a:pt x="12890" y="6572"/>
                      </a:lnTo>
                      <a:cubicBezTo>
                        <a:pt x="12762" y="6617"/>
                        <a:pt x="12660" y="6637"/>
                        <a:pt x="12582" y="6637"/>
                      </a:cubicBezTo>
                      <a:cubicBezTo>
                        <a:pt x="11771" y="6637"/>
                        <a:pt x="13473" y="4451"/>
                        <a:pt x="13473" y="4451"/>
                      </a:cubicBezTo>
                      <a:lnTo>
                        <a:pt x="13473" y="4451"/>
                      </a:lnTo>
                      <a:cubicBezTo>
                        <a:pt x="13222" y="4601"/>
                        <a:pt x="13020" y="4663"/>
                        <a:pt x="12858" y="4663"/>
                      </a:cubicBezTo>
                      <a:cubicBezTo>
                        <a:pt x="12031" y="4663"/>
                        <a:pt x="12218" y="3047"/>
                        <a:pt x="12218" y="3047"/>
                      </a:cubicBezTo>
                      <a:lnTo>
                        <a:pt x="12218" y="3047"/>
                      </a:lnTo>
                      <a:cubicBezTo>
                        <a:pt x="12128" y="3072"/>
                        <a:pt x="12044" y="3083"/>
                        <a:pt x="11965" y="3083"/>
                      </a:cubicBezTo>
                      <a:cubicBezTo>
                        <a:pt x="10858" y="3083"/>
                        <a:pt x="10949" y="778"/>
                        <a:pt x="10949" y="777"/>
                      </a:cubicBezTo>
                      <a:lnTo>
                        <a:pt x="10949" y="777"/>
                      </a:lnTo>
                      <a:cubicBezTo>
                        <a:pt x="10949" y="777"/>
                        <a:pt x="10769" y="1569"/>
                        <a:pt x="10172" y="2494"/>
                      </a:cubicBezTo>
                      <a:cubicBezTo>
                        <a:pt x="9918" y="2872"/>
                        <a:pt x="9672" y="2983"/>
                        <a:pt x="9470" y="2983"/>
                      </a:cubicBezTo>
                      <a:cubicBezTo>
                        <a:pt x="9187" y="2983"/>
                        <a:pt x="8992" y="2763"/>
                        <a:pt x="8992" y="2763"/>
                      </a:cubicBezTo>
                      <a:lnTo>
                        <a:pt x="8992" y="2763"/>
                      </a:lnTo>
                      <a:cubicBezTo>
                        <a:pt x="8992" y="2764"/>
                        <a:pt x="9291" y="3376"/>
                        <a:pt x="9127" y="4272"/>
                      </a:cubicBezTo>
                      <a:cubicBezTo>
                        <a:pt x="9056" y="4630"/>
                        <a:pt x="8861" y="4739"/>
                        <a:pt x="8650" y="4739"/>
                      </a:cubicBezTo>
                      <a:cubicBezTo>
                        <a:pt x="8324" y="4739"/>
                        <a:pt x="7962" y="4481"/>
                        <a:pt x="7962" y="4481"/>
                      </a:cubicBezTo>
                      <a:lnTo>
                        <a:pt x="7962" y="4481"/>
                      </a:lnTo>
                      <a:cubicBezTo>
                        <a:pt x="7962" y="4481"/>
                        <a:pt x="9664" y="7408"/>
                        <a:pt x="7992" y="7588"/>
                      </a:cubicBezTo>
                      <a:cubicBezTo>
                        <a:pt x="7959" y="7591"/>
                        <a:pt x="7928" y="7593"/>
                        <a:pt x="7898" y="7593"/>
                      </a:cubicBezTo>
                      <a:cubicBezTo>
                        <a:pt x="6356" y="7593"/>
                        <a:pt x="7304" y="3183"/>
                        <a:pt x="7304" y="3181"/>
                      </a:cubicBezTo>
                      <a:lnTo>
                        <a:pt x="7304" y="3181"/>
                      </a:lnTo>
                      <a:cubicBezTo>
                        <a:pt x="7304" y="3182"/>
                        <a:pt x="6973" y="3977"/>
                        <a:pt x="6438" y="3977"/>
                      </a:cubicBezTo>
                      <a:cubicBezTo>
                        <a:pt x="6302" y="3977"/>
                        <a:pt x="6151" y="3925"/>
                        <a:pt x="5990" y="3794"/>
                      </a:cubicBezTo>
                      <a:cubicBezTo>
                        <a:pt x="5214" y="3167"/>
                        <a:pt x="5437" y="1674"/>
                        <a:pt x="5438" y="1673"/>
                      </a:cubicBezTo>
                      <a:lnTo>
                        <a:pt x="5438" y="1673"/>
                      </a:lnTo>
                      <a:cubicBezTo>
                        <a:pt x="5255" y="2325"/>
                        <a:pt x="5004" y="2560"/>
                        <a:pt x="4737" y="2560"/>
                      </a:cubicBezTo>
                      <a:cubicBezTo>
                        <a:pt x="4044" y="2560"/>
                        <a:pt x="3242" y="971"/>
                        <a:pt x="3242" y="971"/>
                      </a:cubicBezTo>
                      <a:cubicBezTo>
                        <a:pt x="3066" y="1370"/>
                        <a:pt x="2786" y="1522"/>
                        <a:pt x="2464" y="1522"/>
                      </a:cubicBezTo>
                      <a:cubicBezTo>
                        <a:pt x="1571" y="1522"/>
                        <a:pt x="346" y="359"/>
                        <a:pt x="62" y="77"/>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5" name="Google Shape;455;p7"/>
                <p:cNvGrpSpPr/>
                <p:nvPr/>
              </p:nvGrpSpPr>
              <p:grpSpPr>
                <a:xfrm>
                  <a:off x="4719681" y="3910588"/>
                  <a:ext cx="1387935" cy="1436330"/>
                  <a:chOff x="4719681" y="3910588"/>
                  <a:chExt cx="1387935" cy="1436330"/>
                </a:xfrm>
              </p:grpSpPr>
              <p:sp>
                <p:nvSpPr>
                  <p:cNvPr id="456" name="Google Shape;456;p7"/>
                  <p:cNvSpPr/>
                  <p:nvPr/>
                </p:nvSpPr>
                <p:spPr>
                  <a:xfrm>
                    <a:off x="4719681" y="3910588"/>
                    <a:ext cx="1189651" cy="1436330"/>
                  </a:xfrm>
                  <a:custGeom>
                    <a:avLst/>
                    <a:gdLst/>
                    <a:ahLst/>
                    <a:cxnLst/>
                    <a:rect l="l" t="t" r="r" b="b"/>
                    <a:pathLst>
                      <a:path w="22763" h="27483" extrusionOk="0">
                        <a:moveTo>
                          <a:pt x="3809" y="0"/>
                        </a:moveTo>
                        <a:lnTo>
                          <a:pt x="3809" y="15"/>
                        </a:lnTo>
                        <a:cubicBezTo>
                          <a:pt x="3809" y="15"/>
                          <a:pt x="5795" y="3047"/>
                          <a:pt x="4033" y="3376"/>
                        </a:cubicBezTo>
                        <a:cubicBezTo>
                          <a:pt x="4033" y="3376"/>
                          <a:pt x="6647" y="5571"/>
                          <a:pt x="4212" y="5676"/>
                        </a:cubicBezTo>
                        <a:cubicBezTo>
                          <a:pt x="4212" y="5676"/>
                          <a:pt x="5721" y="5795"/>
                          <a:pt x="6169" y="6706"/>
                        </a:cubicBezTo>
                        <a:cubicBezTo>
                          <a:pt x="6617" y="7602"/>
                          <a:pt x="5258" y="7856"/>
                          <a:pt x="5258" y="7856"/>
                        </a:cubicBezTo>
                        <a:cubicBezTo>
                          <a:pt x="5258" y="7856"/>
                          <a:pt x="9947" y="7916"/>
                          <a:pt x="9410" y="9499"/>
                        </a:cubicBezTo>
                        <a:cubicBezTo>
                          <a:pt x="9269" y="9907"/>
                          <a:pt x="9003" y="10059"/>
                          <a:pt x="8685" y="10059"/>
                        </a:cubicBezTo>
                        <a:cubicBezTo>
                          <a:pt x="7759" y="10059"/>
                          <a:pt x="6393" y="8768"/>
                          <a:pt x="6393" y="8767"/>
                        </a:cubicBezTo>
                        <a:lnTo>
                          <a:pt x="6393" y="8767"/>
                        </a:lnTo>
                        <a:cubicBezTo>
                          <a:pt x="6393" y="8768"/>
                          <a:pt x="6824" y="9859"/>
                          <a:pt x="5981" y="9859"/>
                        </a:cubicBezTo>
                        <a:cubicBezTo>
                          <a:pt x="5965" y="9859"/>
                          <a:pt x="5947" y="9859"/>
                          <a:pt x="5930" y="9858"/>
                        </a:cubicBezTo>
                        <a:cubicBezTo>
                          <a:pt x="5019" y="9813"/>
                          <a:pt x="4496" y="9395"/>
                          <a:pt x="4496" y="9395"/>
                        </a:cubicBezTo>
                        <a:lnTo>
                          <a:pt x="4496" y="9395"/>
                        </a:lnTo>
                        <a:cubicBezTo>
                          <a:pt x="4496" y="9395"/>
                          <a:pt x="5004" y="10082"/>
                          <a:pt x="3973" y="10470"/>
                        </a:cubicBezTo>
                        <a:cubicBezTo>
                          <a:pt x="2943" y="10858"/>
                          <a:pt x="2121" y="10858"/>
                          <a:pt x="2121" y="10858"/>
                        </a:cubicBezTo>
                        <a:cubicBezTo>
                          <a:pt x="2121" y="10858"/>
                          <a:pt x="4720" y="11366"/>
                          <a:pt x="4048" y="12606"/>
                        </a:cubicBezTo>
                        <a:cubicBezTo>
                          <a:pt x="4048" y="12606"/>
                          <a:pt x="6393" y="12845"/>
                          <a:pt x="5153" y="14144"/>
                        </a:cubicBezTo>
                        <a:cubicBezTo>
                          <a:pt x="5153" y="14144"/>
                          <a:pt x="6546" y="13493"/>
                          <a:pt x="7175" y="13493"/>
                        </a:cubicBezTo>
                        <a:cubicBezTo>
                          <a:pt x="7469" y="13493"/>
                          <a:pt x="7596" y="13636"/>
                          <a:pt x="7334" y="14055"/>
                        </a:cubicBezTo>
                        <a:cubicBezTo>
                          <a:pt x="7334" y="14055"/>
                          <a:pt x="8304" y="13769"/>
                          <a:pt x="9187" y="13769"/>
                        </a:cubicBezTo>
                        <a:cubicBezTo>
                          <a:pt x="9919" y="13769"/>
                          <a:pt x="10591" y="13965"/>
                          <a:pt x="10605" y="14682"/>
                        </a:cubicBezTo>
                        <a:cubicBezTo>
                          <a:pt x="10611" y="15358"/>
                          <a:pt x="9947" y="15553"/>
                          <a:pt x="9178" y="15553"/>
                        </a:cubicBezTo>
                        <a:cubicBezTo>
                          <a:pt x="8129" y="15553"/>
                          <a:pt x="6886" y="15190"/>
                          <a:pt x="6886" y="15190"/>
                        </a:cubicBezTo>
                        <a:lnTo>
                          <a:pt x="6886" y="15190"/>
                        </a:lnTo>
                        <a:cubicBezTo>
                          <a:pt x="6886" y="15190"/>
                          <a:pt x="7901" y="15683"/>
                          <a:pt x="7737" y="15922"/>
                        </a:cubicBezTo>
                        <a:cubicBezTo>
                          <a:pt x="7709" y="15971"/>
                          <a:pt x="7536" y="15990"/>
                          <a:pt x="7278" y="15990"/>
                        </a:cubicBezTo>
                        <a:cubicBezTo>
                          <a:pt x="6277" y="15990"/>
                          <a:pt x="4003" y="15698"/>
                          <a:pt x="4003" y="15698"/>
                        </a:cubicBezTo>
                        <a:lnTo>
                          <a:pt x="4003" y="15698"/>
                        </a:lnTo>
                        <a:cubicBezTo>
                          <a:pt x="4003" y="15698"/>
                          <a:pt x="4780" y="16116"/>
                          <a:pt x="4123" y="16594"/>
                        </a:cubicBezTo>
                        <a:cubicBezTo>
                          <a:pt x="3465" y="17087"/>
                          <a:pt x="1748" y="17445"/>
                          <a:pt x="1748" y="17445"/>
                        </a:cubicBezTo>
                        <a:cubicBezTo>
                          <a:pt x="1748" y="17445"/>
                          <a:pt x="2315" y="17550"/>
                          <a:pt x="2061" y="17848"/>
                        </a:cubicBezTo>
                        <a:cubicBezTo>
                          <a:pt x="1822" y="18132"/>
                          <a:pt x="986" y="18595"/>
                          <a:pt x="986" y="18595"/>
                        </a:cubicBezTo>
                        <a:cubicBezTo>
                          <a:pt x="986" y="18595"/>
                          <a:pt x="1370" y="18507"/>
                          <a:pt x="1705" y="18507"/>
                        </a:cubicBezTo>
                        <a:cubicBezTo>
                          <a:pt x="2073" y="18507"/>
                          <a:pt x="2382" y="18613"/>
                          <a:pt x="2061" y="19058"/>
                        </a:cubicBezTo>
                        <a:cubicBezTo>
                          <a:pt x="1464" y="19910"/>
                          <a:pt x="0" y="20432"/>
                          <a:pt x="0" y="20432"/>
                        </a:cubicBezTo>
                        <a:cubicBezTo>
                          <a:pt x="0" y="20432"/>
                          <a:pt x="11" y="20432"/>
                          <a:pt x="31" y="20432"/>
                        </a:cubicBezTo>
                        <a:cubicBezTo>
                          <a:pt x="293" y="20432"/>
                          <a:pt x="2135" y="20445"/>
                          <a:pt x="2315" y="20806"/>
                        </a:cubicBezTo>
                        <a:cubicBezTo>
                          <a:pt x="2509" y="21194"/>
                          <a:pt x="2032" y="21553"/>
                          <a:pt x="2032" y="21553"/>
                        </a:cubicBezTo>
                        <a:cubicBezTo>
                          <a:pt x="2032" y="21553"/>
                          <a:pt x="3088" y="21320"/>
                          <a:pt x="3926" y="21320"/>
                        </a:cubicBezTo>
                        <a:cubicBezTo>
                          <a:pt x="4619" y="21320"/>
                          <a:pt x="5164" y="21479"/>
                          <a:pt x="4839" y="22060"/>
                        </a:cubicBezTo>
                        <a:cubicBezTo>
                          <a:pt x="4839" y="22060"/>
                          <a:pt x="6406" y="21404"/>
                          <a:pt x="7215" y="21404"/>
                        </a:cubicBezTo>
                        <a:cubicBezTo>
                          <a:pt x="7550" y="21404"/>
                          <a:pt x="7754" y="21517"/>
                          <a:pt x="7662" y="21836"/>
                        </a:cubicBezTo>
                        <a:cubicBezTo>
                          <a:pt x="7662" y="21836"/>
                          <a:pt x="9061" y="20420"/>
                          <a:pt x="10140" y="20420"/>
                        </a:cubicBezTo>
                        <a:cubicBezTo>
                          <a:pt x="10449" y="20420"/>
                          <a:pt x="10732" y="20536"/>
                          <a:pt x="10948" y="20836"/>
                        </a:cubicBezTo>
                        <a:cubicBezTo>
                          <a:pt x="11934" y="22180"/>
                          <a:pt x="9066" y="23001"/>
                          <a:pt x="9066" y="23001"/>
                        </a:cubicBezTo>
                        <a:cubicBezTo>
                          <a:pt x="9066" y="23001"/>
                          <a:pt x="9036" y="24525"/>
                          <a:pt x="6438" y="24704"/>
                        </a:cubicBezTo>
                        <a:cubicBezTo>
                          <a:pt x="6438" y="24704"/>
                          <a:pt x="10515" y="25062"/>
                          <a:pt x="9679" y="26138"/>
                        </a:cubicBezTo>
                        <a:cubicBezTo>
                          <a:pt x="9679" y="26138"/>
                          <a:pt x="10691" y="25990"/>
                          <a:pt x="11778" y="25990"/>
                        </a:cubicBezTo>
                        <a:cubicBezTo>
                          <a:pt x="13228" y="25990"/>
                          <a:pt x="14812" y="26253"/>
                          <a:pt x="14309" y="27482"/>
                        </a:cubicBezTo>
                        <a:lnTo>
                          <a:pt x="16176" y="26750"/>
                        </a:lnTo>
                        <a:lnTo>
                          <a:pt x="15907" y="27452"/>
                        </a:lnTo>
                        <a:lnTo>
                          <a:pt x="19297" y="25301"/>
                        </a:lnTo>
                        <a:lnTo>
                          <a:pt x="18745" y="26093"/>
                        </a:lnTo>
                        <a:lnTo>
                          <a:pt x="22762" y="23778"/>
                        </a:lnTo>
                        <a:lnTo>
                          <a:pt x="38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7" name="Google Shape;457;p7"/>
                  <p:cNvSpPr/>
                  <p:nvPr/>
                </p:nvSpPr>
                <p:spPr>
                  <a:xfrm>
                    <a:off x="5010835" y="4029223"/>
                    <a:ext cx="976525" cy="1220904"/>
                  </a:xfrm>
                  <a:custGeom>
                    <a:avLst/>
                    <a:gdLst/>
                    <a:ahLst/>
                    <a:cxnLst/>
                    <a:rect l="l" t="t" r="r" b="b"/>
                    <a:pathLst>
                      <a:path w="18685" h="23361" extrusionOk="0">
                        <a:moveTo>
                          <a:pt x="180" y="0"/>
                        </a:moveTo>
                        <a:lnTo>
                          <a:pt x="0" y="135"/>
                        </a:lnTo>
                        <a:lnTo>
                          <a:pt x="18297" y="23360"/>
                        </a:lnTo>
                        <a:lnTo>
                          <a:pt x="18685" y="23031"/>
                        </a:lnTo>
                        <a:lnTo>
                          <a:pt x="18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58" name="Google Shape;458;p7"/>
                  <p:cNvGrpSpPr/>
                  <p:nvPr/>
                </p:nvGrpSpPr>
                <p:grpSpPr>
                  <a:xfrm>
                    <a:off x="4959305" y="4124446"/>
                    <a:ext cx="1148312" cy="1094429"/>
                    <a:chOff x="11860675" y="4981025"/>
                    <a:chExt cx="549300" cy="523525"/>
                  </a:xfrm>
                </p:grpSpPr>
                <p:sp>
                  <p:nvSpPr>
                    <p:cNvPr id="459" name="Google Shape;459;p7"/>
                    <p:cNvSpPr/>
                    <p:nvPr/>
                  </p:nvSpPr>
                  <p:spPr>
                    <a:xfrm>
                      <a:off x="12020875" y="5415275"/>
                      <a:ext cx="258025" cy="83300"/>
                    </a:xfrm>
                    <a:custGeom>
                      <a:avLst/>
                      <a:gdLst/>
                      <a:ahLst/>
                      <a:cxnLst/>
                      <a:rect l="l" t="t" r="r" b="b"/>
                      <a:pathLst>
                        <a:path w="10321" h="3332" fill="none" extrusionOk="0">
                          <a:moveTo>
                            <a:pt x="10321" y="509"/>
                          </a:moveTo>
                          <a:cubicBezTo>
                            <a:pt x="10321" y="509"/>
                            <a:pt x="3988" y="1"/>
                            <a:pt x="0" y="333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0" name="Google Shape;460;p7"/>
                    <p:cNvSpPr/>
                    <p:nvPr/>
                  </p:nvSpPr>
                  <p:spPr>
                    <a:xfrm>
                      <a:off x="12023100" y="5439550"/>
                      <a:ext cx="123625" cy="9375"/>
                    </a:xfrm>
                    <a:custGeom>
                      <a:avLst/>
                      <a:gdLst/>
                      <a:ahLst/>
                      <a:cxnLst/>
                      <a:rect l="l" t="t" r="r" b="b"/>
                      <a:pathLst>
                        <a:path w="4945" h="375" fill="none" extrusionOk="0">
                          <a:moveTo>
                            <a:pt x="1" y="374"/>
                          </a:moveTo>
                          <a:lnTo>
                            <a:pt x="4944"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1" name="Google Shape;461;p7"/>
                    <p:cNvSpPr/>
                    <p:nvPr/>
                  </p:nvSpPr>
                  <p:spPr>
                    <a:xfrm>
                      <a:off x="12052975" y="5451500"/>
                      <a:ext cx="53050" cy="53050"/>
                    </a:xfrm>
                    <a:custGeom>
                      <a:avLst/>
                      <a:gdLst/>
                      <a:ahLst/>
                      <a:cxnLst/>
                      <a:rect l="l" t="t" r="r" b="b"/>
                      <a:pathLst>
                        <a:path w="2122" h="2122" fill="none" extrusionOk="0">
                          <a:moveTo>
                            <a:pt x="2121" y="1"/>
                          </a:moveTo>
                          <a:cubicBezTo>
                            <a:pt x="2121" y="1"/>
                            <a:pt x="314" y="1479"/>
                            <a:pt x="0" y="212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2" name="Google Shape;462;p7"/>
                    <p:cNvSpPr/>
                    <p:nvPr/>
                  </p:nvSpPr>
                  <p:spPr>
                    <a:xfrm>
                      <a:off x="12066800" y="5366375"/>
                      <a:ext cx="166550" cy="4500"/>
                    </a:xfrm>
                    <a:custGeom>
                      <a:avLst/>
                      <a:gdLst/>
                      <a:ahLst/>
                      <a:cxnLst/>
                      <a:rect l="l" t="t" r="r" b="b"/>
                      <a:pathLst>
                        <a:path w="6662" h="180" fill="none" extrusionOk="0">
                          <a:moveTo>
                            <a:pt x="0" y="0"/>
                          </a:moveTo>
                          <a:lnTo>
                            <a:pt x="6661" y="18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3" name="Google Shape;463;p7"/>
                    <p:cNvSpPr/>
                    <p:nvPr/>
                  </p:nvSpPr>
                  <p:spPr>
                    <a:xfrm>
                      <a:off x="11860675" y="5278625"/>
                      <a:ext cx="342425" cy="83300"/>
                    </a:xfrm>
                    <a:custGeom>
                      <a:avLst/>
                      <a:gdLst/>
                      <a:ahLst/>
                      <a:cxnLst/>
                      <a:rect l="l" t="t" r="r" b="b"/>
                      <a:pathLst>
                        <a:path w="13697" h="3332" fill="none" extrusionOk="0">
                          <a:moveTo>
                            <a:pt x="13697" y="2181"/>
                          </a:moveTo>
                          <a:cubicBezTo>
                            <a:pt x="13697" y="2181"/>
                            <a:pt x="6348" y="0"/>
                            <a:pt x="1" y="333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4" name="Google Shape;464;p7"/>
                    <p:cNvSpPr/>
                    <p:nvPr/>
                  </p:nvSpPr>
                  <p:spPr>
                    <a:xfrm>
                      <a:off x="11868525" y="5317450"/>
                      <a:ext cx="87400" cy="14600"/>
                    </a:xfrm>
                    <a:custGeom>
                      <a:avLst/>
                      <a:gdLst/>
                      <a:ahLst/>
                      <a:cxnLst/>
                      <a:rect l="l" t="t" r="r" b="b"/>
                      <a:pathLst>
                        <a:path w="3496" h="584" fill="none" extrusionOk="0">
                          <a:moveTo>
                            <a:pt x="0" y="1"/>
                          </a:moveTo>
                          <a:cubicBezTo>
                            <a:pt x="0" y="1"/>
                            <a:pt x="2494" y="583"/>
                            <a:pt x="3495" y="389"/>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5" name="Google Shape;465;p7"/>
                    <p:cNvSpPr/>
                    <p:nvPr/>
                  </p:nvSpPr>
                  <p:spPr>
                    <a:xfrm>
                      <a:off x="11953275" y="5315600"/>
                      <a:ext cx="107200" cy="58275"/>
                    </a:xfrm>
                    <a:custGeom>
                      <a:avLst/>
                      <a:gdLst/>
                      <a:ahLst/>
                      <a:cxnLst/>
                      <a:rect l="l" t="t" r="r" b="b"/>
                      <a:pathLst>
                        <a:path w="4288" h="2331" fill="none" extrusionOk="0">
                          <a:moveTo>
                            <a:pt x="1" y="2330"/>
                          </a:moveTo>
                          <a:cubicBezTo>
                            <a:pt x="1" y="2330"/>
                            <a:pt x="2346" y="553"/>
                            <a:pt x="4287"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6" name="Google Shape;466;p7"/>
                    <p:cNvSpPr/>
                    <p:nvPr/>
                  </p:nvSpPr>
                  <p:spPr>
                    <a:xfrm>
                      <a:off x="12062300" y="5245775"/>
                      <a:ext cx="84800" cy="17200"/>
                    </a:xfrm>
                    <a:custGeom>
                      <a:avLst/>
                      <a:gdLst/>
                      <a:ahLst/>
                      <a:cxnLst/>
                      <a:rect l="l" t="t" r="r" b="b"/>
                      <a:pathLst>
                        <a:path w="3392" h="688" fill="none" extrusionOk="0">
                          <a:moveTo>
                            <a:pt x="1" y="0"/>
                          </a:moveTo>
                          <a:lnTo>
                            <a:pt x="3391" y="68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7" name="Google Shape;467;p7"/>
                    <p:cNvSpPr/>
                    <p:nvPr/>
                  </p:nvSpPr>
                  <p:spPr>
                    <a:xfrm>
                      <a:off x="12057825" y="5253600"/>
                      <a:ext cx="42975" cy="20200"/>
                    </a:xfrm>
                    <a:custGeom>
                      <a:avLst/>
                      <a:gdLst/>
                      <a:ahLst/>
                      <a:cxnLst/>
                      <a:rect l="l" t="t" r="r" b="b"/>
                      <a:pathLst>
                        <a:path w="1719" h="808" fill="none" extrusionOk="0">
                          <a:moveTo>
                            <a:pt x="1" y="807"/>
                          </a:moveTo>
                          <a:lnTo>
                            <a:pt x="1718"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8" name="Google Shape;468;p7"/>
                    <p:cNvSpPr/>
                    <p:nvPr/>
                  </p:nvSpPr>
                  <p:spPr>
                    <a:xfrm>
                      <a:off x="11897650" y="5153900"/>
                      <a:ext cx="191200" cy="35875"/>
                    </a:xfrm>
                    <a:custGeom>
                      <a:avLst/>
                      <a:gdLst/>
                      <a:ahLst/>
                      <a:cxnLst/>
                      <a:rect l="l" t="t" r="r" b="b"/>
                      <a:pathLst>
                        <a:path w="7648" h="1435" fill="none" extrusionOk="0">
                          <a:moveTo>
                            <a:pt x="0" y="1"/>
                          </a:moveTo>
                          <a:lnTo>
                            <a:pt x="7647" y="14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9" name="Google Shape;469;p7"/>
                    <p:cNvSpPr/>
                    <p:nvPr/>
                  </p:nvSpPr>
                  <p:spPr>
                    <a:xfrm>
                      <a:off x="11938725" y="5170700"/>
                      <a:ext cx="49300" cy="17225"/>
                    </a:xfrm>
                    <a:custGeom>
                      <a:avLst/>
                      <a:gdLst/>
                      <a:ahLst/>
                      <a:cxnLst/>
                      <a:rect l="l" t="t" r="r" b="b"/>
                      <a:pathLst>
                        <a:path w="1972" h="689" fill="none" extrusionOk="0">
                          <a:moveTo>
                            <a:pt x="0" y="688"/>
                          </a:moveTo>
                          <a:lnTo>
                            <a:pt x="1972"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0" name="Google Shape;470;p7"/>
                    <p:cNvSpPr/>
                    <p:nvPr/>
                  </p:nvSpPr>
                  <p:spPr>
                    <a:xfrm>
                      <a:off x="11896900" y="5001575"/>
                      <a:ext cx="72075" cy="38100"/>
                    </a:xfrm>
                    <a:custGeom>
                      <a:avLst/>
                      <a:gdLst/>
                      <a:ahLst/>
                      <a:cxnLst/>
                      <a:rect l="l" t="t" r="r" b="b"/>
                      <a:pathLst>
                        <a:path w="2883" h="1524" fill="none" extrusionOk="0">
                          <a:moveTo>
                            <a:pt x="0" y="0"/>
                          </a:moveTo>
                          <a:lnTo>
                            <a:pt x="2883" y="1523"/>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1" name="Google Shape;471;p7"/>
                    <p:cNvSpPr/>
                    <p:nvPr/>
                  </p:nvSpPr>
                  <p:spPr>
                    <a:xfrm>
                      <a:off x="11909600" y="5019850"/>
                      <a:ext cx="21300" cy="4900"/>
                    </a:xfrm>
                    <a:custGeom>
                      <a:avLst/>
                      <a:gdLst/>
                      <a:ahLst/>
                      <a:cxnLst/>
                      <a:rect l="l" t="t" r="r" b="b"/>
                      <a:pathLst>
                        <a:path w="852" h="196" fill="none" extrusionOk="0">
                          <a:moveTo>
                            <a:pt x="0" y="195"/>
                          </a:moveTo>
                          <a:lnTo>
                            <a:pt x="85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2" name="Google Shape;472;p7"/>
                    <p:cNvSpPr/>
                    <p:nvPr/>
                  </p:nvSpPr>
                  <p:spPr>
                    <a:xfrm>
                      <a:off x="12283725" y="5195350"/>
                      <a:ext cx="126250" cy="236025"/>
                    </a:xfrm>
                    <a:custGeom>
                      <a:avLst/>
                      <a:gdLst/>
                      <a:ahLst/>
                      <a:cxnLst/>
                      <a:rect l="l" t="t" r="r" b="b"/>
                      <a:pathLst>
                        <a:path w="5050" h="9441" fill="none" extrusionOk="0">
                          <a:moveTo>
                            <a:pt x="1" y="9440"/>
                          </a:moveTo>
                          <a:cubicBezTo>
                            <a:pt x="1" y="9440"/>
                            <a:pt x="912" y="3152"/>
                            <a:pt x="504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3" name="Google Shape;473;p7"/>
                    <p:cNvSpPr/>
                    <p:nvPr/>
                  </p:nvSpPr>
                  <p:spPr>
                    <a:xfrm>
                      <a:off x="12324425" y="5186775"/>
                      <a:ext cx="36625" cy="118375"/>
                    </a:xfrm>
                    <a:custGeom>
                      <a:avLst/>
                      <a:gdLst/>
                      <a:ahLst/>
                      <a:cxnLst/>
                      <a:rect l="l" t="t" r="r" b="b"/>
                      <a:pathLst>
                        <a:path w="1465" h="4735" fill="none" extrusionOk="0">
                          <a:moveTo>
                            <a:pt x="1465" y="0"/>
                          </a:moveTo>
                          <a:lnTo>
                            <a:pt x="1" y="47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4" name="Google Shape;474;p7"/>
                    <p:cNvSpPr/>
                    <p:nvPr/>
                  </p:nvSpPr>
                  <p:spPr>
                    <a:xfrm>
                      <a:off x="12344975" y="5227850"/>
                      <a:ext cx="63875" cy="39975"/>
                    </a:xfrm>
                    <a:custGeom>
                      <a:avLst/>
                      <a:gdLst/>
                      <a:ahLst/>
                      <a:cxnLst/>
                      <a:rect l="l" t="t" r="r" b="b"/>
                      <a:pathLst>
                        <a:path w="2555" h="1599" fill="none" extrusionOk="0">
                          <a:moveTo>
                            <a:pt x="0" y="1598"/>
                          </a:moveTo>
                          <a:cubicBezTo>
                            <a:pt x="0" y="1598"/>
                            <a:pt x="1852" y="179"/>
                            <a:pt x="2554"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5" name="Google Shape;475;p7"/>
                    <p:cNvSpPr/>
                    <p:nvPr/>
                  </p:nvSpPr>
                  <p:spPr>
                    <a:xfrm>
                      <a:off x="12251625" y="5228600"/>
                      <a:ext cx="32875" cy="162825"/>
                    </a:xfrm>
                    <a:custGeom>
                      <a:avLst/>
                      <a:gdLst/>
                      <a:ahLst/>
                      <a:cxnLst/>
                      <a:rect l="l" t="t" r="r" b="b"/>
                      <a:pathLst>
                        <a:path w="1315" h="6513" fill="none" extrusionOk="0">
                          <a:moveTo>
                            <a:pt x="1315" y="0"/>
                          </a:moveTo>
                          <a:lnTo>
                            <a:pt x="0" y="651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6" name="Google Shape;476;p7"/>
                    <p:cNvSpPr/>
                    <p:nvPr/>
                  </p:nvSpPr>
                  <p:spPr>
                    <a:xfrm>
                      <a:off x="12199350" y="5013500"/>
                      <a:ext cx="116525" cy="327125"/>
                    </a:xfrm>
                    <a:custGeom>
                      <a:avLst/>
                      <a:gdLst/>
                      <a:ahLst/>
                      <a:cxnLst/>
                      <a:rect l="l" t="t" r="r" b="b"/>
                      <a:pathLst>
                        <a:path w="4661" h="13085" fill="none" extrusionOk="0">
                          <a:moveTo>
                            <a:pt x="478" y="13085"/>
                          </a:moveTo>
                          <a:cubicBezTo>
                            <a:pt x="478" y="13085"/>
                            <a:pt x="0" y="5423"/>
                            <a:pt x="466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7" name="Google Shape;477;p7"/>
                    <p:cNvSpPr/>
                    <p:nvPr/>
                  </p:nvSpPr>
                  <p:spPr>
                    <a:xfrm>
                      <a:off x="12260575" y="5010900"/>
                      <a:ext cx="10850" cy="87400"/>
                    </a:xfrm>
                    <a:custGeom>
                      <a:avLst/>
                      <a:gdLst/>
                      <a:ahLst/>
                      <a:cxnLst/>
                      <a:rect l="l" t="t" r="r" b="b"/>
                      <a:pathLst>
                        <a:path w="434" h="3496" fill="none" extrusionOk="0">
                          <a:moveTo>
                            <a:pt x="404" y="0"/>
                          </a:moveTo>
                          <a:cubicBezTo>
                            <a:pt x="404" y="0"/>
                            <a:pt x="434" y="2554"/>
                            <a:pt x="1" y="349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8" name="Google Shape;478;p7"/>
                    <p:cNvSpPr/>
                    <p:nvPr/>
                  </p:nvSpPr>
                  <p:spPr>
                    <a:xfrm>
                      <a:off x="12226225" y="5106125"/>
                      <a:ext cx="80675" cy="91125"/>
                    </a:xfrm>
                    <a:custGeom>
                      <a:avLst/>
                      <a:gdLst/>
                      <a:ahLst/>
                      <a:cxnLst/>
                      <a:rect l="l" t="t" r="r" b="b"/>
                      <a:pathLst>
                        <a:path w="3227" h="3645" fill="none" extrusionOk="0">
                          <a:moveTo>
                            <a:pt x="3227" y="0"/>
                          </a:moveTo>
                          <a:cubicBezTo>
                            <a:pt x="3227" y="0"/>
                            <a:pt x="972" y="1882"/>
                            <a:pt x="1" y="3644"/>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9" name="Google Shape;479;p7"/>
                    <p:cNvSpPr/>
                    <p:nvPr/>
                  </p:nvSpPr>
                  <p:spPr>
                    <a:xfrm>
                      <a:off x="12166125" y="5196850"/>
                      <a:ext cx="1500" cy="86650"/>
                    </a:xfrm>
                    <a:custGeom>
                      <a:avLst/>
                      <a:gdLst/>
                      <a:ahLst/>
                      <a:cxnLst/>
                      <a:rect l="l" t="t" r="r" b="b"/>
                      <a:pathLst>
                        <a:path w="60" h="3466" fill="none" extrusionOk="0">
                          <a:moveTo>
                            <a:pt x="60" y="0"/>
                          </a:moveTo>
                          <a:lnTo>
                            <a:pt x="0" y="3466"/>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480;p7"/>
                    <p:cNvSpPr/>
                    <p:nvPr/>
                  </p:nvSpPr>
                  <p:spPr>
                    <a:xfrm>
                      <a:off x="12167225" y="5199100"/>
                      <a:ext cx="29150" cy="37350"/>
                    </a:xfrm>
                    <a:custGeom>
                      <a:avLst/>
                      <a:gdLst/>
                      <a:ahLst/>
                      <a:cxnLst/>
                      <a:rect l="l" t="t" r="r" b="b"/>
                      <a:pathLst>
                        <a:path w="1166" h="1494" fill="none" extrusionOk="0">
                          <a:moveTo>
                            <a:pt x="1166" y="0"/>
                          </a:moveTo>
                          <a:lnTo>
                            <a:pt x="1" y="149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81;p7"/>
                    <p:cNvSpPr/>
                    <p:nvPr/>
                  </p:nvSpPr>
                  <p:spPr>
                    <a:xfrm>
                      <a:off x="12093675" y="4998575"/>
                      <a:ext cx="7875" cy="194200"/>
                    </a:xfrm>
                    <a:custGeom>
                      <a:avLst/>
                      <a:gdLst/>
                      <a:ahLst/>
                      <a:cxnLst/>
                      <a:rect l="l" t="t" r="r" b="b"/>
                      <a:pathLst>
                        <a:path w="315" h="7768" fill="none" extrusionOk="0">
                          <a:moveTo>
                            <a:pt x="314" y="1"/>
                          </a:moveTo>
                          <a:lnTo>
                            <a:pt x="0" y="77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7"/>
                    <p:cNvSpPr/>
                    <p:nvPr/>
                  </p:nvSpPr>
                  <p:spPr>
                    <a:xfrm>
                      <a:off x="12097775" y="5046375"/>
                      <a:ext cx="27650" cy="43700"/>
                    </a:xfrm>
                    <a:custGeom>
                      <a:avLst/>
                      <a:gdLst/>
                      <a:ahLst/>
                      <a:cxnLst/>
                      <a:rect l="l" t="t" r="r" b="b"/>
                      <a:pathLst>
                        <a:path w="1106" h="1748" fill="none" extrusionOk="0">
                          <a:moveTo>
                            <a:pt x="1106" y="0"/>
                          </a:moveTo>
                          <a:lnTo>
                            <a:pt x="1" y="1748"/>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3" name="Google Shape;483;p7"/>
                    <p:cNvSpPr/>
                    <p:nvPr/>
                  </p:nvSpPr>
                  <p:spPr>
                    <a:xfrm>
                      <a:off x="11967100" y="4981025"/>
                      <a:ext cx="20925" cy="79175"/>
                    </a:xfrm>
                    <a:custGeom>
                      <a:avLst/>
                      <a:gdLst/>
                      <a:ahLst/>
                      <a:cxnLst/>
                      <a:rect l="l" t="t" r="r" b="b"/>
                      <a:pathLst>
                        <a:path w="837" h="3167" fill="none" extrusionOk="0">
                          <a:moveTo>
                            <a:pt x="0" y="1"/>
                          </a:moveTo>
                          <a:lnTo>
                            <a:pt x="837" y="31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484;p7"/>
                    <p:cNvSpPr/>
                    <p:nvPr/>
                  </p:nvSpPr>
                  <p:spPr>
                    <a:xfrm>
                      <a:off x="11977175" y="4998575"/>
                      <a:ext cx="9350" cy="19825"/>
                    </a:xfrm>
                    <a:custGeom>
                      <a:avLst/>
                      <a:gdLst/>
                      <a:ahLst/>
                      <a:cxnLst/>
                      <a:rect l="l" t="t" r="r" b="b"/>
                      <a:pathLst>
                        <a:path w="374" h="793" fill="none" extrusionOk="0">
                          <a:moveTo>
                            <a:pt x="374" y="1"/>
                          </a:moveTo>
                          <a:lnTo>
                            <a:pt x="1" y="7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nvGrpSpPr>
              <p:cNvPr id="485" name="Google Shape;485;p7"/>
              <p:cNvGrpSpPr/>
              <p:nvPr/>
            </p:nvGrpSpPr>
            <p:grpSpPr>
              <a:xfrm rot="587295" flipH="1">
                <a:off x="1254286" y="169137"/>
                <a:ext cx="286300" cy="174613"/>
                <a:chOff x="7871651" y="404306"/>
                <a:chExt cx="286312" cy="174621"/>
              </a:xfrm>
            </p:grpSpPr>
            <p:sp>
              <p:nvSpPr>
                <p:cNvPr id="486" name="Google Shape;486;p7"/>
                <p:cNvSpPr/>
                <p:nvPr/>
              </p:nvSpPr>
              <p:spPr>
                <a:xfrm>
                  <a:off x="7995249" y="404306"/>
                  <a:ext cx="162715" cy="174621"/>
                </a:xfrm>
                <a:custGeom>
                  <a:avLst/>
                  <a:gdLst/>
                  <a:ahLst/>
                  <a:cxnLst/>
                  <a:rect l="l" t="t" r="r" b="b"/>
                  <a:pathLst>
                    <a:path w="1435" h="1540" extrusionOk="0">
                      <a:moveTo>
                        <a:pt x="210" y="1"/>
                      </a:moveTo>
                      <a:lnTo>
                        <a:pt x="210" y="1"/>
                      </a:lnTo>
                      <a:cubicBezTo>
                        <a:pt x="1" y="1315"/>
                        <a:pt x="1046" y="1539"/>
                        <a:pt x="1046" y="1539"/>
                      </a:cubicBezTo>
                      <a:cubicBezTo>
                        <a:pt x="1434" y="509"/>
                        <a:pt x="210" y="1"/>
                        <a:pt x="21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7" name="Google Shape;487;p7"/>
                <p:cNvSpPr/>
                <p:nvPr/>
              </p:nvSpPr>
              <p:spPr>
                <a:xfrm>
                  <a:off x="7871651" y="412810"/>
                  <a:ext cx="123708" cy="132213"/>
                </a:xfrm>
                <a:custGeom>
                  <a:avLst/>
                  <a:gdLst/>
                  <a:ahLst/>
                  <a:cxnLst/>
                  <a:rect l="l" t="t" r="r" b="b"/>
                  <a:pathLst>
                    <a:path w="1091" h="1166" extrusionOk="0">
                      <a:moveTo>
                        <a:pt x="1031" y="1"/>
                      </a:moveTo>
                      <a:cubicBezTo>
                        <a:pt x="0" y="314"/>
                        <a:pt x="194" y="1166"/>
                        <a:pt x="194" y="1166"/>
                      </a:cubicBezTo>
                      <a:cubicBezTo>
                        <a:pt x="1090" y="1076"/>
                        <a:pt x="1031" y="1"/>
                        <a:pt x="103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
        <p:nvSpPr>
          <p:cNvPr id="488" name="Google Shape;488;p7"/>
          <p:cNvSpPr txBox="1">
            <a:spLocks noGrp="1"/>
          </p:cNvSpPr>
          <p:nvPr>
            <p:ph type="title"/>
          </p:nvPr>
        </p:nvSpPr>
        <p:spPr>
          <a:xfrm>
            <a:off x="1014075" y="828800"/>
            <a:ext cx="3642000" cy="1236000"/>
          </a:xfrm>
          <a:prstGeom prst="rect">
            <a:avLst/>
          </a:prstGeom>
        </p:spPr>
        <p:txBody>
          <a:bodyPr spcFirstLastPara="1" wrap="square" lIns="91425" tIns="91425" rIns="91425" bIns="91425" anchor="b"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a:p>
        </p:txBody>
      </p:sp>
      <p:sp>
        <p:nvSpPr>
          <p:cNvPr id="489" name="Google Shape;489;p7"/>
          <p:cNvSpPr txBox="1">
            <a:spLocks noGrp="1"/>
          </p:cNvSpPr>
          <p:nvPr>
            <p:ph type="body" idx="1"/>
          </p:nvPr>
        </p:nvSpPr>
        <p:spPr>
          <a:xfrm>
            <a:off x="1014075" y="2064675"/>
            <a:ext cx="3642000" cy="2310900"/>
          </a:xfrm>
          <a:prstGeom prst="rect">
            <a:avLst/>
          </a:prstGeom>
        </p:spPr>
        <p:txBody>
          <a:bodyPr spcFirstLastPara="1" wrap="square" lIns="91425" tIns="91425" rIns="91425" bIns="91425" anchor="t" anchorCtr="0">
            <a:noAutofit/>
          </a:bodyPr>
          <a:lstStyle>
            <a:lvl1pPr marL="457200" lvl="0" indent="-292100" rtl="0">
              <a:spcBef>
                <a:spcPts val="0"/>
              </a:spcBef>
              <a:spcAft>
                <a:spcPts val="0"/>
              </a:spcAft>
              <a:buSzPts val="1000"/>
              <a:buFont typeface="Anek Malayalam Medium"/>
              <a:buChar char="●"/>
              <a:defRPr/>
            </a:lvl1pPr>
            <a:lvl2pPr marL="914400" lvl="1" indent="-317500" rtl="0">
              <a:spcBef>
                <a:spcPts val="0"/>
              </a:spcBef>
              <a:spcAft>
                <a:spcPts val="0"/>
              </a:spcAft>
              <a:buSzPts val="1400"/>
              <a:buFont typeface="Open Sans Medium"/>
              <a:buChar char="○"/>
              <a:defRPr/>
            </a:lvl2pPr>
            <a:lvl3pPr marL="1371600" lvl="2" indent="-317500" rtl="0">
              <a:spcBef>
                <a:spcPts val="0"/>
              </a:spcBef>
              <a:spcAft>
                <a:spcPts val="0"/>
              </a:spcAft>
              <a:buSzPts val="1400"/>
              <a:buFont typeface="Open Sans Medium"/>
              <a:buChar char="■"/>
              <a:defRPr/>
            </a:lvl3pPr>
            <a:lvl4pPr marL="1828800" lvl="3" indent="-317500" rtl="0">
              <a:spcBef>
                <a:spcPts val="0"/>
              </a:spcBef>
              <a:spcAft>
                <a:spcPts val="0"/>
              </a:spcAft>
              <a:buSzPts val="1400"/>
              <a:buFont typeface="Open Sans Medium"/>
              <a:buChar char="●"/>
              <a:defRPr/>
            </a:lvl4pPr>
            <a:lvl5pPr marL="2286000" lvl="4" indent="-317500" rtl="0">
              <a:spcBef>
                <a:spcPts val="0"/>
              </a:spcBef>
              <a:spcAft>
                <a:spcPts val="0"/>
              </a:spcAft>
              <a:buSzPts val="1400"/>
              <a:buFont typeface="Open Sans Medium"/>
              <a:buChar char="○"/>
              <a:defRPr/>
            </a:lvl5pPr>
            <a:lvl6pPr marL="2743200" lvl="5" indent="-317500" rtl="0">
              <a:spcBef>
                <a:spcPts val="0"/>
              </a:spcBef>
              <a:spcAft>
                <a:spcPts val="0"/>
              </a:spcAft>
              <a:buSzPts val="1400"/>
              <a:buFont typeface="Open Sans Medium"/>
              <a:buChar char="■"/>
              <a:defRPr/>
            </a:lvl6pPr>
            <a:lvl7pPr marL="3200400" lvl="6" indent="-317500" rtl="0">
              <a:spcBef>
                <a:spcPts val="0"/>
              </a:spcBef>
              <a:spcAft>
                <a:spcPts val="0"/>
              </a:spcAft>
              <a:buSzPts val="1400"/>
              <a:buFont typeface="Open Sans Medium"/>
              <a:buChar char="●"/>
              <a:defRPr/>
            </a:lvl7pPr>
            <a:lvl8pPr marL="3657600" lvl="7" indent="-317500" rtl="0">
              <a:spcBef>
                <a:spcPts val="0"/>
              </a:spcBef>
              <a:spcAft>
                <a:spcPts val="0"/>
              </a:spcAft>
              <a:buSzPts val="1400"/>
              <a:buFont typeface="Open Sans Medium"/>
              <a:buChar char="○"/>
              <a:defRPr/>
            </a:lvl8pPr>
            <a:lvl9pPr marL="4114800" lvl="8" indent="-317500" rtl="0">
              <a:spcBef>
                <a:spcPts val="0"/>
              </a:spcBef>
              <a:spcAft>
                <a:spcPts val="0"/>
              </a:spcAft>
              <a:buSzPts val="1400"/>
              <a:buFont typeface="Open Sans Medium"/>
              <a:buChar char="■"/>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490"/>
        <p:cNvGrpSpPr/>
        <p:nvPr/>
      </p:nvGrpSpPr>
      <p:grpSpPr>
        <a:xfrm>
          <a:off x="0" y="0"/>
          <a:ext cx="0" cy="0"/>
          <a:chOff x="0" y="0"/>
          <a:chExt cx="0" cy="0"/>
        </a:xfrm>
      </p:grpSpPr>
      <p:sp>
        <p:nvSpPr>
          <p:cNvPr id="491" name="Google Shape;491;p8"/>
          <p:cNvSpPr txBox="1">
            <a:spLocks noGrp="1"/>
          </p:cNvSpPr>
          <p:nvPr>
            <p:ph type="title"/>
          </p:nvPr>
        </p:nvSpPr>
        <p:spPr>
          <a:xfrm flipH="1">
            <a:off x="3956718" y="1238613"/>
            <a:ext cx="4496100" cy="2031900"/>
          </a:xfrm>
          <a:prstGeom prst="rect">
            <a:avLst/>
          </a:prstGeom>
        </p:spPr>
        <p:txBody>
          <a:bodyPr spcFirstLastPara="1" wrap="square" lIns="91425" tIns="91425" rIns="91425" bIns="91425" anchor="ctr" anchorCtr="0">
            <a:noAutofit/>
          </a:bodyPr>
          <a:lstStyle>
            <a:lvl1pPr lvl="0" algn="r">
              <a:spcBef>
                <a:spcPts val="0"/>
              </a:spcBef>
              <a:spcAft>
                <a:spcPts val="0"/>
              </a:spcAft>
              <a:buSzPts val="4800"/>
              <a:buNone/>
              <a:defRPr sz="60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grpSp>
        <p:nvGrpSpPr>
          <p:cNvPr id="492" name="Google Shape;492;p8"/>
          <p:cNvGrpSpPr/>
          <p:nvPr/>
        </p:nvGrpSpPr>
        <p:grpSpPr>
          <a:xfrm>
            <a:off x="-1188058" y="-1072313"/>
            <a:ext cx="12030069" cy="6554346"/>
            <a:chOff x="-1188058" y="-1072313"/>
            <a:chExt cx="12030069" cy="6554346"/>
          </a:xfrm>
        </p:grpSpPr>
        <p:grpSp>
          <p:nvGrpSpPr>
            <p:cNvPr id="493" name="Google Shape;493;p8"/>
            <p:cNvGrpSpPr/>
            <p:nvPr/>
          </p:nvGrpSpPr>
          <p:grpSpPr>
            <a:xfrm rot="-7976905" flipH="1">
              <a:off x="8944751" y="-846979"/>
              <a:ext cx="1436254" cy="1884950"/>
              <a:chOff x="3255967" y="2507600"/>
              <a:chExt cx="1305465" cy="1715179"/>
            </a:xfrm>
          </p:grpSpPr>
          <p:sp>
            <p:nvSpPr>
              <p:cNvPr id="494" name="Google Shape;494;p8"/>
              <p:cNvSpPr/>
              <p:nvPr/>
            </p:nvSpPr>
            <p:spPr>
              <a:xfrm>
                <a:off x="4191774" y="3356698"/>
                <a:ext cx="369658" cy="519086"/>
              </a:xfrm>
              <a:custGeom>
                <a:avLst/>
                <a:gdLst/>
                <a:ahLst/>
                <a:cxnLst/>
                <a:rect l="l" t="t" r="r" b="b"/>
                <a:pathLst>
                  <a:path w="11711" h="16445" extrusionOk="0">
                    <a:moveTo>
                      <a:pt x="10695" y="0"/>
                    </a:moveTo>
                    <a:cubicBezTo>
                      <a:pt x="10695" y="0"/>
                      <a:pt x="8962" y="777"/>
                      <a:pt x="7394" y="3032"/>
                    </a:cubicBezTo>
                    <a:lnTo>
                      <a:pt x="7290" y="2256"/>
                    </a:lnTo>
                    <a:cubicBezTo>
                      <a:pt x="7290" y="2256"/>
                      <a:pt x="4691" y="4735"/>
                      <a:pt x="3660" y="6841"/>
                    </a:cubicBezTo>
                    <a:lnTo>
                      <a:pt x="3660" y="5945"/>
                    </a:lnTo>
                    <a:cubicBezTo>
                      <a:pt x="3660" y="5945"/>
                      <a:pt x="1" y="10635"/>
                      <a:pt x="2674" y="16445"/>
                    </a:cubicBezTo>
                    <a:cubicBezTo>
                      <a:pt x="2674" y="16445"/>
                      <a:pt x="5423" y="16370"/>
                      <a:pt x="9067" y="13249"/>
                    </a:cubicBezTo>
                    <a:lnTo>
                      <a:pt x="8529" y="13174"/>
                    </a:lnTo>
                    <a:cubicBezTo>
                      <a:pt x="8529" y="13174"/>
                      <a:pt x="11053" y="9559"/>
                      <a:pt x="11666" y="5930"/>
                    </a:cubicBezTo>
                    <a:lnTo>
                      <a:pt x="11666" y="5930"/>
                    </a:lnTo>
                    <a:lnTo>
                      <a:pt x="11009" y="6184"/>
                    </a:lnTo>
                    <a:cubicBezTo>
                      <a:pt x="11009" y="6184"/>
                      <a:pt x="11711" y="2659"/>
                      <a:pt x="1069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5" name="Google Shape;495;p8"/>
              <p:cNvSpPr/>
              <p:nvPr/>
            </p:nvSpPr>
            <p:spPr>
              <a:xfrm>
                <a:off x="3567576" y="2507600"/>
                <a:ext cx="429537" cy="595474"/>
              </a:xfrm>
              <a:custGeom>
                <a:avLst/>
                <a:gdLst/>
                <a:ahLst/>
                <a:cxnLst/>
                <a:rect l="l" t="t" r="r" b="b"/>
                <a:pathLst>
                  <a:path w="13608" h="18865" extrusionOk="0">
                    <a:moveTo>
                      <a:pt x="1300" y="1"/>
                    </a:moveTo>
                    <a:lnTo>
                      <a:pt x="1315" y="31"/>
                    </a:lnTo>
                    <a:lnTo>
                      <a:pt x="1300" y="16"/>
                    </a:lnTo>
                    <a:cubicBezTo>
                      <a:pt x="1106" y="554"/>
                      <a:pt x="1211" y="2779"/>
                      <a:pt x="1211" y="2779"/>
                    </a:cubicBezTo>
                    <a:lnTo>
                      <a:pt x="539" y="2421"/>
                    </a:lnTo>
                    <a:lnTo>
                      <a:pt x="539" y="2421"/>
                    </a:lnTo>
                    <a:cubicBezTo>
                      <a:pt x="434" y="3317"/>
                      <a:pt x="1255" y="6408"/>
                      <a:pt x="1270" y="6513"/>
                    </a:cubicBezTo>
                    <a:lnTo>
                      <a:pt x="1" y="6080"/>
                    </a:lnTo>
                    <a:lnTo>
                      <a:pt x="1" y="6080"/>
                    </a:lnTo>
                    <a:cubicBezTo>
                      <a:pt x="583" y="8783"/>
                      <a:pt x="4332" y="13309"/>
                      <a:pt x="4332" y="13309"/>
                    </a:cubicBezTo>
                    <a:lnTo>
                      <a:pt x="3152" y="13488"/>
                    </a:lnTo>
                    <a:cubicBezTo>
                      <a:pt x="6677" y="17924"/>
                      <a:pt x="12995" y="18865"/>
                      <a:pt x="12995" y="18865"/>
                    </a:cubicBezTo>
                    <a:cubicBezTo>
                      <a:pt x="13010" y="18820"/>
                      <a:pt x="13040" y="18775"/>
                      <a:pt x="13055" y="18731"/>
                    </a:cubicBezTo>
                    <a:cubicBezTo>
                      <a:pt x="13085" y="18686"/>
                      <a:pt x="13100" y="18641"/>
                      <a:pt x="13115" y="18596"/>
                    </a:cubicBezTo>
                    <a:cubicBezTo>
                      <a:pt x="13144" y="18536"/>
                      <a:pt x="13159" y="18492"/>
                      <a:pt x="13174" y="18447"/>
                    </a:cubicBezTo>
                    <a:cubicBezTo>
                      <a:pt x="13189" y="18402"/>
                      <a:pt x="13204" y="18342"/>
                      <a:pt x="13219" y="18297"/>
                    </a:cubicBezTo>
                    <a:cubicBezTo>
                      <a:pt x="13249" y="18238"/>
                      <a:pt x="13264" y="18193"/>
                      <a:pt x="13279" y="18148"/>
                    </a:cubicBezTo>
                    <a:cubicBezTo>
                      <a:pt x="13294" y="18088"/>
                      <a:pt x="13309" y="18029"/>
                      <a:pt x="13324" y="17984"/>
                    </a:cubicBezTo>
                    <a:cubicBezTo>
                      <a:pt x="13339" y="17924"/>
                      <a:pt x="13353" y="17864"/>
                      <a:pt x="13353" y="17819"/>
                    </a:cubicBezTo>
                    <a:cubicBezTo>
                      <a:pt x="13368" y="17760"/>
                      <a:pt x="13383" y="17700"/>
                      <a:pt x="13398" y="17640"/>
                    </a:cubicBezTo>
                    <a:cubicBezTo>
                      <a:pt x="13413" y="17595"/>
                      <a:pt x="13413" y="17536"/>
                      <a:pt x="13428" y="17476"/>
                    </a:cubicBezTo>
                    <a:cubicBezTo>
                      <a:pt x="13443" y="17416"/>
                      <a:pt x="13458" y="17356"/>
                      <a:pt x="13458" y="17297"/>
                    </a:cubicBezTo>
                    <a:cubicBezTo>
                      <a:pt x="13473" y="17237"/>
                      <a:pt x="13488" y="17177"/>
                      <a:pt x="13488" y="17117"/>
                    </a:cubicBezTo>
                    <a:cubicBezTo>
                      <a:pt x="13503" y="17058"/>
                      <a:pt x="13503" y="16983"/>
                      <a:pt x="13518" y="16923"/>
                    </a:cubicBezTo>
                    <a:cubicBezTo>
                      <a:pt x="13518" y="16864"/>
                      <a:pt x="13533" y="16804"/>
                      <a:pt x="13533" y="16744"/>
                    </a:cubicBezTo>
                    <a:cubicBezTo>
                      <a:pt x="13548" y="16669"/>
                      <a:pt x="13548" y="16610"/>
                      <a:pt x="13548" y="16550"/>
                    </a:cubicBezTo>
                    <a:cubicBezTo>
                      <a:pt x="13563" y="16490"/>
                      <a:pt x="13563" y="16415"/>
                      <a:pt x="13578" y="16356"/>
                    </a:cubicBezTo>
                    <a:cubicBezTo>
                      <a:pt x="13578" y="16281"/>
                      <a:pt x="13578" y="16221"/>
                      <a:pt x="13578" y="16162"/>
                    </a:cubicBezTo>
                    <a:cubicBezTo>
                      <a:pt x="13592" y="16087"/>
                      <a:pt x="13592" y="16027"/>
                      <a:pt x="13592" y="15952"/>
                    </a:cubicBezTo>
                    <a:cubicBezTo>
                      <a:pt x="13592" y="15893"/>
                      <a:pt x="13607" y="15818"/>
                      <a:pt x="13607" y="15758"/>
                    </a:cubicBezTo>
                    <a:cubicBezTo>
                      <a:pt x="13607" y="15684"/>
                      <a:pt x="13607" y="15624"/>
                      <a:pt x="13607" y="15549"/>
                    </a:cubicBezTo>
                    <a:cubicBezTo>
                      <a:pt x="13607" y="15489"/>
                      <a:pt x="13607" y="15415"/>
                      <a:pt x="13607" y="15355"/>
                    </a:cubicBezTo>
                    <a:cubicBezTo>
                      <a:pt x="13607" y="15280"/>
                      <a:pt x="13607" y="15206"/>
                      <a:pt x="13607" y="15146"/>
                    </a:cubicBezTo>
                    <a:cubicBezTo>
                      <a:pt x="13607" y="15071"/>
                      <a:pt x="13607" y="15012"/>
                      <a:pt x="13607" y="14937"/>
                    </a:cubicBezTo>
                    <a:cubicBezTo>
                      <a:pt x="13607" y="14862"/>
                      <a:pt x="13607" y="14802"/>
                      <a:pt x="13607" y="14728"/>
                    </a:cubicBezTo>
                    <a:cubicBezTo>
                      <a:pt x="13607" y="14668"/>
                      <a:pt x="13607" y="14593"/>
                      <a:pt x="13607" y="14519"/>
                    </a:cubicBezTo>
                    <a:cubicBezTo>
                      <a:pt x="13607" y="14459"/>
                      <a:pt x="13607" y="14384"/>
                      <a:pt x="13592" y="14310"/>
                    </a:cubicBezTo>
                    <a:cubicBezTo>
                      <a:pt x="13592" y="14250"/>
                      <a:pt x="13592" y="14175"/>
                      <a:pt x="13592" y="14115"/>
                    </a:cubicBezTo>
                    <a:cubicBezTo>
                      <a:pt x="13592" y="14041"/>
                      <a:pt x="13592" y="13966"/>
                      <a:pt x="13578" y="13906"/>
                    </a:cubicBezTo>
                    <a:cubicBezTo>
                      <a:pt x="13578" y="13832"/>
                      <a:pt x="13578" y="13772"/>
                      <a:pt x="13578" y="13697"/>
                    </a:cubicBezTo>
                    <a:cubicBezTo>
                      <a:pt x="13428" y="11233"/>
                      <a:pt x="12980" y="8962"/>
                      <a:pt x="12980" y="8962"/>
                    </a:cubicBezTo>
                    <a:lnTo>
                      <a:pt x="12547" y="9754"/>
                    </a:lnTo>
                    <a:cubicBezTo>
                      <a:pt x="11755" y="6737"/>
                      <a:pt x="8425" y="3138"/>
                      <a:pt x="8425" y="3138"/>
                    </a:cubicBezTo>
                    <a:lnTo>
                      <a:pt x="8425" y="3152"/>
                    </a:lnTo>
                    <a:lnTo>
                      <a:pt x="8440" y="4064"/>
                    </a:lnTo>
                    <a:cubicBezTo>
                      <a:pt x="7439" y="2630"/>
                      <a:pt x="5094" y="1285"/>
                      <a:pt x="5094" y="1285"/>
                    </a:cubicBezTo>
                    <a:lnTo>
                      <a:pt x="5094" y="1300"/>
                    </a:lnTo>
                    <a:lnTo>
                      <a:pt x="5109" y="1883"/>
                    </a:lnTo>
                    <a:cubicBezTo>
                      <a:pt x="4034" y="1002"/>
                      <a:pt x="1390" y="31"/>
                      <a:pt x="130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6" name="Google Shape;496;p8"/>
              <p:cNvSpPr/>
              <p:nvPr/>
            </p:nvSpPr>
            <p:spPr>
              <a:xfrm>
                <a:off x="4137577" y="3199694"/>
                <a:ext cx="207445" cy="272059"/>
              </a:xfrm>
              <a:custGeom>
                <a:avLst/>
                <a:gdLst/>
                <a:ahLst/>
                <a:cxnLst/>
                <a:rect l="l" t="t" r="r" b="b"/>
                <a:pathLst>
                  <a:path w="6572" h="8619" extrusionOk="0">
                    <a:moveTo>
                      <a:pt x="6199" y="1"/>
                    </a:moveTo>
                    <a:lnTo>
                      <a:pt x="6199" y="1"/>
                    </a:lnTo>
                    <a:cubicBezTo>
                      <a:pt x="4630" y="300"/>
                      <a:pt x="3555" y="1420"/>
                      <a:pt x="3555" y="1420"/>
                    </a:cubicBezTo>
                    <a:lnTo>
                      <a:pt x="3316" y="807"/>
                    </a:lnTo>
                    <a:cubicBezTo>
                      <a:pt x="2241" y="1509"/>
                      <a:pt x="1583" y="4078"/>
                      <a:pt x="1583" y="4078"/>
                    </a:cubicBezTo>
                    <a:lnTo>
                      <a:pt x="1285" y="3660"/>
                    </a:lnTo>
                    <a:lnTo>
                      <a:pt x="1285" y="3660"/>
                    </a:lnTo>
                    <a:cubicBezTo>
                      <a:pt x="0" y="6020"/>
                      <a:pt x="1389" y="8619"/>
                      <a:pt x="1389" y="8619"/>
                    </a:cubicBezTo>
                    <a:cubicBezTo>
                      <a:pt x="3540" y="8365"/>
                      <a:pt x="5228" y="6408"/>
                      <a:pt x="5228" y="6408"/>
                    </a:cubicBezTo>
                    <a:lnTo>
                      <a:pt x="5228" y="6408"/>
                    </a:lnTo>
                    <a:lnTo>
                      <a:pt x="4436" y="6573"/>
                    </a:lnTo>
                    <a:cubicBezTo>
                      <a:pt x="5691" y="5736"/>
                      <a:pt x="6527" y="3302"/>
                      <a:pt x="6572" y="3197"/>
                    </a:cubicBezTo>
                    <a:lnTo>
                      <a:pt x="6572" y="3197"/>
                    </a:lnTo>
                    <a:lnTo>
                      <a:pt x="5945" y="3451"/>
                    </a:lnTo>
                    <a:cubicBezTo>
                      <a:pt x="6467" y="2286"/>
                      <a:pt x="6199" y="1"/>
                      <a:pt x="619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7" name="Google Shape;497;p8"/>
              <p:cNvSpPr/>
              <p:nvPr/>
            </p:nvSpPr>
            <p:spPr>
              <a:xfrm>
                <a:off x="3255967" y="2989439"/>
                <a:ext cx="652512" cy="337619"/>
              </a:xfrm>
              <a:custGeom>
                <a:avLst/>
                <a:gdLst/>
                <a:ahLst/>
                <a:cxnLst/>
                <a:rect l="l" t="t" r="r" b="b"/>
                <a:pathLst>
                  <a:path w="20672" h="10696" extrusionOk="0">
                    <a:moveTo>
                      <a:pt x="12427" y="0"/>
                    </a:moveTo>
                    <a:lnTo>
                      <a:pt x="12427" y="15"/>
                    </a:lnTo>
                    <a:lnTo>
                      <a:pt x="12681" y="658"/>
                    </a:lnTo>
                    <a:cubicBezTo>
                      <a:pt x="12576" y="629"/>
                      <a:pt x="11042" y="273"/>
                      <a:pt x="9055" y="273"/>
                    </a:cubicBezTo>
                    <a:cubicBezTo>
                      <a:pt x="7921" y="273"/>
                      <a:pt x="6640" y="389"/>
                      <a:pt x="5392" y="747"/>
                    </a:cubicBezTo>
                    <a:lnTo>
                      <a:pt x="5407" y="762"/>
                    </a:lnTo>
                    <a:lnTo>
                      <a:pt x="5392" y="762"/>
                    </a:lnTo>
                    <a:lnTo>
                      <a:pt x="6109" y="1330"/>
                    </a:lnTo>
                    <a:cubicBezTo>
                      <a:pt x="5870" y="1434"/>
                      <a:pt x="2286" y="2943"/>
                      <a:pt x="0" y="5796"/>
                    </a:cubicBezTo>
                    <a:cubicBezTo>
                      <a:pt x="165" y="5945"/>
                      <a:pt x="1972" y="7588"/>
                      <a:pt x="4466" y="8155"/>
                    </a:cubicBezTo>
                    <a:lnTo>
                      <a:pt x="3689" y="8514"/>
                    </a:lnTo>
                    <a:cubicBezTo>
                      <a:pt x="3689" y="8514"/>
                      <a:pt x="7041" y="10001"/>
                      <a:pt x="10015" y="10001"/>
                    </a:cubicBezTo>
                    <a:cubicBezTo>
                      <a:pt x="10224" y="10001"/>
                      <a:pt x="10431" y="9993"/>
                      <a:pt x="10635" y="9978"/>
                    </a:cubicBezTo>
                    <a:lnTo>
                      <a:pt x="10635" y="9978"/>
                    </a:lnTo>
                    <a:lnTo>
                      <a:pt x="9604" y="10575"/>
                    </a:lnTo>
                    <a:cubicBezTo>
                      <a:pt x="9604" y="10575"/>
                      <a:pt x="10408" y="10695"/>
                      <a:pt x="11654" y="10695"/>
                    </a:cubicBezTo>
                    <a:cubicBezTo>
                      <a:pt x="13921" y="10695"/>
                      <a:pt x="17654" y="10297"/>
                      <a:pt x="20671" y="8051"/>
                    </a:cubicBezTo>
                    <a:lnTo>
                      <a:pt x="20671" y="8036"/>
                    </a:lnTo>
                    <a:lnTo>
                      <a:pt x="20657" y="8021"/>
                    </a:lnTo>
                    <a:lnTo>
                      <a:pt x="20642" y="7991"/>
                    </a:lnTo>
                    <a:lnTo>
                      <a:pt x="20627" y="7946"/>
                    </a:lnTo>
                    <a:lnTo>
                      <a:pt x="20612" y="7901"/>
                    </a:lnTo>
                    <a:lnTo>
                      <a:pt x="20582" y="7857"/>
                    </a:lnTo>
                    <a:lnTo>
                      <a:pt x="20567" y="7797"/>
                    </a:lnTo>
                    <a:lnTo>
                      <a:pt x="20537" y="7722"/>
                    </a:lnTo>
                    <a:lnTo>
                      <a:pt x="20507" y="7648"/>
                    </a:lnTo>
                    <a:lnTo>
                      <a:pt x="20462" y="7573"/>
                    </a:lnTo>
                    <a:lnTo>
                      <a:pt x="20418" y="7483"/>
                    </a:lnTo>
                    <a:lnTo>
                      <a:pt x="20373" y="7394"/>
                    </a:lnTo>
                    <a:lnTo>
                      <a:pt x="20328" y="7304"/>
                    </a:lnTo>
                    <a:cubicBezTo>
                      <a:pt x="20313" y="7274"/>
                      <a:pt x="20298" y="7229"/>
                      <a:pt x="20283" y="7200"/>
                    </a:cubicBezTo>
                    <a:cubicBezTo>
                      <a:pt x="19402" y="5467"/>
                      <a:pt x="17012" y="1613"/>
                      <a:pt x="1242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8" name="Google Shape;498;p8"/>
              <p:cNvSpPr/>
              <p:nvPr/>
            </p:nvSpPr>
            <p:spPr>
              <a:xfrm>
                <a:off x="3675560" y="3494669"/>
                <a:ext cx="490331" cy="341123"/>
              </a:xfrm>
              <a:custGeom>
                <a:avLst/>
                <a:gdLst/>
                <a:ahLst/>
                <a:cxnLst/>
                <a:rect l="l" t="t" r="r" b="b"/>
                <a:pathLst>
                  <a:path w="15534" h="10807" extrusionOk="0">
                    <a:moveTo>
                      <a:pt x="1855" y="1"/>
                    </a:moveTo>
                    <a:cubicBezTo>
                      <a:pt x="1234" y="1"/>
                      <a:pt x="602" y="57"/>
                      <a:pt x="0" y="200"/>
                    </a:cubicBezTo>
                    <a:cubicBezTo>
                      <a:pt x="0" y="200"/>
                      <a:pt x="553" y="2022"/>
                      <a:pt x="2569" y="3874"/>
                    </a:cubicBezTo>
                    <a:lnTo>
                      <a:pt x="1778" y="3874"/>
                    </a:lnTo>
                    <a:cubicBezTo>
                      <a:pt x="1778" y="3874"/>
                      <a:pt x="3898" y="6787"/>
                      <a:pt x="5855" y="8071"/>
                    </a:cubicBezTo>
                    <a:lnTo>
                      <a:pt x="4959" y="7952"/>
                    </a:lnTo>
                    <a:lnTo>
                      <a:pt x="4959" y="7952"/>
                    </a:lnTo>
                    <a:cubicBezTo>
                      <a:pt x="4959" y="7952"/>
                      <a:pt x="7764" y="10807"/>
                      <a:pt x="12135" y="10807"/>
                    </a:cubicBezTo>
                    <a:cubicBezTo>
                      <a:pt x="13101" y="10807"/>
                      <a:pt x="14144" y="10667"/>
                      <a:pt x="15250" y="10326"/>
                    </a:cubicBezTo>
                    <a:cubicBezTo>
                      <a:pt x="15250" y="10326"/>
                      <a:pt x="15533" y="7593"/>
                      <a:pt x="12935" y="3575"/>
                    </a:cubicBezTo>
                    <a:lnTo>
                      <a:pt x="12785" y="4083"/>
                    </a:lnTo>
                    <a:cubicBezTo>
                      <a:pt x="12785" y="4083"/>
                      <a:pt x="9529" y="1096"/>
                      <a:pt x="6004" y="36"/>
                    </a:cubicBezTo>
                    <a:lnTo>
                      <a:pt x="6004" y="36"/>
                    </a:lnTo>
                    <a:lnTo>
                      <a:pt x="6169" y="723"/>
                    </a:lnTo>
                    <a:cubicBezTo>
                      <a:pt x="6169" y="723"/>
                      <a:pt x="4085" y="1"/>
                      <a:pt x="185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9" name="Google Shape;499;p8"/>
              <p:cNvSpPr/>
              <p:nvPr/>
            </p:nvSpPr>
            <p:spPr>
              <a:xfrm>
                <a:off x="3688281" y="2611322"/>
                <a:ext cx="602544" cy="1611456"/>
              </a:xfrm>
              <a:custGeom>
                <a:avLst/>
                <a:gdLst/>
                <a:ahLst/>
                <a:cxnLst/>
                <a:rect l="l" t="t" r="r" b="b"/>
                <a:pathLst>
                  <a:path w="19089" h="51052" extrusionOk="0">
                    <a:moveTo>
                      <a:pt x="120" y="1"/>
                    </a:moveTo>
                    <a:lnTo>
                      <a:pt x="0" y="76"/>
                    </a:lnTo>
                    <a:cubicBezTo>
                      <a:pt x="717" y="972"/>
                      <a:pt x="1375" y="1913"/>
                      <a:pt x="2017" y="2854"/>
                    </a:cubicBezTo>
                    <a:cubicBezTo>
                      <a:pt x="2674" y="3795"/>
                      <a:pt x="3286" y="4780"/>
                      <a:pt x="3869" y="5751"/>
                    </a:cubicBezTo>
                    <a:cubicBezTo>
                      <a:pt x="5064" y="7693"/>
                      <a:pt x="6184" y="9694"/>
                      <a:pt x="7229" y="11740"/>
                    </a:cubicBezTo>
                    <a:cubicBezTo>
                      <a:pt x="9291" y="15818"/>
                      <a:pt x="11098" y="20045"/>
                      <a:pt x="12636" y="24361"/>
                    </a:cubicBezTo>
                    <a:cubicBezTo>
                      <a:pt x="12830" y="24884"/>
                      <a:pt x="13010" y="25437"/>
                      <a:pt x="13204" y="25974"/>
                    </a:cubicBezTo>
                    <a:cubicBezTo>
                      <a:pt x="13398" y="26527"/>
                      <a:pt x="13592" y="27065"/>
                      <a:pt x="13756" y="27602"/>
                    </a:cubicBezTo>
                    <a:lnTo>
                      <a:pt x="14279" y="29245"/>
                    </a:lnTo>
                    <a:lnTo>
                      <a:pt x="14772" y="30888"/>
                    </a:lnTo>
                    <a:lnTo>
                      <a:pt x="15011" y="31710"/>
                    </a:lnTo>
                    <a:lnTo>
                      <a:pt x="15250" y="32531"/>
                    </a:lnTo>
                    <a:lnTo>
                      <a:pt x="15698" y="34189"/>
                    </a:lnTo>
                    <a:lnTo>
                      <a:pt x="16116" y="35847"/>
                    </a:lnTo>
                    <a:lnTo>
                      <a:pt x="16325" y="36683"/>
                    </a:lnTo>
                    <a:lnTo>
                      <a:pt x="16505" y="37520"/>
                    </a:lnTo>
                    <a:cubicBezTo>
                      <a:pt x="17535" y="41986"/>
                      <a:pt x="18342" y="46511"/>
                      <a:pt x="18879" y="51052"/>
                    </a:cubicBezTo>
                    <a:lnTo>
                      <a:pt x="19088" y="51022"/>
                    </a:lnTo>
                    <a:cubicBezTo>
                      <a:pt x="18536" y="46466"/>
                      <a:pt x="17729" y="41941"/>
                      <a:pt x="16684" y="37490"/>
                    </a:cubicBezTo>
                    <a:lnTo>
                      <a:pt x="16505" y="36653"/>
                    </a:lnTo>
                    <a:lnTo>
                      <a:pt x="16295" y="35817"/>
                    </a:lnTo>
                    <a:lnTo>
                      <a:pt x="15862" y="34144"/>
                    </a:lnTo>
                    <a:lnTo>
                      <a:pt x="15414" y="32471"/>
                    </a:lnTo>
                    <a:lnTo>
                      <a:pt x="15175" y="31650"/>
                    </a:lnTo>
                    <a:lnTo>
                      <a:pt x="14936" y="30828"/>
                    </a:lnTo>
                    <a:lnTo>
                      <a:pt x="14443" y="29186"/>
                    </a:lnTo>
                    <a:lnTo>
                      <a:pt x="13921" y="27558"/>
                    </a:lnTo>
                    <a:cubicBezTo>
                      <a:pt x="13741" y="27005"/>
                      <a:pt x="13562" y="26452"/>
                      <a:pt x="13368" y="25915"/>
                    </a:cubicBezTo>
                    <a:cubicBezTo>
                      <a:pt x="13189" y="25377"/>
                      <a:pt x="13010" y="24839"/>
                      <a:pt x="12800" y="24302"/>
                    </a:cubicBezTo>
                    <a:cubicBezTo>
                      <a:pt x="11247" y="19985"/>
                      <a:pt x="9425" y="15758"/>
                      <a:pt x="7349" y="11681"/>
                    </a:cubicBezTo>
                    <a:cubicBezTo>
                      <a:pt x="6303" y="9649"/>
                      <a:pt x="5183" y="7648"/>
                      <a:pt x="3988" y="5676"/>
                    </a:cubicBezTo>
                    <a:cubicBezTo>
                      <a:pt x="3391" y="4706"/>
                      <a:pt x="2779" y="3735"/>
                      <a:pt x="2136" y="2779"/>
                    </a:cubicBezTo>
                    <a:cubicBezTo>
                      <a:pt x="1494" y="1838"/>
                      <a:pt x="822" y="897"/>
                      <a:pt x="120" y="1"/>
                    </a:cubicBez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0" name="Google Shape;500;p8"/>
              <p:cNvSpPr/>
              <p:nvPr/>
            </p:nvSpPr>
            <p:spPr>
              <a:xfrm>
                <a:off x="3347884" y="3087985"/>
                <a:ext cx="723722" cy="239515"/>
              </a:xfrm>
              <a:custGeom>
                <a:avLst/>
                <a:gdLst/>
                <a:ahLst/>
                <a:cxnLst/>
                <a:rect l="l" t="t" r="r" b="b"/>
                <a:pathLst>
                  <a:path w="22928" h="7588" fill="none" extrusionOk="0">
                    <a:moveTo>
                      <a:pt x="22927" y="7587"/>
                    </a:moveTo>
                    <a:cubicBezTo>
                      <a:pt x="22927" y="7587"/>
                      <a:pt x="11785" y="0"/>
                      <a:pt x="1" y="227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1" name="Google Shape;501;p8"/>
              <p:cNvSpPr/>
              <p:nvPr/>
            </p:nvSpPr>
            <p:spPr>
              <a:xfrm>
                <a:off x="4023470" y="2831962"/>
                <a:ext cx="318270" cy="431430"/>
              </a:xfrm>
              <a:custGeom>
                <a:avLst/>
                <a:gdLst/>
                <a:ahLst/>
                <a:cxnLst/>
                <a:rect l="l" t="t" r="r" b="b"/>
                <a:pathLst>
                  <a:path w="10083" h="13668" extrusionOk="0">
                    <a:moveTo>
                      <a:pt x="9933" y="3376"/>
                    </a:moveTo>
                    <a:cubicBezTo>
                      <a:pt x="9933" y="3376"/>
                      <a:pt x="9933" y="3376"/>
                      <a:pt x="9933" y="3376"/>
                    </a:cubicBezTo>
                    <a:lnTo>
                      <a:pt x="9933" y="3376"/>
                    </a:lnTo>
                    <a:lnTo>
                      <a:pt x="9933" y="3376"/>
                    </a:lnTo>
                    <a:close/>
                    <a:moveTo>
                      <a:pt x="9739" y="1"/>
                    </a:moveTo>
                    <a:lnTo>
                      <a:pt x="9739" y="1"/>
                    </a:lnTo>
                    <a:cubicBezTo>
                      <a:pt x="6976" y="270"/>
                      <a:pt x="4526" y="1987"/>
                      <a:pt x="4526" y="1987"/>
                    </a:cubicBezTo>
                    <a:lnTo>
                      <a:pt x="4467" y="1300"/>
                    </a:lnTo>
                    <a:cubicBezTo>
                      <a:pt x="2420" y="3048"/>
                      <a:pt x="1450" y="5751"/>
                      <a:pt x="1450" y="5751"/>
                    </a:cubicBezTo>
                    <a:lnTo>
                      <a:pt x="1151" y="5333"/>
                    </a:lnTo>
                    <a:lnTo>
                      <a:pt x="1151" y="5333"/>
                    </a:lnTo>
                    <a:cubicBezTo>
                      <a:pt x="1" y="9859"/>
                      <a:pt x="2764" y="13667"/>
                      <a:pt x="2764" y="13667"/>
                    </a:cubicBezTo>
                    <a:cubicBezTo>
                      <a:pt x="6811" y="12174"/>
                      <a:pt x="8798" y="7858"/>
                      <a:pt x="8798" y="7857"/>
                    </a:cubicBezTo>
                    <a:lnTo>
                      <a:pt x="8798" y="7857"/>
                    </a:lnTo>
                    <a:lnTo>
                      <a:pt x="8006" y="8260"/>
                    </a:lnTo>
                    <a:cubicBezTo>
                      <a:pt x="9406" y="6444"/>
                      <a:pt x="9915" y="3397"/>
                      <a:pt x="9933" y="3376"/>
                    </a:cubicBezTo>
                    <a:lnTo>
                      <a:pt x="9933" y="3376"/>
                    </a:lnTo>
                    <a:lnTo>
                      <a:pt x="9395" y="3705"/>
                    </a:lnTo>
                    <a:cubicBezTo>
                      <a:pt x="10082" y="1853"/>
                      <a:pt x="9739" y="1"/>
                      <a:pt x="973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2" name="Google Shape;502;p8"/>
              <p:cNvSpPr/>
              <p:nvPr/>
            </p:nvSpPr>
            <p:spPr>
              <a:xfrm>
                <a:off x="4090893" y="2884296"/>
                <a:ext cx="194756" cy="513436"/>
              </a:xfrm>
              <a:custGeom>
                <a:avLst/>
                <a:gdLst/>
                <a:ahLst/>
                <a:cxnLst/>
                <a:rect l="l" t="t" r="r" b="b"/>
                <a:pathLst>
                  <a:path w="6170" h="16266" fill="none" extrusionOk="0">
                    <a:moveTo>
                      <a:pt x="180" y="16266"/>
                    </a:moveTo>
                    <a:cubicBezTo>
                      <a:pt x="180" y="16266"/>
                      <a:pt x="1" y="6334"/>
                      <a:pt x="616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3" name="Google Shape;503;p8"/>
              <p:cNvSpPr/>
              <p:nvPr/>
            </p:nvSpPr>
            <p:spPr>
              <a:xfrm>
                <a:off x="3751443" y="3534914"/>
                <a:ext cx="495065" cy="419625"/>
              </a:xfrm>
              <a:custGeom>
                <a:avLst/>
                <a:gdLst/>
                <a:ahLst/>
                <a:cxnLst/>
                <a:rect l="l" t="t" r="r" b="b"/>
                <a:pathLst>
                  <a:path w="15684" h="13294" fill="none" extrusionOk="0">
                    <a:moveTo>
                      <a:pt x="1" y="0"/>
                    </a:moveTo>
                    <a:cubicBezTo>
                      <a:pt x="1" y="0"/>
                      <a:pt x="13368" y="6781"/>
                      <a:pt x="15683" y="1329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4" name="Google Shape;504;p8"/>
              <p:cNvSpPr/>
              <p:nvPr/>
            </p:nvSpPr>
            <p:spPr>
              <a:xfrm>
                <a:off x="4225265" y="3427404"/>
                <a:ext cx="260727" cy="608699"/>
              </a:xfrm>
              <a:custGeom>
                <a:avLst/>
                <a:gdLst/>
                <a:ahLst/>
                <a:cxnLst/>
                <a:rect l="l" t="t" r="r" b="b"/>
                <a:pathLst>
                  <a:path w="8260" h="19284" fill="none" extrusionOk="0">
                    <a:moveTo>
                      <a:pt x="8260" y="1"/>
                    </a:moveTo>
                    <a:cubicBezTo>
                      <a:pt x="8260" y="1"/>
                      <a:pt x="0" y="12502"/>
                      <a:pt x="1180" y="1928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5" name="Google Shape;505;p8"/>
              <p:cNvSpPr/>
              <p:nvPr/>
            </p:nvSpPr>
            <p:spPr>
              <a:xfrm>
                <a:off x="3786827" y="3358119"/>
                <a:ext cx="384714" cy="273479"/>
              </a:xfrm>
              <a:custGeom>
                <a:avLst/>
                <a:gdLst/>
                <a:ahLst/>
                <a:cxnLst/>
                <a:rect l="l" t="t" r="r" b="b"/>
                <a:pathLst>
                  <a:path w="12188" h="8664" fill="none" extrusionOk="0">
                    <a:moveTo>
                      <a:pt x="12188" y="8663"/>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6" name="Google Shape;506;p8"/>
              <p:cNvSpPr/>
              <p:nvPr/>
            </p:nvSpPr>
            <p:spPr>
              <a:xfrm>
                <a:off x="3934835" y="3380751"/>
                <a:ext cx="22664" cy="98546"/>
              </a:xfrm>
              <a:custGeom>
                <a:avLst/>
                <a:gdLst/>
                <a:ahLst/>
                <a:cxnLst/>
                <a:rect l="l" t="t" r="r" b="b"/>
                <a:pathLst>
                  <a:path w="718" h="3122" fill="none" extrusionOk="0">
                    <a:moveTo>
                      <a:pt x="1" y="0"/>
                    </a:moveTo>
                    <a:lnTo>
                      <a:pt x="718" y="312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7" name="Google Shape;507;p8"/>
              <p:cNvSpPr/>
              <p:nvPr/>
            </p:nvSpPr>
            <p:spPr>
              <a:xfrm>
                <a:off x="4149824" y="3259099"/>
                <a:ext cx="148545" cy="298479"/>
              </a:xfrm>
              <a:custGeom>
                <a:avLst/>
                <a:gdLst/>
                <a:ahLst/>
                <a:cxnLst/>
                <a:rect l="l" t="t" r="r" b="b"/>
                <a:pathLst>
                  <a:path w="4706" h="9456" fill="none" extrusionOk="0">
                    <a:moveTo>
                      <a:pt x="1" y="9455"/>
                    </a:moveTo>
                    <a:cubicBezTo>
                      <a:pt x="1" y="9455"/>
                      <a:pt x="2286" y="2420"/>
                      <a:pt x="4705"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8" name="Google Shape;508;p8"/>
              <p:cNvSpPr/>
              <p:nvPr/>
            </p:nvSpPr>
            <p:spPr>
              <a:xfrm>
                <a:off x="4182841" y="3523582"/>
                <a:ext cx="68370" cy="149965"/>
              </a:xfrm>
              <a:custGeom>
                <a:avLst/>
                <a:gdLst/>
                <a:ahLst/>
                <a:cxnLst/>
                <a:rect l="l" t="t" r="r" b="b"/>
                <a:pathLst>
                  <a:path w="2166" h="4751" fill="none" extrusionOk="0">
                    <a:moveTo>
                      <a:pt x="0" y="4750"/>
                    </a:moveTo>
                    <a:lnTo>
                      <a:pt x="2166"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9" name="Google Shape;509;p8"/>
              <p:cNvSpPr/>
              <p:nvPr/>
            </p:nvSpPr>
            <p:spPr>
              <a:xfrm>
                <a:off x="4212071" y="3533494"/>
                <a:ext cx="11805" cy="50472"/>
              </a:xfrm>
              <a:custGeom>
                <a:avLst/>
                <a:gdLst/>
                <a:ahLst/>
                <a:cxnLst/>
                <a:rect l="l" t="t" r="r" b="b"/>
                <a:pathLst>
                  <a:path w="374" h="1599" fill="none" extrusionOk="0">
                    <a:moveTo>
                      <a:pt x="0" y="0"/>
                    </a:moveTo>
                    <a:lnTo>
                      <a:pt x="374"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0" name="Google Shape;510;p8"/>
              <p:cNvSpPr/>
              <p:nvPr/>
            </p:nvSpPr>
            <p:spPr>
              <a:xfrm>
                <a:off x="3668963" y="3201588"/>
                <a:ext cx="138160" cy="48137"/>
              </a:xfrm>
              <a:custGeom>
                <a:avLst/>
                <a:gdLst/>
                <a:ahLst/>
                <a:cxnLst/>
                <a:rect l="l" t="t" r="r" b="b"/>
                <a:pathLst>
                  <a:path w="4377" h="1525" fill="none" extrusionOk="0">
                    <a:moveTo>
                      <a:pt x="4376" y="1"/>
                    </a:moveTo>
                    <a:lnTo>
                      <a:pt x="0"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1" name="Google Shape;511;p8"/>
              <p:cNvSpPr/>
              <p:nvPr/>
            </p:nvSpPr>
            <p:spPr>
              <a:xfrm>
                <a:off x="4101751" y="3068636"/>
                <a:ext cx="28314" cy="98577"/>
              </a:xfrm>
              <a:custGeom>
                <a:avLst/>
                <a:gdLst/>
                <a:ahLst/>
                <a:cxnLst/>
                <a:rect l="l" t="t" r="r" b="b"/>
                <a:pathLst>
                  <a:path w="897" h="3123" fill="none" extrusionOk="0">
                    <a:moveTo>
                      <a:pt x="896" y="312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2" name="Google Shape;512;p8"/>
              <p:cNvSpPr/>
              <p:nvPr/>
            </p:nvSpPr>
            <p:spPr>
              <a:xfrm>
                <a:off x="4178580" y="3003107"/>
                <a:ext cx="91033" cy="35384"/>
              </a:xfrm>
              <a:custGeom>
                <a:avLst/>
                <a:gdLst/>
                <a:ahLst/>
                <a:cxnLst/>
                <a:rect l="l" t="t" r="r" b="b"/>
                <a:pathLst>
                  <a:path w="2884" h="1121" fill="none" extrusionOk="0">
                    <a:moveTo>
                      <a:pt x="2883" y="1"/>
                    </a:moveTo>
                    <a:lnTo>
                      <a:pt x="1" y="112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3" name="Google Shape;513;p8"/>
              <p:cNvSpPr/>
              <p:nvPr/>
            </p:nvSpPr>
            <p:spPr>
              <a:xfrm>
                <a:off x="4309638" y="3719727"/>
                <a:ext cx="96210" cy="48105"/>
              </a:xfrm>
              <a:custGeom>
                <a:avLst/>
                <a:gdLst/>
                <a:ahLst/>
                <a:cxnLst/>
                <a:rect l="l" t="t" r="r" b="b"/>
                <a:pathLst>
                  <a:path w="3048" h="1524" fill="none" extrusionOk="0">
                    <a:moveTo>
                      <a:pt x="3048" y="0"/>
                    </a:moveTo>
                    <a:lnTo>
                      <a:pt x="1"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4" name="Google Shape;514;p8"/>
              <p:cNvSpPr/>
              <p:nvPr/>
            </p:nvSpPr>
            <p:spPr>
              <a:xfrm>
                <a:off x="4368570" y="3540091"/>
                <a:ext cx="14173" cy="66034"/>
              </a:xfrm>
              <a:custGeom>
                <a:avLst/>
                <a:gdLst/>
                <a:ahLst/>
                <a:cxnLst/>
                <a:rect l="l" t="t" r="r" b="b"/>
                <a:pathLst>
                  <a:path w="449" h="2092" fill="none" extrusionOk="0">
                    <a:moveTo>
                      <a:pt x="1" y="1"/>
                    </a:moveTo>
                    <a:lnTo>
                      <a:pt x="449" y="20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5" name="Google Shape;515;p8"/>
              <p:cNvSpPr/>
              <p:nvPr/>
            </p:nvSpPr>
            <p:spPr>
              <a:xfrm>
                <a:off x="3969746" y="3756500"/>
                <a:ext cx="130616" cy="10385"/>
              </a:xfrm>
              <a:custGeom>
                <a:avLst/>
                <a:gdLst/>
                <a:ahLst/>
                <a:cxnLst/>
                <a:rect l="l" t="t" r="r" b="b"/>
                <a:pathLst>
                  <a:path w="4138" h="329" fill="none" extrusionOk="0">
                    <a:moveTo>
                      <a:pt x="4137" y="329"/>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6" name="Google Shape;516;p8"/>
              <p:cNvSpPr/>
              <p:nvPr/>
            </p:nvSpPr>
            <p:spPr>
              <a:xfrm>
                <a:off x="3956994" y="3585355"/>
                <a:ext cx="19854" cy="86299"/>
              </a:xfrm>
              <a:custGeom>
                <a:avLst/>
                <a:gdLst/>
                <a:ahLst/>
                <a:cxnLst/>
                <a:rect l="l" t="t" r="r" b="b"/>
                <a:pathLst>
                  <a:path w="629" h="2734" fill="none" extrusionOk="0">
                    <a:moveTo>
                      <a:pt x="1" y="0"/>
                    </a:moveTo>
                    <a:lnTo>
                      <a:pt x="628" y="273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7" name="Google Shape;517;p8"/>
              <p:cNvSpPr/>
              <p:nvPr/>
            </p:nvSpPr>
            <p:spPr>
              <a:xfrm>
                <a:off x="3783513" y="2922490"/>
                <a:ext cx="124966" cy="38225"/>
              </a:xfrm>
              <a:custGeom>
                <a:avLst/>
                <a:gdLst/>
                <a:ahLst/>
                <a:cxnLst/>
                <a:rect l="l" t="t" r="r" b="b"/>
                <a:pathLst>
                  <a:path w="3959" h="1211" fill="none" extrusionOk="0">
                    <a:moveTo>
                      <a:pt x="3958" y="1210"/>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8" name="Google Shape;518;p8"/>
              <p:cNvSpPr/>
              <p:nvPr/>
            </p:nvSpPr>
            <p:spPr>
              <a:xfrm>
                <a:off x="3824042" y="2697621"/>
                <a:ext cx="32102" cy="111740"/>
              </a:xfrm>
              <a:custGeom>
                <a:avLst/>
                <a:gdLst/>
                <a:ahLst/>
                <a:cxnLst/>
                <a:rect l="l" t="t" r="r" b="b"/>
                <a:pathLst>
                  <a:path w="1017" h="3540" fill="none" extrusionOk="0">
                    <a:moveTo>
                      <a:pt x="1017" y="0"/>
                    </a:moveTo>
                    <a:lnTo>
                      <a:pt x="1" y="354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9" name="Google Shape;519;p8"/>
            <p:cNvGrpSpPr/>
            <p:nvPr/>
          </p:nvGrpSpPr>
          <p:grpSpPr>
            <a:xfrm>
              <a:off x="7520366" y="137094"/>
              <a:ext cx="257767" cy="157211"/>
              <a:chOff x="7871651" y="404306"/>
              <a:chExt cx="286312" cy="174621"/>
            </a:xfrm>
          </p:grpSpPr>
          <p:sp>
            <p:nvSpPr>
              <p:cNvPr id="520" name="Google Shape;520;p8"/>
              <p:cNvSpPr/>
              <p:nvPr/>
            </p:nvSpPr>
            <p:spPr>
              <a:xfrm>
                <a:off x="7995249" y="404306"/>
                <a:ext cx="162715" cy="174621"/>
              </a:xfrm>
              <a:custGeom>
                <a:avLst/>
                <a:gdLst/>
                <a:ahLst/>
                <a:cxnLst/>
                <a:rect l="l" t="t" r="r" b="b"/>
                <a:pathLst>
                  <a:path w="1435" h="1540" extrusionOk="0">
                    <a:moveTo>
                      <a:pt x="210" y="1"/>
                    </a:moveTo>
                    <a:lnTo>
                      <a:pt x="210" y="1"/>
                    </a:lnTo>
                    <a:cubicBezTo>
                      <a:pt x="1" y="1315"/>
                      <a:pt x="1046" y="1539"/>
                      <a:pt x="1046" y="1539"/>
                    </a:cubicBezTo>
                    <a:cubicBezTo>
                      <a:pt x="1434" y="509"/>
                      <a:pt x="210" y="1"/>
                      <a:pt x="21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1" name="Google Shape;521;p8"/>
              <p:cNvSpPr/>
              <p:nvPr/>
            </p:nvSpPr>
            <p:spPr>
              <a:xfrm>
                <a:off x="7871651" y="412810"/>
                <a:ext cx="123708" cy="132213"/>
              </a:xfrm>
              <a:custGeom>
                <a:avLst/>
                <a:gdLst/>
                <a:ahLst/>
                <a:cxnLst/>
                <a:rect l="l" t="t" r="r" b="b"/>
                <a:pathLst>
                  <a:path w="1091" h="1166" extrusionOk="0">
                    <a:moveTo>
                      <a:pt x="1031" y="1"/>
                    </a:moveTo>
                    <a:cubicBezTo>
                      <a:pt x="0" y="314"/>
                      <a:pt x="194" y="1166"/>
                      <a:pt x="194" y="1166"/>
                    </a:cubicBezTo>
                    <a:cubicBezTo>
                      <a:pt x="1090" y="1076"/>
                      <a:pt x="1031" y="1"/>
                      <a:pt x="103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22" name="Google Shape;522;p8"/>
            <p:cNvSpPr/>
            <p:nvPr/>
          </p:nvSpPr>
          <p:spPr>
            <a:xfrm rot="10800000">
              <a:off x="2313377" y="4805503"/>
              <a:ext cx="170992" cy="109762"/>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3" name="Google Shape;523;p8"/>
            <p:cNvGrpSpPr/>
            <p:nvPr/>
          </p:nvGrpSpPr>
          <p:grpSpPr>
            <a:xfrm rot="899946" flipH="1">
              <a:off x="-217682" y="-80529"/>
              <a:ext cx="827967" cy="1076593"/>
              <a:chOff x="7054700" y="8340850"/>
              <a:chExt cx="411525" cy="535100"/>
            </a:xfrm>
          </p:grpSpPr>
          <p:sp>
            <p:nvSpPr>
              <p:cNvPr id="524" name="Google Shape;524;p8"/>
              <p:cNvSpPr/>
              <p:nvPr/>
            </p:nvSpPr>
            <p:spPr>
              <a:xfrm>
                <a:off x="7224975" y="8340850"/>
                <a:ext cx="101600" cy="243850"/>
              </a:xfrm>
              <a:custGeom>
                <a:avLst/>
                <a:gdLst/>
                <a:ahLst/>
                <a:cxnLst/>
                <a:rect l="l" t="t" r="r" b="b"/>
                <a:pathLst>
                  <a:path w="4064" h="9754" fill="none" extrusionOk="0">
                    <a:moveTo>
                      <a:pt x="1" y="9753"/>
                    </a:moveTo>
                    <a:cubicBezTo>
                      <a:pt x="1" y="9753"/>
                      <a:pt x="3107" y="3690"/>
                      <a:pt x="4063" y="0"/>
                    </a:cubicBezTo>
                    <a:moveTo>
                      <a:pt x="3555" y="9753"/>
                    </a:moveTo>
                    <a:cubicBezTo>
                      <a:pt x="3555" y="9753"/>
                      <a:pt x="2465" y="7050"/>
                      <a:pt x="2420" y="4496"/>
                    </a:cubicBezTo>
                  </a:path>
                </a:pathLst>
              </a:custGeom>
              <a:noFill/>
              <a:ln w="156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5" name="Google Shape;525;p8"/>
              <p:cNvSpPr/>
              <p:nvPr/>
            </p:nvSpPr>
            <p:spPr>
              <a:xfrm>
                <a:off x="7054700" y="8573950"/>
                <a:ext cx="252825" cy="194075"/>
              </a:xfrm>
              <a:custGeom>
                <a:avLst/>
                <a:gdLst/>
                <a:ahLst/>
                <a:cxnLst/>
                <a:rect l="l" t="t" r="r" b="b"/>
                <a:pathLst>
                  <a:path w="10113" h="7763" extrusionOk="0">
                    <a:moveTo>
                      <a:pt x="6465" y="0"/>
                    </a:moveTo>
                    <a:cubicBezTo>
                      <a:pt x="6295" y="0"/>
                      <a:pt x="6122" y="87"/>
                      <a:pt x="6020" y="250"/>
                    </a:cubicBezTo>
                    <a:cubicBezTo>
                      <a:pt x="5632" y="848"/>
                      <a:pt x="5497" y="1490"/>
                      <a:pt x="5452" y="1998"/>
                    </a:cubicBezTo>
                    <a:cubicBezTo>
                      <a:pt x="5044" y="1913"/>
                      <a:pt x="4502" y="1830"/>
                      <a:pt x="3931" y="1830"/>
                    </a:cubicBezTo>
                    <a:cubicBezTo>
                      <a:pt x="2791" y="1830"/>
                      <a:pt x="1539" y="2162"/>
                      <a:pt x="1031" y="3476"/>
                    </a:cubicBezTo>
                    <a:cubicBezTo>
                      <a:pt x="1" y="6135"/>
                      <a:pt x="4497" y="7106"/>
                      <a:pt x="4497" y="7106"/>
                    </a:cubicBezTo>
                    <a:cubicBezTo>
                      <a:pt x="4497" y="7106"/>
                      <a:pt x="5916" y="7762"/>
                      <a:pt x="7253" y="7762"/>
                    </a:cubicBezTo>
                    <a:cubicBezTo>
                      <a:pt x="8206" y="7762"/>
                      <a:pt x="9117" y="7428"/>
                      <a:pt x="9440" y="6284"/>
                    </a:cubicBezTo>
                    <a:cubicBezTo>
                      <a:pt x="10112" y="4014"/>
                      <a:pt x="7379" y="2670"/>
                      <a:pt x="6453" y="2296"/>
                    </a:cubicBezTo>
                    <a:cubicBezTo>
                      <a:pt x="6722" y="1848"/>
                      <a:pt x="7080" y="1490"/>
                      <a:pt x="7379" y="1236"/>
                    </a:cubicBezTo>
                    <a:cubicBezTo>
                      <a:pt x="7678" y="982"/>
                      <a:pt x="7603" y="519"/>
                      <a:pt x="7275" y="355"/>
                    </a:cubicBezTo>
                    <a:lnTo>
                      <a:pt x="6692" y="56"/>
                    </a:lnTo>
                    <a:cubicBezTo>
                      <a:pt x="6622" y="18"/>
                      <a:pt x="6543" y="0"/>
                      <a:pt x="646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6" name="Google Shape;526;p8"/>
              <p:cNvSpPr/>
              <p:nvPr/>
            </p:nvSpPr>
            <p:spPr>
              <a:xfrm>
                <a:off x="7065175" y="8679500"/>
                <a:ext cx="190450" cy="186150"/>
              </a:xfrm>
              <a:custGeom>
                <a:avLst/>
                <a:gdLst/>
                <a:ahLst/>
                <a:cxnLst/>
                <a:rect l="l" t="t" r="r" b="b"/>
                <a:pathLst>
                  <a:path w="7618" h="7446" extrusionOk="0">
                    <a:moveTo>
                      <a:pt x="2208" y="0"/>
                    </a:moveTo>
                    <a:cubicBezTo>
                      <a:pt x="1980" y="0"/>
                      <a:pt x="1759" y="147"/>
                      <a:pt x="1688" y="389"/>
                    </a:cubicBezTo>
                    <a:lnTo>
                      <a:pt x="538" y="3840"/>
                    </a:lnTo>
                    <a:cubicBezTo>
                      <a:pt x="0" y="5438"/>
                      <a:pt x="1673" y="7021"/>
                      <a:pt x="2599" y="7335"/>
                    </a:cubicBezTo>
                    <a:cubicBezTo>
                      <a:pt x="2659" y="7365"/>
                      <a:pt x="2733" y="7379"/>
                      <a:pt x="2793" y="7379"/>
                    </a:cubicBezTo>
                    <a:cubicBezTo>
                      <a:pt x="2986" y="7422"/>
                      <a:pt x="3215" y="7445"/>
                      <a:pt x="3464" y="7445"/>
                    </a:cubicBezTo>
                    <a:cubicBezTo>
                      <a:pt x="4179" y="7445"/>
                      <a:pt x="5055" y="7251"/>
                      <a:pt x="5676" y="6752"/>
                    </a:cubicBezTo>
                    <a:lnTo>
                      <a:pt x="5691" y="6737"/>
                    </a:lnTo>
                    <a:lnTo>
                      <a:pt x="5706" y="6737"/>
                    </a:lnTo>
                    <a:lnTo>
                      <a:pt x="5721" y="6722"/>
                    </a:lnTo>
                    <a:lnTo>
                      <a:pt x="5735" y="6707"/>
                    </a:lnTo>
                    <a:lnTo>
                      <a:pt x="5750" y="6692"/>
                    </a:lnTo>
                    <a:lnTo>
                      <a:pt x="5765" y="6677"/>
                    </a:lnTo>
                    <a:lnTo>
                      <a:pt x="5780" y="6677"/>
                    </a:lnTo>
                    <a:lnTo>
                      <a:pt x="5795" y="6663"/>
                    </a:lnTo>
                    <a:lnTo>
                      <a:pt x="5795" y="6648"/>
                    </a:lnTo>
                    <a:lnTo>
                      <a:pt x="5810" y="6633"/>
                    </a:lnTo>
                    <a:lnTo>
                      <a:pt x="5825" y="6618"/>
                    </a:lnTo>
                    <a:lnTo>
                      <a:pt x="5840" y="6603"/>
                    </a:lnTo>
                    <a:lnTo>
                      <a:pt x="5855" y="6603"/>
                    </a:lnTo>
                    <a:cubicBezTo>
                      <a:pt x="6079" y="6379"/>
                      <a:pt x="6258" y="6110"/>
                      <a:pt x="6378" y="5811"/>
                    </a:cubicBezTo>
                    <a:lnTo>
                      <a:pt x="7528" y="2361"/>
                    </a:lnTo>
                    <a:cubicBezTo>
                      <a:pt x="7617" y="2122"/>
                      <a:pt x="7513" y="1853"/>
                      <a:pt x="7304" y="1704"/>
                    </a:cubicBezTo>
                    <a:cubicBezTo>
                      <a:pt x="7289" y="1674"/>
                      <a:pt x="7244" y="1659"/>
                      <a:pt x="7214" y="1644"/>
                    </a:cubicBezTo>
                    <a:cubicBezTo>
                      <a:pt x="6004" y="808"/>
                      <a:pt x="4615" y="285"/>
                      <a:pt x="3181" y="91"/>
                    </a:cubicBezTo>
                    <a:cubicBezTo>
                      <a:pt x="2868" y="46"/>
                      <a:pt x="2569" y="16"/>
                      <a:pt x="2241" y="1"/>
                    </a:cubicBezTo>
                    <a:cubicBezTo>
                      <a:pt x="2230" y="0"/>
                      <a:pt x="2219" y="0"/>
                      <a:pt x="220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7" name="Google Shape;527;p8"/>
              <p:cNvSpPr/>
              <p:nvPr/>
            </p:nvSpPr>
            <p:spPr>
              <a:xfrm>
                <a:off x="7064800" y="8679875"/>
                <a:ext cx="79550" cy="184500"/>
              </a:xfrm>
              <a:custGeom>
                <a:avLst/>
                <a:gdLst/>
                <a:ahLst/>
                <a:cxnLst/>
                <a:rect l="l" t="t" r="r" b="b"/>
                <a:pathLst>
                  <a:path w="3182" h="7380" extrusionOk="0">
                    <a:moveTo>
                      <a:pt x="2223" y="0"/>
                    </a:moveTo>
                    <a:cubicBezTo>
                      <a:pt x="1982" y="0"/>
                      <a:pt x="1759" y="161"/>
                      <a:pt x="1688" y="389"/>
                    </a:cubicBezTo>
                    <a:lnTo>
                      <a:pt x="538" y="3825"/>
                    </a:lnTo>
                    <a:cubicBezTo>
                      <a:pt x="0" y="5438"/>
                      <a:pt x="1688" y="7021"/>
                      <a:pt x="2599" y="7335"/>
                    </a:cubicBezTo>
                    <a:cubicBezTo>
                      <a:pt x="2659" y="7364"/>
                      <a:pt x="2733" y="7364"/>
                      <a:pt x="2793" y="7379"/>
                    </a:cubicBezTo>
                    <a:cubicBezTo>
                      <a:pt x="1688" y="4616"/>
                      <a:pt x="2554" y="1629"/>
                      <a:pt x="3182" y="91"/>
                    </a:cubicBezTo>
                    <a:cubicBezTo>
                      <a:pt x="2868" y="46"/>
                      <a:pt x="2569" y="16"/>
                      <a:pt x="2256" y="1"/>
                    </a:cubicBezTo>
                    <a:cubicBezTo>
                      <a:pt x="2245" y="0"/>
                      <a:pt x="2234" y="0"/>
                      <a:pt x="222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8" name="Google Shape;528;p8"/>
              <p:cNvSpPr/>
              <p:nvPr/>
            </p:nvSpPr>
            <p:spPr>
              <a:xfrm>
                <a:off x="7220125" y="8580850"/>
                <a:ext cx="246100" cy="190825"/>
              </a:xfrm>
              <a:custGeom>
                <a:avLst/>
                <a:gdLst/>
                <a:ahLst/>
                <a:cxnLst/>
                <a:rect l="l" t="t" r="r" b="b"/>
                <a:pathLst>
                  <a:path w="9844" h="7633" extrusionOk="0">
                    <a:moveTo>
                      <a:pt x="4066" y="0"/>
                    </a:moveTo>
                    <a:cubicBezTo>
                      <a:pt x="4046" y="0"/>
                      <a:pt x="4025" y="2"/>
                      <a:pt x="4003" y="4"/>
                    </a:cubicBezTo>
                    <a:lnTo>
                      <a:pt x="3361" y="49"/>
                    </a:lnTo>
                    <a:cubicBezTo>
                      <a:pt x="3092" y="79"/>
                      <a:pt x="2883" y="318"/>
                      <a:pt x="2883" y="587"/>
                    </a:cubicBezTo>
                    <a:cubicBezTo>
                      <a:pt x="2883" y="1304"/>
                      <a:pt x="3107" y="1916"/>
                      <a:pt x="3346" y="2364"/>
                    </a:cubicBezTo>
                    <a:cubicBezTo>
                      <a:pt x="2181" y="2797"/>
                      <a:pt x="0" y="3902"/>
                      <a:pt x="419" y="5964"/>
                    </a:cubicBezTo>
                    <a:cubicBezTo>
                      <a:pt x="671" y="7283"/>
                      <a:pt x="1762" y="7633"/>
                      <a:pt x="2847" y="7633"/>
                    </a:cubicBezTo>
                    <a:cubicBezTo>
                      <a:pt x="4071" y="7633"/>
                      <a:pt x="5288" y="7188"/>
                      <a:pt x="5288" y="7188"/>
                    </a:cubicBezTo>
                    <a:cubicBezTo>
                      <a:pt x="5288" y="7188"/>
                      <a:pt x="9843" y="6576"/>
                      <a:pt x="9022" y="3843"/>
                    </a:cubicBezTo>
                    <a:cubicBezTo>
                      <a:pt x="8564" y="2286"/>
                      <a:pt x="7004" y="1949"/>
                      <a:pt x="5754" y="1949"/>
                    </a:cubicBezTo>
                    <a:cubicBezTo>
                      <a:pt x="5169" y="1949"/>
                      <a:pt x="4652" y="2023"/>
                      <a:pt x="4347" y="2080"/>
                    </a:cubicBezTo>
                    <a:cubicBezTo>
                      <a:pt x="4332" y="1557"/>
                      <a:pt x="4451" y="1065"/>
                      <a:pt x="4571" y="691"/>
                    </a:cubicBezTo>
                    <a:cubicBezTo>
                      <a:pt x="4669" y="339"/>
                      <a:pt x="4409" y="0"/>
                      <a:pt x="406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9" name="Google Shape;529;p8"/>
              <p:cNvSpPr/>
              <p:nvPr/>
            </p:nvSpPr>
            <p:spPr>
              <a:xfrm>
                <a:off x="7266800" y="8692100"/>
                <a:ext cx="174400" cy="183850"/>
              </a:xfrm>
              <a:custGeom>
                <a:avLst/>
                <a:gdLst/>
                <a:ahLst/>
                <a:cxnLst/>
                <a:rect l="l" t="t" r="r" b="b"/>
                <a:pathLst>
                  <a:path w="6976" h="7354" extrusionOk="0">
                    <a:moveTo>
                      <a:pt x="5102" y="1"/>
                    </a:moveTo>
                    <a:cubicBezTo>
                      <a:pt x="3724" y="1"/>
                      <a:pt x="2379" y="298"/>
                      <a:pt x="1151" y="856"/>
                    </a:cubicBezTo>
                    <a:cubicBezTo>
                      <a:pt x="882" y="976"/>
                      <a:pt x="598" y="1140"/>
                      <a:pt x="329" y="1289"/>
                    </a:cubicBezTo>
                    <a:cubicBezTo>
                      <a:pt x="105" y="1409"/>
                      <a:pt x="0" y="1663"/>
                      <a:pt x="60" y="1917"/>
                    </a:cubicBezTo>
                    <a:lnTo>
                      <a:pt x="912" y="5442"/>
                    </a:lnTo>
                    <a:cubicBezTo>
                      <a:pt x="1249" y="6815"/>
                      <a:pt x="2901" y="7354"/>
                      <a:pt x="3984" y="7354"/>
                    </a:cubicBezTo>
                    <a:cubicBezTo>
                      <a:pt x="4196" y="7354"/>
                      <a:pt x="4387" y="7333"/>
                      <a:pt x="4541" y="7294"/>
                    </a:cubicBezTo>
                    <a:cubicBezTo>
                      <a:pt x="4601" y="7279"/>
                      <a:pt x="4660" y="7264"/>
                      <a:pt x="4735" y="7234"/>
                    </a:cubicBezTo>
                    <a:cubicBezTo>
                      <a:pt x="5452" y="6980"/>
                      <a:pt x="6483" y="6173"/>
                      <a:pt x="6826" y="5158"/>
                    </a:cubicBezTo>
                    <a:lnTo>
                      <a:pt x="6841" y="5143"/>
                    </a:lnTo>
                    <a:lnTo>
                      <a:pt x="6841" y="5113"/>
                    </a:lnTo>
                    <a:lnTo>
                      <a:pt x="6856" y="5098"/>
                    </a:lnTo>
                    <a:lnTo>
                      <a:pt x="6856" y="5083"/>
                    </a:lnTo>
                    <a:lnTo>
                      <a:pt x="6856" y="5068"/>
                    </a:lnTo>
                    <a:lnTo>
                      <a:pt x="6871" y="5053"/>
                    </a:lnTo>
                    <a:lnTo>
                      <a:pt x="6871" y="5038"/>
                    </a:lnTo>
                    <a:lnTo>
                      <a:pt x="6871" y="5008"/>
                    </a:lnTo>
                    <a:lnTo>
                      <a:pt x="6886" y="4994"/>
                    </a:lnTo>
                    <a:lnTo>
                      <a:pt x="6886" y="4979"/>
                    </a:lnTo>
                    <a:lnTo>
                      <a:pt x="6886" y="4964"/>
                    </a:lnTo>
                    <a:lnTo>
                      <a:pt x="6886" y="4949"/>
                    </a:lnTo>
                    <a:cubicBezTo>
                      <a:pt x="6961" y="4635"/>
                      <a:pt x="6975" y="4307"/>
                      <a:pt x="6901" y="3978"/>
                    </a:cubicBezTo>
                    <a:lnTo>
                      <a:pt x="6035" y="453"/>
                    </a:lnTo>
                    <a:cubicBezTo>
                      <a:pt x="5975" y="199"/>
                      <a:pt x="5766" y="20"/>
                      <a:pt x="5497" y="5"/>
                    </a:cubicBezTo>
                    <a:lnTo>
                      <a:pt x="5392" y="5"/>
                    </a:lnTo>
                    <a:cubicBezTo>
                      <a:pt x="5295" y="2"/>
                      <a:pt x="5199" y="1"/>
                      <a:pt x="510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0" name="Google Shape;530;p8"/>
              <p:cNvSpPr/>
              <p:nvPr/>
            </p:nvSpPr>
            <p:spPr>
              <a:xfrm>
                <a:off x="7266800" y="8713500"/>
                <a:ext cx="118400" cy="162450"/>
              </a:xfrm>
              <a:custGeom>
                <a:avLst/>
                <a:gdLst/>
                <a:ahLst/>
                <a:cxnLst/>
                <a:rect l="l" t="t" r="r" b="b"/>
                <a:pathLst>
                  <a:path w="4736" h="6498" extrusionOk="0">
                    <a:moveTo>
                      <a:pt x="1151" y="0"/>
                    </a:moveTo>
                    <a:cubicBezTo>
                      <a:pt x="882" y="120"/>
                      <a:pt x="598" y="269"/>
                      <a:pt x="329" y="433"/>
                    </a:cubicBezTo>
                    <a:cubicBezTo>
                      <a:pt x="105" y="553"/>
                      <a:pt x="0" y="807"/>
                      <a:pt x="60" y="1061"/>
                    </a:cubicBezTo>
                    <a:lnTo>
                      <a:pt x="912" y="4586"/>
                    </a:lnTo>
                    <a:cubicBezTo>
                      <a:pt x="1249" y="5959"/>
                      <a:pt x="2901" y="6498"/>
                      <a:pt x="3984" y="6498"/>
                    </a:cubicBezTo>
                    <a:cubicBezTo>
                      <a:pt x="4196" y="6498"/>
                      <a:pt x="4387" y="6477"/>
                      <a:pt x="4541" y="6438"/>
                    </a:cubicBezTo>
                    <a:cubicBezTo>
                      <a:pt x="4601" y="6423"/>
                      <a:pt x="4660" y="6408"/>
                      <a:pt x="4735" y="6378"/>
                    </a:cubicBezTo>
                    <a:cubicBezTo>
                      <a:pt x="2316" y="4645"/>
                      <a:pt x="1449" y="1658"/>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1" name="Google Shape;531;p8"/>
              <p:cNvSpPr/>
              <p:nvPr/>
            </p:nvSpPr>
            <p:spPr>
              <a:xfrm>
                <a:off x="7292575" y="8422250"/>
                <a:ext cx="159825" cy="136675"/>
              </a:xfrm>
              <a:custGeom>
                <a:avLst/>
                <a:gdLst/>
                <a:ahLst/>
                <a:cxnLst/>
                <a:rect l="l" t="t" r="r" b="b"/>
                <a:pathLst>
                  <a:path w="6393" h="5467" extrusionOk="0">
                    <a:moveTo>
                      <a:pt x="1090" y="0"/>
                    </a:moveTo>
                    <a:cubicBezTo>
                      <a:pt x="1090" y="1"/>
                      <a:pt x="0" y="4541"/>
                      <a:pt x="5422" y="5467"/>
                    </a:cubicBezTo>
                    <a:lnTo>
                      <a:pt x="5437" y="5467"/>
                    </a:lnTo>
                    <a:cubicBezTo>
                      <a:pt x="5437" y="5467"/>
                      <a:pt x="6393" y="1479"/>
                      <a:pt x="10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2" name="Google Shape;532;p8"/>
              <p:cNvSpPr/>
              <p:nvPr/>
            </p:nvSpPr>
            <p:spPr>
              <a:xfrm>
                <a:off x="7306375" y="8404700"/>
                <a:ext cx="97850" cy="124000"/>
              </a:xfrm>
              <a:custGeom>
                <a:avLst/>
                <a:gdLst/>
                <a:ahLst/>
                <a:cxnLst/>
                <a:rect l="l" t="t" r="r" b="b"/>
                <a:pathLst>
                  <a:path w="3914" h="4960" fill="none" extrusionOk="0">
                    <a:moveTo>
                      <a:pt x="1" y="0"/>
                    </a:moveTo>
                    <a:lnTo>
                      <a:pt x="3914" y="495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3" name="Google Shape;533;p8"/>
              <p:cNvSpPr/>
              <p:nvPr/>
            </p:nvSpPr>
            <p:spPr>
              <a:xfrm>
                <a:off x="7104375" y="8455100"/>
                <a:ext cx="188200" cy="154625"/>
              </a:xfrm>
              <a:custGeom>
                <a:avLst/>
                <a:gdLst/>
                <a:ahLst/>
                <a:cxnLst/>
                <a:rect l="l" t="t" r="r" b="b"/>
                <a:pathLst>
                  <a:path w="7528" h="6185" extrusionOk="0">
                    <a:moveTo>
                      <a:pt x="6796" y="1"/>
                    </a:moveTo>
                    <a:lnTo>
                      <a:pt x="6796" y="1"/>
                    </a:lnTo>
                    <a:cubicBezTo>
                      <a:pt x="0" y="1091"/>
                      <a:pt x="643" y="6184"/>
                      <a:pt x="643" y="6184"/>
                    </a:cubicBezTo>
                    <a:lnTo>
                      <a:pt x="673" y="6184"/>
                    </a:lnTo>
                    <a:cubicBezTo>
                      <a:pt x="7528" y="5796"/>
                      <a:pt x="6796" y="1"/>
                      <a:pt x="67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4" name="Google Shape;534;p8"/>
              <p:cNvSpPr/>
              <p:nvPr/>
            </p:nvSpPr>
            <p:spPr>
              <a:xfrm>
                <a:off x="7154775" y="8435700"/>
                <a:ext cx="138925" cy="140025"/>
              </a:xfrm>
              <a:custGeom>
                <a:avLst/>
                <a:gdLst/>
                <a:ahLst/>
                <a:cxnLst/>
                <a:rect l="l" t="t" r="r" b="b"/>
                <a:pathLst>
                  <a:path w="5557" h="5601" fill="none" extrusionOk="0">
                    <a:moveTo>
                      <a:pt x="5557" y="0"/>
                    </a:moveTo>
                    <a:lnTo>
                      <a:pt x="1" y="560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5" name="Google Shape;535;p8"/>
            <p:cNvGrpSpPr/>
            <p:nvPr/>
          </p:nvGrpSpPr>
          <p:grpSpPr>
            <a:xfrm rot="9808583">
              <a:off x="-852298" y="627456"/>
              <a:ext cx="1558329" cy="2046812"/>
              <a:chOff x="3255967" y="2507600"/>
              <a:chExt cx="1305465" cy="1715179"/>
            </a:xfrm>
          </p:grpSpPr>
          <p:sp>
            <p:nvSpPr>
              <p:cNvPr id="536" name="Google Shape;536;p8"/>
              <p:cNvSpPr/>
              <p:nvPr/>
            </p:nvSpPr>
            <p:spPr>
              <a:xfrm>
                <a:off x="4191774" y="3356698"/>
                <a:ext cx="369658" cy="519086"/>
              </a:xfrm>
              <a:custGeom>
                <a:avLst/>
                <a:gdLst/>
                <a:ahLst/>
                <a:cxnLst/>
                <a:rect l="l" t="t" r="r" b="b"/>
                <a:pathLst>
                  <a:path w="11711" h="16445" extrusionOk="0">
                    <a:moveTo>
                      <a:pt x="10695" y="0"/>
                    </a:moveTo>
                    <a:cubicBezTo>
                      <a:pt x="10695" y="0"/>
                      <a:pt x="8962" y="777"/>
                      <a:pt x="7394" y="3032"/>
                    </a:cubicBezTo>
                    <a:lnTo>
                      <a:pt x="7290" y="2256"/>
                    </a:lnTo>
                    <a:cubicBezTo>
                      <a:pt x="7290" y="2256"/>
                      <a:pt x="4691" y="4735"/>
                      <a:pt x="3660" y="6841"/>
                    </a:cubicBezTo>
                    <a:lnTo>
                      <a:pt x="3660" y="5945"/>
                    </a:lnTo>
                    <a:cubicBezTo>
                      <a:pt x="3660" y="5945"/>
                      <a:pt x="1" y="10635"/>
                      <a:pt x="2674" y="16445"/>
                    </a:cubicBezTo>
                    <a:cubicBezTo>
                      <a:pt x="2674" y="16445"/>
                      <a:pt x="5423" y="16370"/>
                      <a:pt x="9067" y="13249"/>
                    </a:cubicBezTo>
                    <a:lnTo>
                      <a:pt x="8529" y="13174"/>
                    </a:lnTo>
                    <a:cubicBezTo>
                      <a:pt x="8529" y="13174"/>
                      <a:pt x="11053" y="9559"/>
                      <a:pt x="11666" y="5930"/>
                    </a:cubicBezTo>
                    <a:lnTo>
                      <a:pt x="11666" y="5930"/>
                    </a:lnTo>
                    <a:lnTo>
                      <a:pt x="11009" y="6184"/>
                    </a:lnTo>
                    <a:cubicBezTo>
                      <a:pt x="11009" y="6184"/>
                      <a:pt x="11711" y="2659"/>
                      <a:pt x="1069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37;p8"/>
              <p:cNvSpPr/>
              <p:nvPr/>
            </p:nvSpPr>
            <p:spPr>
              <a:xfrm>
                <a:off x="3567576" y="2507600"/>
                <a:ext cx="429537" cy="595474"/>
              </a:xfrm>
              <a:custGeom>
                <a:avLst/>
                <a:gdLst/>
                <a:ahLst/>
                <a:cxnLst/>
                <a:rect l="l" t="t" r="r" b="b"/>
                <a:pathLst>
                  <a:path w="13608" h="18865" extrusionOk="0">
                    <a:moveTo>
                      <a:pt x="1300" y="1"/>
                    </a:moveTo>
                    <a:lnTo>
                      <a:pt x="1315" y="31"/>
                    </a:lnTo>
                    <a:lnTo>
                      <a:pt x="1300" y="16"/>
                    </a:lnTo>
                    <a:cubicBezTo>
                      <a:pt x="1106" y="554"/>
                      <a:pt x="1211" y="2779"/>
                      <a:pt x="1211" y="2779"/>
                    </a:cubicBezTo>
                    <a:lnTo>
                      <a:pt x="539" y="2421"/>
                    </a:lnTo>
                    <a:lnTo>
                      <a:pt x="539" y="2421"/>
                    </a:lnTo>
                    <a:cubicBezTo>
                      <a:pt x="434" y="3317"/>
                      <a:pt x="1255" y="6408"/>
                      <a:pt x="1270" y="6513"/>
                    </a:cubicBezTo>
                    <a:lnTo>
                      <a:pt x="1" y="6080"/>
                    </a:lnTo>
                    <a:lnTo>
                      <a:pt x="1" y="6080"/>
                    </a:lnTo>
                    <a:cubicBezTo>
                      <a:pt x="583" y="8783"/>
                      <a:pt x="4332" y="13309"/>
                      <a:pt x="4332" y="13309"/>
                    </a:cubicBezTo>
                    <a:lnTo>
                      <a:pt x="3152" y="13488"/>
                    </a:lnTo>
                    <a:cubicBezTo>
                      <a:pt x="6677" y="17924"/>
                      <a:pt x="12995" y="18865"/>
                      <a:pt x="12995" y="18865"/>
                    </a:cubicBezTo>
                    <a:cubicBezTo>
                      <a:pt x="13010" y="18820"/>
                      <a:pt x="13040" y="18775"/>
                      <a:pt x="13055" y="18731"/>
                    </a:cubicBezTo>
                    <a:cubicBezTo>
                      <a:pt x="13085" y="18686"/>
                      <a:pt x="13100" y="18641"/>
                      <a:pt x="13115" y="18596"/>
                    </a:cubicBezTo>
                    <a:cubicBezTo>
                      <a:pt x="13144" y="18536"/>
                      <a:pt x="13159" y="18492"/>
                      <a:pt x="13174" y="18447"/>
                    </a:cubicBezTo>
                    <a:cubicBezTo>
                      <a:pt x="13189" y="18402"/>
                      <a:pt x="13204" y="18342"/>
                      <a:pt x="13219" y="18297"/>
                    </a:cubicBezTo>
                    <a:cubicBezTo>
                      <a:pt x="13249" y="18238"/>
                      <a:pt x="13264" y="18193"/>
                      <a:pt x="13279" y="18148"/>
                    </a:cubicBezTo>
                    <a:cubicBezTo>
                      <a:pt x="13294" y="18088"/>
                      <a:pt x="13309" y="18029"/>
                      <a:pt x="13324" y="17984"/>
                    </a:cubicBezTo>
                    <a:cubicBezTo>
                      <a:pt x="13339" y="17924"/>
                      <a:pt x="13353" y="17864"/>
                      <a:pt x="13353" y="17819"/>
                    </a:cubicBezTo>
                    <a:cubicBezTo>
                      <a:pt x="13368" y="17760"/>
                      <a:pt x="13383" y="17700"/>
                      <a:pt x="13398" y="17640"/>
                    </a:cubicBezTo>
                    <a:cubicBezTo>
                      <a:pt x="13413" y="17595"/>
                      <a:pt x="13413" y="17536"/>
                      <a:pt x="13428" y="17476"/>
                    </a:cubicBezTo>
                    <a:cubicBezTo>
                      <a:pt x="13443" y="17416"/>
                      <a:pt x="13458" y="17356"/>
                      <a:pt x="13458" y="17297"/>
                    </a:cubicBezTo>
                    <a:cubicBezTo>
                      <a:pt x="13473" y="17237"/>
                      <a:pt x="13488" y="17177"/>
                      <a:pt x="13488" y="17117"/>
                    </a:cubicBezTo>
                    <a:cubicBezTo>
                      <a:pt x="13503" y="17058"/>
                      <a:pt x="13503" y="16983"/>
                      <a:pt x="13518" y="16923"/>
                    </a:cubicBezTo>
                    <a:cubicBezTo>
                      <a:pt x="13518" y="16864"/>
                      <a:pt x="13533" y="16804"/>
                      <a:pt x="13533" y="16744"/>
                    </a:cubicBezTo>
                    <a:cubicBezTo>
                      <a:pt x="13548" y="16669"/>
                      <a:pt x="13548" y="16610"/>
                      <a:pt x="13548" y="16550"/>
                    </a:cubicBezTo>
                    <a:cubicBezTo>
                      <a:pt x="13563" y="16490"/>
                      <a:pt x="13563" y="16415"/>
                      <a:pt x="13578" y="16356"/>
                    </a:cubicBezTo>
                    <a:cubicBezTo>
                      <a:pt x="13578" y="16281"/>
                      <a:pt x="13578" y="16221"/>
                      <a:pt x="13578" y="16162"/>
                    </a:cubicBezTo>
                    <a:cubicBezTo>
                      <a:pt x="13592" y="16087"/>
                      <a:pt x="13592" y="16027"/>
                      <a:pt x="13592" y="15952"/>
                    </a:cubicBezTo>
                    <a:cubicBezTo>
                      <a:pt x="13592" y="15893"/>
                      <a:pt x="13607" y="15818"/>
                      <a:pt x="13607" y="15758"/>
                    </a:cubicBezTo>
                    <a:cubicBezTo>
                      <a:pt x="13607" y="15684"/>
                      <a:pt x="13607" y="15624"/>
                      <a:pt x="13607" y="15549"/>
                    </a:cubicBezTo>
                    <a:cubicBezTo>
                      <a:pt x="13607" y="15489"/>
                      <a:pt x="13607" y="15415"/>
                      <a:pt x="13607" y="15355"/>
                    </a:cubicBezTo>
                    <a:cubicBezTo>
                      <a:pt x="13607" y="15280"/>
                      <a:pt x="13607" y="15206"/>
                      <a:pt x="13607" y="15146"/>
                    </a:cubicBezTo>
                    <a:cubicBezTo>
                      <a:pt x="13607" y="15071"/>
                      <a:pt x="13607" y="15012"/>
                      <a:pt x="13607" y="14937"/>
                    </a:cubicBezTo>
                    <a:cubicBezTo>
                      <a:pt x="13607" y="14862"/>
                      <a:pt x="13607" y="14802"/>
                      <a:pt x="13607" y="14728"/>
                    </a:cubicBezTo>
                    <a:cubicBezTo>
                      <a:pt x="13607" y="14668"/>
                      <a:pt x="13607" y="14593"/>
                      <a:pt x="13607" y="14519"/>
                    </a:cubicBezTo>
                    <a:cubicBezTo>
                      <a:pt x="13607" y="14459"/>
                      <a:pt x="13607" y="14384"/>
                      <a:pt x="13592" y="14310"/>
                    </a:cubicBezTo>
                    <a:cubicBezTo>
                      <a:pt x="13592" y="14250"/>
                      <a:pt x="13592" y="14175"/>
                      <a:pt x="13592" y="14115"/>
                    </a:cubicBezTo>
                    <a:cubicBezTo>
                      <a:pt x="13592" y="14041"/>
                      <a:pt x="13592" y="13966"/>
                      <a:pt x="13578" y="13906"/>
                    </a:cubicBezTo>
                    <a:cubicBezTo>
                      <a:pt x="13578" y="13832"/>
                      <a:pt x="13578" y="13772"/>
                      <a:pt x="13578" y="13697"/>
                    </a:cubicBezTo>
                    <a:cubicBezTo>
                      <a:pt x="13428" y="11233"/>
                      <a:pt x="12980" y="8962"/>
                      <a:pt x="12980" y="8962"/>
                    </a:cubicBezTo>
                    <a:lnTo>
                      <a:pt x="12547" y="9754"/>
                    </a:lnTo>
                    <a:cubicBezTo>
                      <a:pt x="11755" y="6737"/>
                      <a:pt x="8425" y="3138"/>
                      <a:pt x="8425" y="3138"/>
                    </a:cubicBezTo>
                    <a:lnTo>
                      <a:pt x="8425" y="3152"/>
                    </a:lnTo>
                    <a:lnTo>
                      <a:pt x="8440" y="4064"/>
                    </a:lnTo>
                    <a:cubicBezTo>
                      <a:pt x="7439" y="2630"/>
                      <a:pt x="5094" y="1285"/>
                      <a:pt x="5094" y="1285"/>
                    </a:cubicBezTo>
                    <a:lnTo>
                      <a:pt x="5094" y="1300"/>
                    </a:lnTo>
                    <a:lnTo>
                      <a:pt x="5109" y="1883"/>
                    </a:lnTo>
                    <a:cubicBezTo>
                      <a:pt x="4034" y="1002"/>
                      <a:pt x="1390" y="31"/>
                      <a:pt x="130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538;p8"/>
              <p:cNvSpPr/>
              <p:nvPr/>
            </p:nvSpPr>
            <p:spPr>
              <a:xfrm>
                <a:off x="4137577" y="3199694"/>
                <a:ext cx="207445" cy="272059"/>
              </a:xfrm>
              <a:custGeom>
                <a:avLst/>
                <a:gdLst/>
                <a:ahLst/>
                <a:cxnLst/>
                <a:rect l="l" t="t" r="r" b="b"/>
                <a:pathLst>
                  <a:path w="6572" h="8619" extrusionOk="0">
                    <a:moveTo>
                      <a:pt x="6199" y="1"/>
                    </a:moveTo>
                    <a:lnTo>
                      <a:pt x="6199" y="1"/>
                    </a:lnTo>
                    <a:cubicBezTo>
                      <a:pt x="4630" y="300"/>
                      <a:pt x="3555" y="1420"/>
                      <a:pt x="3555" y="1420"/>
                    </a:cubicBezTo>
                    <a:lnTo>
                      <a:pt x="3316" y="807"/>
                    </a:lnTo>
                    <a:cubicBezTo>
                      <a:pt x="2241" y="1509"/>
                      <a:pt x="1583" y="4078"/>
                      <a:pt x="1583" y="4078"/>
                    </a:cubicBezTo>
                    <a:lnTo>
                      <a:pt x="1285" y="3660"/>
                    </a:lnTo>
                    <a:lnTo>
                      <a:pt x="1285" y="3660"/>
                    </a:lnTo>
                    <a:cubicBezTo>
                      <a:pt x="0" y="6020"/>
                      <a:pt x="1389" y="8619"/>
                      <a:pt x="1389" y="8619"/>
                    </a:cubicBezTo>
                    <a:cubicBezTo>
                      <a:pt x="3540" y="8365"/>
                      <a:pt x="5228" y="6408"/>
                      <a:pt x="5228" y="6408"/>
                    </a:cubicBezTo>
                    <a:lnTo>
                      <a:pt x="5228" y="6408"/>
                    </a:lnTo>
                    <a:lnTo>
                      <a:pt x="4436" y="6573"/>
                    </a:lnTo>
                    <a:cubicBezTo>
                      <a:pt x="5691" y="5736"/>
                      <a:pt x="6527" y="3302"/>
                      <a:pt x="6572" y="3197"/>
                    </a:cubicBezTo>
                    <a:lnTo>
                      <a:pt x="6572" y="3197"/>
                    </a:lnTo>
                    <a:lnTo>
                      <a:pt x="5945" y="3451"/>
                    </a:lnTo>
                    <a:cubicBezTo>
                      <a:pt x="6467" y="2286"/>
                      <a:pt x="6199" y="1"/>
                      <a:pt x="619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9" name="Google Shape;539;p8"/>
              <p:cNvSpPr/>
              <p:nvPr/>
            </p:nvSpPr>
            <p:spPr>
              <a:xfrm>
                <a:off x="3255967" y="2989439"/>
                <a:ext cx="652512" cy="337619"/>
              </a:xfrm>
              <a:custGeom>
                <a:avLst/>
                <a:gdLst/>
                <a:ahLst/>
                <a:cxnLst/>
                <a:rect l="l" t="t" r="r" b="b"/>
                <a:pathLst>
                  <a:path w="20672" h="10696" extrusionOk="0">
                    <a:moveTo>
                      <a:pt x="12427" y="0"/>
                    </a:moveTo>
                    <a:lnTo>
                      <a:pt x="12427" y="15"/>
                    </a:lnTo>
                    <a:lnTo>
                      <a:pt x="12681" y="658"/>
                    </a:lnTo>
                    <a:cubicBezTo>
                      <a:pt x="12576" y="629"/>
                      <a:pt x="11042" y="273"/>
                      <a:pt x="9055" y="273"/>
                    </a:cubicBezTo>
                    <a:cubicBezTo>
                      <a:pt x="7921" y="273"/>
                      <a:pt x="6640" y="389"/>
                      <a:pt x="5392" y="747"/>
                    </a:cubicBezTo>
                    <a:lnTo>
                      <a:pt x="5407" y="762"/>
                    </a:lnTo>
                    <a:lnTo>
                      <a:pt x="5392" y="762"/>
                    </a:lnTo>
                    <a:lnTo>
                      <a:pt x="6109" y="1330"/>
                    </a:lnTo>
                    <a:cubicBezTo>
                      <a:pt x="5870" y="1434"/>
                      <a:pt x="2286" y="2943"/>
                      <a:pt x="0" y="5796"/>
                    </a:cubicBezTo>
                    <a:cubicBezTo>
                      <a:pt x="165" y="5945"/>
                      <a:pt x="1972" y="7588"/>
                      <a:pt x="4466" y="8155"/>
                    </a:cubicBezTo>
                    <a:lnTo>
                      <a:pt x="3689" y="8514"/>
                    </a:lnTo>
                    <a:cubicBezTo>
                      <a:pt x="3689" y="8514"/>
                      <a:pt x="7041" y="10001"/>
                      <a:pt x="10015" y="10001"/>
                    </a:cubicBezTo>
                    <a:cubicBezTo>
                      <a:pt x="10224" y="10001"/>
                      <a:pt x="10431" y="9993"/>
                      <a:pt x="10635" y="9978"/>
                    </a:cubicBezTo>
                    <a:lnTo>
                      <a:pt x="10635" y="9978"/>
                    </a:lnTo>
                    <a:lnTo>
                      <a:pt x="9604" y="10575"/>
                    </a:lnTo>
                    <a:cubicBezTo>
                      <a:pt x="9604" y="10575"/>
                      <a:pt x="10408" y="10695"/>
                      <a:pt x="11654" y="10695"/>
                    </a:cubicBezTo>
                    <a:cubicBezTo>
                      <a:pt x="13921" y="10695"/>
                      <a:pt x="17654" y="10297"/>
                      <a:pt x="20671" y="8051"/>
                    </a:cubicBezTo>
                    <a:lnTo>
                      <a:pt x="20671" y="8036"/>
                    </a:lnTo>
                    <a:lnTo>
                      <a:pt x="20657" y="8021"/>
                    </a:lnTo>
                    <a:lnTo>
                      <a:pt x="20642" y="7991"/>
                    </a:lnTo>
                    <a:lnTo>
                      <a:pt x="20627" y="7946"/>
                    </a:lnTo>
                    <a:lnTo>
                      <a:pt x="20612" y="7901"/>
                    </a:lnTo>
                    <a:lnTo>
                      <a:pt x="20582" y="7857"/>
                    </a:lnTo>
                    <a:lnTo>
                      <a:pt x="20567" y="7797"/>
                    </a:lnTo>
                    <a:lnTo>
                      <a:pt x="20537" y="7722"/>
                    </a:lnTo>
                    <a:lnTo>
                      <a:pt x="20507" y="7648"/>
                    </a:lnTo>
                    <a:lnTo>
                      <a:pt x="20462" y="7573"/>
                    </a:lnTo>
                    <a:lnTo>
                      <a:pt x="20418" y="7483"/>
                    </a:lnTo>
                    <a:lnTo>
                      <a:pt x="20373" y="7394"/>
                    </a:lnTo>
                    <a:lnTo>
                      <a:pt x="20328" y="7304"/>
                    </a:lnTo>
                    <a:cubicBezTo>
                      <a:pt x="20313" y="7274"/>
                      <a:pt x="20298" y="7229"/>
                      <a:pt x="20283" y="7200"/>
                    </a:cubicBezTo>
                    <a:cubicBezTo>
                      <a:pt x="19402" y="5467"/>
                      <a:pt x="17012" y="1613"/>
                      <a:pt x="124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0" name="Google Shape;540;p8"/>
              <p:cNvSpPr/>
              <p:nvPr/>
            </p:nvSpPr>
            <p:spPr>
              <a:xfrm>
                <a:off x="3675560" y="3494669"/>
                <a:ext cx="490331" cy="341123"/>
              </a:xfrm>
              <a:custGeom>
                <a:avLst/>
                <a:gdLst/>
                <a:ahLst/>
                <a:cxnLst/>
                <a:rect l="l" t="t" r="r" b="b"/>
                <a:pathLst>
                  <a:path w="15534" h="10807" extrusionOk="0">
                    <a:moveTo>
                      <a:pt x="1855" y="1"/>
                    </a:moveTo>
                    <a:cubicBezTo>
                      <a:pt x="1234" y="1"/>
                      <a:pt x="602" y="57"/>
                      <a:pt x="0" y="200"/>
                    </a:cubicBezTo>
                    <a:cubicBezTo>
                      <a:pt x="0" y="200"/>
                      <a:pt x="553" y="2022"/>
                      <a:pt x="2569" y="3874"/>
                    </a:cubicBezTo>
                    <a:lnTo>
                      <a:pt x="1778" y="3874"/>
                    </a:lnTo>
                    <a:cubicBezTo>
                      <a:pt x="1778" y="3874"/>
                      <a:pt x="3898" y="6787"/>
                      <a:pt x="5855" y="8071"/>
                    </a:cubicBezTo>
                    <a:lnTo>
                      <a:pt x="4959" y="7952"/>
                    </a:lnTo>
                    <a:lnTo>
                      <a:pt x="4959" y="7952"/>
                    </a:lnTo>
                    <a:cubicBezTo>
                      <a:pt x="4959" y="7952"/>
                      <a:pt x="7764" y="10807"/>
                      <a:pt x="12135" y="10807"/>
                    </a:cubicBezTo>
                    <a:cubicBezTo>
                      <a:pt x="13101" y="10807"/>
                      <a:pt x="14144" y="10667"/>
                      <a:pt x="15250" y="10326"/>
                    </a:cubicBezTo>
                    <a:cubicBezTo>
                      <a:pt x="15250" y="10326"/>
                      <a:pt x="15533" y="7593"/>
                      <a:pt x="12935" y="3575"/>
                    </a:cubicBezTo>
                    <a:lnTo>
                      <a:pt x="12785" y="4083"/>
                    </a:lnTo>
                    <a:cubicBezTo>
                      <a:pt x="12785" y="4083"/>
                      <a:pt x="9529" y="1096"/>
                      <a:pt x="6004" y="36"/>
                    </a:cubicBezTo>
                    <a:lnTo>
                      <a:pt x="6004" y="36"/>
                    </a:lnTo>
                    <a:lnTo>
                      <a:pt x="6169" y="723"/>
                    </a:lnTo>
                    <a:cubicBezTo>
                      <a:pt x="6169" y="723"/>
                      <a:pt x="4085" y="1"/>
                      <a:pt x="18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1" name="Google Shape;541;p8"/>
              <p:cNvSpPr/>
              <p:nvPr/>
            </p:nvSpPr>
            <p:spPr>
              <a:xfrm>
                <a:off x="3688281" y="2611322"/>
                <a:ext cx="602544" cy="1611456"/>
              </a:xfrm>
              <a:custGeom>
                <a:avLst/>
                <a:gdLst/>
                <a:ahLst/>
                <a:cxnLst/>
                <a:rect l="l" t="t" r="r" b="b"/>
                <a:pathLst>
                  <a:path w="19089" h="51052" extrusionOk="0">
                    <a:moveTo>
                      <a:pt x="120" y="1"/>
                    </a:moveTo>
                    <a:lnTo>
                      <a:pt x="0" y="76"/>
                    </a:lnTo>
                    <a:cubicBezTo>
                      <a:pt x="717" y="972"/>
                      <a:pt x="1375" y="1913"/>
                      <a:pt x="2017" y="2854"/>
                    </a:cubicBezTo>
                    <a:cubicBezTo>
                      <a:pt x="2674" y="3795"/>
                      <a:pt x="3286" y="4780"/>
                      <a:pt x="3869" y="5751"/>
                    </a:cubicBezTo>
                    <a:cubicBezTo>
                      <a:pt x="5064" y="7693"/>
                      <a:pt x="6184" y="9694"/>
                      <a:pt x="7229" y="11740"/>
                    </a:cubicBezTo>
                    <a:cubicBezTo>
                      <a:pt x="9291" y="15818"/>
                      <a:pt x="11098" y="20045"/>
                      <a:pt x="12636" y="24361"/>
                    </a:cubicBezTo>
                    <a:cubicBezTo>
                      <a:pt x="12830" y="24884"/>
                      <a:pt x="13010" y="25437"/>
                      <a:pt x="13204" y="25974"/>
                    </a:cubicBezTo>
                    <a:cubicBezTo>
                      <a:pt x="13398" y="26527"/>
                      <a:pt x="13592" y="27065"/>
                      <a:pt x="13756" y="27602"/>
                    </a:cubicBezTo>
                    <a:lnTo>
                      <a:pt x="14279" y="29245"/>
                    </a:lnTo>
                    <a:lnTo>
                      <a:pt x="14772" y="30888"/>
                    </a:lnTo>
                    <a:lnTo>
                      <a:pt x="15011" y="31710"/>
                    </a:lnTo>
                    <a:lnTo>
                      <a:pt x="15250" y="32531"/>
                    </a:lnTo>
                    <a:lnTo>
                      <a:pt x="15698" y="34189"/>
                    </a:lnTo>
                    <a:lnTo>
                      <a:pt x="16116" y="35847"/>
                    </a:lnTo>
                    <a:lnTo>
                      <a:pt x="16325" y="36683"/>
                    </a:lnTo>
                    <a:lnTo>
                      <a:pt x="16505" y="37520"/>
                    </a:lnTo>
                    <a:cubicBezTo>
                      <a:pt x="17535" y="41986"/>
                      <a:pt x="18342" y="46511"/>
                      <a:pt x="18879" y="51052"/>
                    </a:cubicBezTo>
                    <a:lnTo>
                      <a:pt x="19088" y="51022"/>
                    </a:lnTo>
                    <a:cubicBezTo>
                      <a:pt x="18536" y="46466"/>
                      <a:pt x="17729" y="41941"/>
                      <a:pt x="16684" y="37490"/>
                    </a:cubicBezTo>
                    <a:lnTo>
                      <a:pt x="16505" y="36653"/>
                    </a:lnTo>
                    <a:lnTo>
                      <a:pt x="16295" y="35817"/>
                    </a:lnTo>
                    <a:lnTo>
                      <a:pt x="15862" y="34144"/>
                    </a:lnTo>
                    <a:lnTo>
                      <a:pt x="15414" y="32471"/>
                    </a:lnTo>
                    <a:lnTo>
                      <a:pt x="15175" y="31650"/>
                    </a:lnTo>
                    <a:lnTo>
                      <a:pt x="14936" y="30828"/>
                    </a:lnTo>
                    <a:lnTo>
                      <a:pt x="14443" y="29186"/>
                    </a:lnTo>
                    <a:lnTo>
                      <a:pt x="13921" y="27558"/>
                    </a:lnTo>
                    <a:cubicBezTo>
                      <a:pt x="13741" y="27005"/>
                      <a:pt x="13562" y="26452"/>
                      <a:pt x="13368" y="25915"/>
                    </a:cubicBezTo>
                    <a:cubicBezTo>
                      <a:pt x="13189" y="25377"/>
                      <a:pt x="13010" y="24839"/>
                      <a:pt x="12800" y="24302"/>
                    </a:cubicBezTo>
                    <a:cubicBezTo>
                      <a:pt x="11247" y="19985"/>
                      <a:pt x="9425" y="15758"/>
                      <a:pt x="7349" y="11681"/>
                    </a:cubicBezTo>
                    <a:cubicBezTo>
                      <a:pt x="6303" y="9649"/>
                      <a:pt x="5183" y="7648"/>
                      <a:pt x="3988" y="5676"/>
                    </a:cubicBezTo>
                    <a:cubicBezTo>
                      <a:pt x="3391" y="4706"/>
                      <a:pt x="2779" y="3735"/>
                      <a:pt x="2136" y="2779"/>
                    </a:cubicBezTo>
                    <a:cubicBezTo>
                      <a:pt x="1494" y="1838"/>
                      <a:pt x="822" y="897"/>
                      <a:pt x="120" y="1"/>
                    </a:cubicBez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2" name="Google Shape;542;p8"/>
              <p:cNvSpPr/>
              <p:nvPr/>
            </p:nvSpPr>
            <p:spPr>
              <a:xfrm>
                <a:off x="3347884" y="3087985"/>
                <a:ext cx="723722" cy="239515"/>
              </a:xfrm>
              <a:custGeom>
                <a:avLst/>
                <a:gdLst/>
                <a:ahLst/>
                <a:cxnLst/>
                <a:rect l="l" t="t" r="r" b="b"/>
                <a:pathLst>
                  <a:path w="22928" h="7588" fill="none" extrusionOk="0">
                    <a:moveTo>
                      <a:pt x="22927" y="7587"/>
                    </a:moveTo>
                    <a:cubicBezTo>
                      <a:pt x="22927" y="7587"/>
                      <a:pt x="11785" y="0"/>
                      <a:pt x="1" y="227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543;p8"/>
              <p:cNvSpPr/>
              <p:nvPr/>
            </p:nvSpPr>
            <p:spPr>
              <a:xfrm>
                <a:off x="4023470" y="2831962"/>
                <a:ext cx="318270" cy="431430"/>
              </a:xfrm>
              <a:custGeom>
                <a:avLst/>
                <a:gdLst/>
                <a:ahLst/>
                <a:cxnLst/>
                <a:rect l="l" t="t" r="r" b="b"/>
                <a:pathLst>
                  <a:path w="10083" h="13668" extrusionOk="0">
                    <a:moveTo>
                      <a:pt x="9933" y="3376"/>
                    </a:moveTo>
                    <a:cubicBezTo>
                      <a:pt x="9933" y="3376"/>
                      <a:pt x="9933" y="3376"/>
                      <a:pt x="9933" y="3376"/>
                    </a:cubicBezTo>
                    <a:lnTo>
                      <a:pt x="9933" y="3376"/>
                    </a:lnTo>
                    <a:lnTo>
                      <a:pt x="9933" y="3376"/>
                    </a:lnTo>
                    <a:close/>
                    <a:moveTo>
                      <a:pt x="9739" y="1"/>
                    </a:moveTo>
                    <a:lnTo>
                      <a:pt x="9739" y="1"/>
                    </a:lnTo>
                    <a:cubicBezTo>
                      <a:pt x="6976" y="270"/>
                      <a:pt x="4526" y="1987"/>
                      <a:pt x="4526" y="1987"/>
                    </a:cubicBezTo>
                    <a:lnTo>
                      <a:pt x="4467" y="1300"/>
                    </a:lnTo>
                    <a:cubicBezTo>
                      <a:pt x="2420" y="3048"/>
                      <a:pt x="1450" y="5751"/>
                      <a:pt x="1450" y="5751"/>
                    </a:cubicBezTo>
                    <a:lnTo>
                      <a:pt x="1151" y="5333"/>
                    </a:lnTo>
                    <a:lnTo>
                      <a:pt x="1151" y="5333"/>
                    </a:lnTo>
                    <a:cubicBezTo>
                      <a:pt x="1" y="9859"/>
                      <a:pt x="2764" y="13667"/>
                      <a:pt x="2764" y="13667"/>
                    </a:cubicBezTo>
                    <a:cubicBezTo>
                      <a:pt x="6811" y="12174"/>
                      <a:pt x="8798" y="7858"/>
                      <a:pt x="8798" y="7857"/>
                    </a:cubicBezTo>
                    <a:lnTo>
                      <a:pt x="8798" y="7857"/>
                    </a:lnTo>
                    <a:lnTo>
                      <a:pt x="8006" y="8260"/>
                    </a:lnTo>
                    <a:cubicBezTo>
                      <a:pt x="9406" y="6444"/>
                      <a:pt x="9915" y="3397"/>
                      <a:pt x="9933" y="3376"/>
                    </a:cubicBezTo>
                    <a:lnTo>
                      <a:pt x="9933" y="3376"/>
                    </a:lnTo>
                    <a:lnTo>
                      <a:pt x="9395" y="3705"/>
                    </a:lnTo>
                    <a:cubicBezTo>
                      <a:pt x="10082" y="1853"/>
                      <a:pt x="9739" y="1"/>
                      <a:pt x="973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544;p8"/>
              <p:cNvSpPr/>
              <p:nvPr/>
            </p:nvSpPr>
            <p:spPr>
              <a:xfrm>
                <a:off x="4090893" y="2884296"/>
                <a:ext cx="194756" cy="513436"/>
              </a:xfrm>
              <a:custGeom>
                <a:avLst/>
                <a:gdLst/>
                <a:ahLst/>
                <a:cxnLst/>
                <a:rect l="l" t="t" r="r" b="b"/>
                <a:pathLst>
                  <a:path w="6170" h="16266" fill="none" extrusionOk="0">
                    <a:moveTo>
                      <a:pt x="180" y="16266"/>
                    </a:moveTo>
                    <a:cubicBezTo>
                      <a:pt x="180" y="16266"/>
                      <a:pt x="1" y="6334"/>
                      <a:pt x="616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45;p8"/>
              <p:cNvSpPr/>
              <p:nvPr/>
            </p:nvSpPr>
            <p:spPr>
              <a:xfrm>
                <a:off x="3751443" y="3534914"/>
                <a:ext cx="495065" cy="419625"/>
              </a:xfrm>
              <a:custGeom>
                <a:avLst/>
                <a:gdLst/>
                <a:ahLst/>
                <a:cxnLst/>
                <a:rect l="l" t="t" r="r" b="b"/>
                <a:pathLst>
                  <a:path w="15684" h="13294" fill="none" extrusionOk="0">
                    <a:moveTo>
                      <a:pt x="1" y="0"/>
                    </a:moveTo>
                    <a:cubicBezTo>
                      <a:pt x="1" y="0"/>
                      <a:pt x="13368" y="6781"/>
                      <a:pt x="15683" y="1329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8"/>
              <p:cNvSpPr/>
              <p:nvPr/>
            </p:nvSpPr>
            <p:spPr>
              <a:xfrm>
                <a:off x="4225265" y="3427404"/>
                <a:ext cx="260727" cy="608699"/>
              </a:xfrm>
              <a:custGeom>
                <a:avLst/>
                <a:gdLst/>
                <a:ahLst/>
                <a:cxnLst/>
                <a:rect l="l" t="t" r="r" b="b"/>
                <a:pathLst>
                  <a:path w="8260" h="19284" fill="none" extrusionOk="0">
                    <a:moveTo>
                      <a:pt x="8260" y="1"/>
                    </a:moveTo>
                    <a:cubicBezTo>
                      <a:pt x="8260" y="1"/>
                      <a:pt x="0" y="12502"/>
                      <a:pt x="1180" y="1928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7" name="Google Shape;547;p8"/>
              <p:cNvSpPr/>
              <p:nvPr/>
            </p:nvSpPr>
            <p:spPr>
              <a:xfrm>
                <a:off x="3786827" y="3358119"/>
                <a:ext cx="384714" cy="273479"/>
              </a:xfrm>
              <a:custGeom>
                <a:avLst/>
                <a:gdLst/>
                <a:ahLst/>
                <a:cxnLst/>
                <a:rect l="l" t="t" r="r" b="b"/>
                <a:pathLst>
                  <a:path w="12188" h="8664" fill="none" extrusionOk="0">
                    <a:moveTo>
                      <a:pt x="12188" y="8663"/>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8" name="Google Shape;548;p8"/>
              <p:cNvSpPr/>
              <p:nvPr/>
            </p:nvSpPr>
            <p:spPr>
              <a:xfrm>
                <a:off x="3934835" y="3380751"/>
                <a:ext cx="22664" cy="98546"/>
              </a:xfrm>
              <a:custGeom>
                <a:avLst/>
                <a:gdLst/>
                <a:ahLst/>
                <a:cxnLst/>
                <a:rect l="l" t="t" r="r" b="b"/>
                <a:pathLst>
                  <a:path w="718" h="3122" fill="none" extrusionOk="0">
                    <a:moveTo>
                      <a:pt x="1" y="0"/>
                    </a:moveTo>
                    <a:lnTo>
                      <a:pt x="718" y="312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9" name="Google Shape;549;p8"/>
              <p:cNvSpPr/>
              <p:nvPr/>
            </p:nvSpPr>
            <p:spPr>
              <a:xfrm>
                <a:off x="4149824" y="3259099"/>
                <a:ext cx="148545" cy="298479"/>
              </a:xfrm>
              <a:custGeom>
                <a:avLst/>
                <a:gdLst/>
                <a:ahLst/>
                <a:cxnLst/>
                <a:rect l="l" t="t" r="r" b="b"/>
                <a:pathLst>
                  <a:path w="4706" h="9456" fill="none" extrusionOk="0">
                    <a:moveTo>
                      <a:pt x="1" y="9455"/>
                    </a:moveTo>
                    <a:cubicBezTo>
                      <a:pt x="1" y="9455"/>
                      <a:pt x="2286" y="2420"/>
                      <a:pt x="4705"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0" name="Google Shape;550;p8"/>
              <p:cNvSpPr/>
              <p:nvPr/>
            </p:nvSpPr>
            <p:spPr>
              <a:xfrm>
                <a:off x="4182841" y="3523582"/>
                <a:ext cx="68370" cy="149965"/>
              </a:xfrm>
              <a:custGeom>
                <a:avLst/>
                <a:gdLst/>
                <a:ahLst/>
                <a:cxnLst/>
                <a:rect l="l" t="t" r="r" b="b"/>
                <a:pathLst>
                  <a:path w="2166" h="4751" fill="none" extrusionOk="0">
                    <a:moveTo>
                      <a:pt x="0" y="4750"/>
                    </a:moveTo>
                    <a:lnTo>
                      <a:pt x="2166"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1" name="Google Shape;551;p8"/>
              <p:cNvSpPr/>
              <p:nvPr/>
            </p:nvSpPr>
            <p:spPr>
              <a:xfrm>
                <a:off x="4212071" y="3533494"/>
                <a:ext cx="11805" cy="50472"/>
              </a:xfrm>
              <a:custGeom>
                <a:avLst/>
                <a:gdLst/>
                <a:ahLst/>
                <a:cxnLst/>
                <a:rect l="l" t="t" r="r" b="b"/>
                <a:pathLst>
                  <a:path w="374" h="1599" fill="none" extrusionOk="0">
                    <a:moveTo>
                      <a:pt x="0" y="0"/>
                    </a:moveTo>
                    <a:lnTo>
                      <a:pt x="374"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2" name="Google Shape;552;p8"/>
              <p:cNvSpPr/>
              <p:nvPr/>
            </p:nvSpPr>
            <p:spPr>
              <a:xfrm>
                <a:off x="3668963" y="3201588"/>
                <a:ext cx="138160" cy="48137"/>
              </a:xfrm>
              <a:custGeom>
                <a:avLst/>
                <a:gdLst/>
                <a:ahLst/>
                <a:cxnLst/>
                <a:rect l="l" t="t" r="r" b="b"/>
                <a:pathLst>
                  <a:path w="4377" h="1525" fill="none" extrusionOk="0">
                    <a:moveTo>
                      <a:pt x="4376" y="1"/>
                    </a:moveTo>
                    <a:lnTo>
                      <a:pt x="0"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3" name="Google Shape;553;p8"/>
              <p:cNvSpPr/>
              <p:nvPr/>
            </p:nvSpPr>
            <p:spPr>
              <a:xfrm>
                <a:off x="4101751" y="3068636"/>
                <a:ext cx="28314" cy="98577"/>
              </a:xfrm>
              <a:custGeom>
                <a:avLst/>
                <a:gdLst/>
                <a:ahLst/>
                <a:cxnLst/>
                <a:rect l="l" t="t" r="r" b="b"/>
                <a:pathLst>
                  <a:path w="897" h="3123" fill="none" extrusionOk="0">
                    <a:moveTo>
                      <a:pt x="896" y="312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4" name="Google Shape;554;p8"/>
              <p:cNvSpPr/>
              <p:nvPr/>
            </p:nvSpPr>
            <p:spPr>
              <a:xfrm>
                <a:off x="4178580" y="3003107"/>
                <a:ext cx="91033" cy="35384"/>
              </a:xfrm>
              <a:custGeom>
                <a:avLst/>
                <a:gdLst/>
                <a:ahLst/>
                <a:cxnLst/>
                <a:rect l="l" t="t" r="r" b="b"/>
                <a:pathLst>
                  <a:path w="2884" h="1121" fill="none" extrusionOk="0">
                    <a:moveTo>
                      <a:pt x="2883" y="1"/>
                    </a:moveTo>
                    <a:lnTo>
                      <a:pt x="1" y="112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5" name="Google Shape;555;p8"/>
              <p:cNvSpPr/>
              <p:nvPr/>
            </p:nvSpPr>
            <p:spPr>
              <a:xfrm>
                <a:off x="4309638" y="3719727"/>
                <a:ext cx="96210" cy="48105"/>
              </a:xfrm>
              <a:custGeom>
                <a:avLst/>
                <a:gdLst/>
                <a:ahLst/>
                <a:cxnLst/>
                <a:rect l="l" t="t" r="r" b="b"/>
                <a:pathLst>
                  <a:path w="3048" h="1524" fill="none" extrusionOk="0">
                    <a:moveTo>
                      <a:pt x="3048" y="0"/>
                    </a:moveTo>
                    <a:lnTo>
                      <a:pt x="1"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6" name="Google Shape;556;p8"/>
              <p:cNvSpPr/>
              <p:nvPr/>
            </p:nvSpPr>
            <p:spPr>
              <a:xfrm>
                <a:off x="4368570" y="3540091"/>
                <a:ext cx="14173" cy="66034"/>
              </a:xfrm>
              <a:custGeom>
                <a:avLst/>
                <a:gdLst/>
                <a:ahLst/>
                <a:cxnLst/>
                <a:rect l="l" t="t" r="r" b="b"/>
                <a:pathLst>
                  <a:path w="449" h="2092" fill="none" extrusionOk="0">
                    <a:moveTo>
                      <a:pt x="1" y="1"/>
                    </a:moveTo>
                    <a:lnTo>
                      <a:pt x="449" y="20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557;p8"/>
              <p:cNvSpPr/>
              <p:nvPr/>
            </p:nvSpPr>
            <p:spPr>
              <a:xfrm>
                <a:off x="3969746" y="3756500"/>
                <a:ext cx="130616" cy="10385"/>
              </a:xfrm>
              <a:custGeom>
                <a:avLst/>
                <a:gdLst/>
                <a:ahLst/>
                <a:cxnLst/>
                <a:rect l="l" t="t" r="r" b="b"/>
                <a:pathLst>
                  <a:path w="4138" h="329" fill="none" extrusionOk="0">
                    <a:moveTo>
                      <a:pt x="4137" y="329"/>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8" name="Google Shape;558;p8"/>
              <p:cNvSpPr/>
              <p:nvPr/>
            </p:nvSpPr>
            <p:spPr>
              <a:xfrm>
                <a:off x="3956994" y="3585355"/>
                <a:ext cx="19854" cy="86299"/>
              </a:xfrm>
              <a:custGeom>
                <a:avLst/>
                <a:gdLst/>
                <a:ahLst/>
                <a:cxnLst/>
                <a:rect l="l" t="t" r="r" b="b"/>
                <a:pathLst>
                  <a:path w="629" h="2734" fill="none" extrusionOk="0">
                    <a:moveTo>
                      <a:pt x="1" y="0"/>
                    </a:moveTo>
                    <a:lnTo>
                      <a:pt x="628" y="273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9" name="Google Shape;559;p8"/>
              <p:cNvSpPr/>
              <p:nvPr/>
            </p:nvSpPr>
            <p:spPr>
              <a:xfrm>
                <a:off x="3783513" y="2922490"/>
                <a:ext cx="124966" cy="38225"/>
              </a:xfrm>
              <a:custGeom>
                <a:avLst/>
                <a:gdLst/>
                <a:ahLst/>
                <a:cxnLst/>
                <a:rect l="l" t="t" r="r" b="b"/>
                <a:pathLst>
                  <a:path w="3959" h="1211" fill="none" extrusionOk="0">
                    <a:moveTo>
                      <a:pt x="3958" y="1210"/>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8"/>
              <p:cNvSpPr/>
              <p:nvPr/>
            </p:nvSpPr>
            <p:spPr>
              <a:xfrm>
                <a:off x="3824042" y="2697621"/>
                <a:ext cx="32102" cy="111740"/>
              </a:xfrm>
              <a:custGeom>
                <a:avLst/>
                <a:gdLst/>
                <a:ahLst/>
                <a:cxnLst/>
                <a:rect l="l" t="t" r="r" b="b"/>
                <a:pathLst>
                  <a:path w="1017" h="3540" fill="none" extrusionOk="0">
                    <a:moveTo>
                      <a:pt x="1017" y="0"/>
                    </a:moveTo>
                    <a:lnTo>
                      <a:pt x="1" y="354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1" name="Google Shape;561;p8"/>
            <p:cNvGrpSpPr/>
            <p:nvPr/>
          </p:nvGrpSpPr>
          <p:grpSpPr>
            <a:xfrm rot="1730350">
              <a:off x="-950698" y="2611279"/>
              <a:ext cx="1821845" cy="1452611"/>
              <a:chOff x="12004800" y="5638575"/>
              <a:chExt cx="810675" cy="646375"/>
            </a:xfrm>
          </p:grpSpPr>
          <p:grpSp>
            <p:nvGrpSpPr>
              <p:cNvPr id="562" name="Google Shape;562;p8"/>
              <p:cNvGrpSpPr/>
              <p:nvPr/>
            </p:nvGrpSpPr>
            <p:grpSpPr>
              <a:xfrm>
                <a:off x="12004800" y="5638575"/>
                <a:ext cx="810675" cy="646375"/>
                <a:chOff x="12004800" y="5638575"/>
                <a:chExt cx="810675" cy="646375"/>
              </a:xfrm>
            </p:grpSpPr>
            <p:sp>
              <p:nvSpPr>
                <p:cNvPr id="563" name="Google Shape;563;p8"/>
                <p:cNvSpPr/>
                <p:nvPr/>
              </p:nvSpPr>
              <p:spPr>
                <a:xfrm>
                  <a:off x="12004800" y="5638950"/>
                  <a:ext cx="587750" cy="461350"/>
                </a:xfrm>
                <a:custGeom>
                  <a:avLst/>
                  <a:gdLst/>
                  <a:ahLst/>
                  <a:cxnLst/>
                  <a:rect l="l" t="t" r="r" b="b"/>
                  <a:pathLst>
                    <a:path w="23510" h="18454" extrusionOk="0">
                      <a:moveTo>
                        <a:pt x="23510" y="1"/>
                      </a:moveTo>
                      <a:cubicBezTo>
                        <a:pt x="23092" y="598"/>
                        <a:pt x="20702" y="3077"/>
                        <a:pt x="20702" y="3077"/>
                      </a:cubicBezTo>
                      <a:lnTo>
                        <a:pt x="20478" y="2599"/>
                      </a:lnTo>
                      <a:cubicBezTo>
                        <a:pt x="19880" y="3481"/>
                        <a:pt x="18521" y="4810"/>
                        <a:pt x="18521" y="4810"/>
                      </a:cubicBezTo>
                      <a:lnTo>
                        <a:pt x="18222" y="4332"/>
                      </a:lnTo>
                      <a:cubicBezTo>
                        <a:pt x="17595" y="4840"/>
                        <a:pt x="16565" y="6647"/>
                        <a:pt x="16565" y="6647"/>
                      </a:cubicBezTo>
                      <a:lnTo>
                        <a:pt x="16176" y="6124"/>
                      </a:lnTo>
                      <a:cubicBezTo>
                        <a:pt x="15566" y="7129"/>
                        <a:pt x="15497" y="8268"/>
                        <a:pt x="15490" y="8468"/>
                      </a:cubicBezTo>
                      <a:lnTo>
                        <a:pt x="15490" y="8468"/>
                      </a:lnTo>
                      <a:cubicBezTo>
                        <a:pt x="15519" y="7158"/>
                        <a:pt x="14578" y="5452"/>
                        <a:pt x="14578" y="5452"/>
                      </a:cubicBezTo>
                      <a:lnTo>
                        <a:pt x="14399" y="6020"/>
                      </a:lnTo>
                      <a:cubicBezTo>
                        <a:pt x="13936" y="4974"/>
                        <a:pt x="12562" y="3690"/>
                        <a:pt x="12562" y="3690"/>
                      </a:cubicBezTo>
                      <a:lnTo>
                        <a:pt x="12383" y="4123"/>
                      </a:lnTo>
                      <a:cubicBezTo>
                        <a:pt x="11979" y="3481"/>
                        <a:pt x="10560" y="1957"/>
                        <a:pt x="10560" y="1957"/>
                      </a:cubicBezTo>
                      <a:lnTo>
                        <a:pt x="10531" y="2495"/>
                      </a:lnTo>
                      <a:cubicBezTo>
                        <a:pt x="9709" y="1763"/>
                        <a:pt x="7424" y="61"/>
                        <a:pt x="7424" y="60"/>
                      </a:cubicBezTo>
                      <a:lnTo>
                        <a:pt x="7424" y="60"/>
                      </a:lnTo>
                      <a:cubicBezTo>
                        <a:pt x="7767" y="777"/>
                        <a:pt x="7917" y="3062"/>
                        <a:pt x="7917" y="3062"/>
                      </a:cubicBezTo>
                      <a:lnTo>
                        <a:pt x="7469" y="3062"/>
                      </a:lnTo>
                      <a:cubicBezTo>
                        <a:pt x="7842" y="3944"/>
                        <a:pt x="8260" y="5721"/>
                        <a:pt x="8260" y="5721"/>
                      </a:cubicBezTo>
                      <a:lnTo>
                        <a:pt x="7723" y="5661"/>
                      </a:lnTo>
                      <a:lnTo>
                        <a:pt x="7723" y="5661"/>
                      </a:lnTo>
                      <a:cubicBezTo>
                        <a:pt x="7887" y="6617"/>
                        <a:pt x="8768" y="8141"/>
                        <a:pt x="8768" y="8141"/>
                      </a:cubicBezTo>
                      <a:lnTo>
                        <a:pt x="8051" y="8141"/>
                      </a:lnTo>
                      <a:cubicBezTo>
                        <a:pt x="8678" y="9365"/>
                        <a:pt x="10112" y="10500"/>
                        <a:pt x="10112" y="10500"/>
                      </a:cubicBezTo>
                      <a:cubicBezTo>
                        <a:pt x="9052" y="9813"/>
                        <a:pt x="6752" y="9679"/>
                        <a:pt x="6752" y="9679"/>
                      </a:cubicBezTo>
                      <a:lnTo>
                        <a:pt x="6752" y="9679"/>
                      </a:lnTo>
                      <a:lnTo>
                        <a:pt x="6841" y="10187"/>
                      </a:lnTo>
                      <a:cubicBezTo>
                        <a:pt x="6162" y="10086"/>
                        <a:pt x="5549" y="10057"/>
                        <a:pt x="5067" y="10057"/>
                      </a:cubicBezTo>
                      <a:cubicBezTo>
                        <a:pt x="4404" y="10057"/>
                        <a:pt x="3989" y="10112"/>
                        <a:pt x="3989" y="10112"/>
                      </a:cubicBezTo>
                      <a:lnTo>
                        <a:pt x="4317" y="10485"/>
                      </a:lnTo>
                      <a:cubicBezTo>
                        <a:pt x="3033" y="10530"/>
                        <a:pt x="1" y="11307"/>
                        <a:pt x="1" y="11307"/>
                      </a:cubicBezTo>
                      <a:cubicBezTo>
                        <a:pt x="1793" y="12756"/>
                        <a:pt x="3839" y="13921"/>
                        <a:pt x="3839" y="13921"/>
                      </a:cubicBezTo>
                      <a:lnTo>
                        <a:pt x="3436" y="14175"/>
                      </a:lnTo>
                      <a:cubicBezTo>
                        <a:pt x="4482" y="14712"/>
                        <a:pt x="6767" y="16505"/>
                        <a:pt x="6767" y="16505"/>
                      </a:cubicBezTo>
                      <a:lnTo>
                        <a:pt x="6423" y="16788"/>
                      </a:lnTo>
                      <a:cubicBezTo>
                        <a:pt x="7648" y="17640"/>
                        <a:pt x="10277" y="17983"/>
                        <a:pt x="10277" y="17983"/>
                      </a:cubicBezTo>
                      <a:lnTo>
                        <a:pt x="10067" y="18431"/>
                      </a:lnTo>
                      <a:cubicBezTo>
                        <a:pt x="10308" y="18447"/>
                        <a:pt x="10537" y="18454"/>
                        <a:pt x="10755" y="18454"/>
                      </a:cubicBezTo>
                      <a:cubicBezTo>
                        <a:pt x="13074" y="18454"/>
                        <a:pt x="14085" y="17655"/>
                        <a:pt x="14085" y="17655"/>
                      </a:cubicBezTo>
                      <a:lnTo>
                        <a:pt x="2351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8"/>
                <p:cNvSpPr/>
                <p:nvPr/>
              </p:nvSpPr>
              <p:spPr>
                <a:xfrm>
                  <a:off x="12354300" y="5638575"/>
                  <a:ext cx="461175" cy="646375"/>
                </a:xfrm>
                <a:custGeom>
                  <a:avLst/>
                  <a:gdLst/>
                  <a:ahLst/>
                  <a:cxnLst/>
                  <a:rect l="l" t="t" r="r" b="b"/>
                  <a:pathLst>
                    <a:path w="18447" h="25855" extrusionOk="0">
                      <a:moveTo>
                        <a:pt x="9545" y="1"/>
                      </a:moveTo>
                      <a:lnTo>
                        <a:pt x="105" y="17670"/>
                      </a:lnTo>
                      <a:cubicBezTo>
                        <a:pt x="105" y="17670"/>
                        <a:pt x="1" y="19208"/>
                        <a:pt x="1688" y="21434"/>
                      </a:cubicBezTo>
                      <a:lnTo>
                        <a:pt x="1957" y="21015"/>
                      </a:lnTo>
                      <a:cubicBezTo>
                        <a:pt x="1957" y="21015"/>
                        <a:pt x="3705" y="23017"/>
                        <a:pt x="5079" y="23554"/>
                      </a:cubicBezTo>
                      <a:lnTo>
                        <a:pt x="5124" y="23106"/>
                      </a:lnTo>
                      <a:cubicBezTo>
                        <a:pt x="5124" y="23106"/>
                        <a:pt x="7872" y="24017"/>
                        <a:pt x="8917" y="24585"/>
                      </a:cubicBezTo>
                      <a:lnTo>
                        <a:pt x="8902" y="24107"/>
                      </a:lnTo>
                      <a:lnTo>
                        <a:pt x="8902" y="24107"/>
                      </a:lnTo>
                      <a:cubicBezTo>
                        <a:pt x="8903" y="24107"/>
                        <a:pt x="11023" y="25153"/>
                        <a:pt x="13219" y="25855"/>
                      </a:cubicBezTo>
                      <a:cubicBezTo>
                        <a:pt x="13219" y="25855"/>
                        <a:pt x="12173" y="22897"/>
                        <a:pt x="11501" y="21792"/>
                      </a:cubicBezTo>
                      <a:lnTo>
                        <a:pt x="11501" y="21792"/>
                      </a:lnTo>
                      <a:lnTo>
                        <a:pt x="11994" y="21852"/>
                      </a:lnTo>
                      <a:cubicBezTo>
                        <a:pt x="11994" y="21852"/>
                        <a:pt x="11441" y="20717"/>
                        <a:pt x="10351" y="19522"/>
                      </a:cubicBezTo>
                      <a:lnTo>
                        <a:pt x="10814" y="19313"/>
                      </a:lnTo>
                      <a:cubicBezTo>
                        <a:pt x="10814" y="19313"/>
                        <a:pt x="9410" y="17461"/>
                        <a:pt x="8260" y="16983"/>
                      </a:cubicBezTo>
                      <a:lnTo>
                        <a:pt x="8260" y="16983"/>
                      </a:lnTo>
                      <a:cubicBezTo>
                        <a:pt x="8261" y="16983"/>
                        <a:pt x="9641" y="17407"/>
                        <a:pt x="10902" y="17407"/>
                      </a:cubicBezTo>
                      <a:cubicBezTo>
                        <a:pt x="11060" y="17407"/>
                        <a:pt x="11216" y="17401"/>
                        <a:pt x="11367" y="17386"/>
                      </a:cubicBezTo>
                      <a:lnTo>
                        <a:pt x="10964" y="16803"/>
                      </a:lnTo>
                      <a:cubicBezTo>
                        <a:pt x="10964" y="16803"/>
                        <a:pt x="12726" y="16669"/>
                        <a:pt x="13607" y="16296"/>
                      </a:cubicBezTo>
                      <a:lnTo>
                        <a:pt x="13249" y="15892"/>
                      </a:lnTo>
                      <a:cubicBezTo>
                        <a:pt x="13249" y="15892"/>
                        <a:pt x="14966" y="15250"/>
                        <a:pt x="15922" y="15071"/>
                      </a:cubicBezTo>
                      <a:lnTo>
                        <a:pt x="15668" y="14683"/>
                      </a:lnTo>
                      <a:cubicBezTo>
                        <a:pt x="15668" y="14683"/>
                        <a:pt x="17655" y="13532"/>
                        <a:pt x="18446" y="13428"/>
                      </a:cubicBezTo>
                      <a:cubicBezTo>
                        <a:pt x="18446" y="13428"/>
                        <a:pt x="15758" y="12457"/>
                        <a:pt x="14683" y="12218"/>
                      </a:cubicBezTo>
                      <a:lnTo>
                        <a:pt x="15116" y="11875"/>
                      </a:lnTo>
                      <a:cubicBezTo>
                        <a:pt x="15116" y="11875"/>
                        <a:pt x="13335" y="11587"/>
                        <a:pt x="12471" y="11587"/>
                      </a:cubicBezTo>
                      <a:cubicBezTo>
                        <a:pt x="12412" y="11587"/>
                        <a:pt x="12357" y="11588"/>
                        <a:pt x="12308" y="11591"/>
                      </a:cubicBezTo>
                      <a:lnTo>
                        <a:pt x="12577" y="11202"/>
                      </a:lnTo>
                      <a:cubicBezTo>
                        <a:pt x="12577" y="11202"/>
                        <a:pt x="11336" y="10900"/>
                        <a:pt x="10272" y="10900"/>
                      </a:cubicBezTo>
                      <a:cubicBezTo>
                        <a:pt x="10041" y="10900"/>
                        <a:pt x="9819" y="10914"/>
                        <a:pt x="9619" y="10949"/>
                      </a:cubicBezTo>
                      <a:lnTo>
                        <a:pt x="9978" y="10471"/>
                      </a:lnTo>
                      <a:lnTo>
                        <a:pt x="9978" y="10471"/>
                      </a:lnTo>
                      <a:cubicBezTo>
                        <a:pt x="9977" y="10471"/>
                        <a:pt x="8024" y="10650"/>
                        <a:pt x="6948" y="11410"/>
                      </a:cubicBezTo>
                      <a:lnTo>
                        <a:pt x="6948" y="11410"/>
                      </a:lnTo>
                      <a:cubicBezTo>
                        <a:pt x="7006" y="11369"/>
                        <a:pt x="8007" y="10646"/>
                        <a:pt x="8529" y="9515"/>
                      </a:cubicBezTo>
                      <a:lnTo>
                        <a:pt x="7887" y="9470"/>
                      </a:lnTo>
                      <a:cubicBezTo>
                        <a:pt x="7887" y="9470"/>
                        <a:pt x="8813" y="7603"/>
                        <a:pt x="8873" y="6811"/>
                      </a:cubicBezTo>
                      <a:lnTo>
                        <a:pt x="8873" y="6811"/>
                      </a:lnTo>
                      <a:lnTo>
                        <a:pt x="8320" y="6826"/>
                      </a:lnTo>
                      <a:cubicBezTo>
                        <a:pt x="8320" y="6826"/>
                        <a:pt x="8678" y="4944"/>
                        <a:pt x="9052" y="3974"/>
                      </a:cubicBezTo>
                      <a:lnTo>
                        <a:pt x="9052" y="3974"/>
                      </a:lnTo>
                      <a:lnTo>
                        <a:pt x="8529" y="4033"/>
                      </a:lnTo>
                      <a:cubicBezTo>
                        <a:pt x="8529" y="4033"/>
                        <a:pt x="9276" y="658"/>
                        <a:pt x="954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65" name="Google Shape;565;p8"/>
              <p:cNvGrpSpPr/>
              <p:nvPr/>
            </p:nvGrpSpPr>
            <p:grpSpPr>
              <a:xfrm>
                <a:off x="12117950" y="5719225"/>
                <a:ext cx="604550" cy="543325"/>
                <a:chOff x="12117950" y="5719225"/>
                <a:chExt cx="604550" cy="543325"/>
              </a:xfrm>
            </p:grpSpPr>
            <p:sp>
              <p:nvSpPr>
                <p:cNvPr id="566" name="Google Shape;566;p8"/>
                <p:cNvSpPr/>
                <p:nvPr/>
              </p:nvSpPr>
              <p:spPr>
                <a:xfrm>
                  <a:off x="12263575" y="5772250"/>
                  <a:ext cx="258025" cy="490300"/>
                </a:xfrm>
                <a:custGeom>
                  <a:avLst/>
                  <a:gdLst/>
                  <a:ahLst/>
                  <a:cxnLst/>
                  <a:rect l="l" t="t" r="r" b="b"/>
                  <a:pathLst>
                    <a:path w="10321" h="19612" extrusionOk="0">
                      <a:moveTo>
                        <a:pt x="10276" y="1"/>
                      </a:moveTo>
                      <a:cubicBezTo>
                        <a:pt x="9410" y="1599"/>
                        <a:pt x="8558" y="3212"/>
                        <a:pt x="7677" y="4795"/>
                      </a:cubicBezTo>
                      <a:cubicBezTo>
                        <a:pt x="6453" y="7006"/>
                        <a:pt x="4287" y="10993"/>
                        <a:pt x="3062" y="13174"/>
                      </a:cubicBezTo>
                      <a:cubicBezTo>
                        <a:pt x="2091" y="14981"/>
                        <a:pt x="1016" y="16803"/>
                        <a:pt x="239" y="18715"/>
                      </a:cubicBezTo>
                      <a:cubicBezTo>
                        <a:pt x="150" y="18924"/>
                        <a:pt x="75" y="19178"/>
                        <a:pt x="0" y="19417"/>
                      </a:cubicBezTo>
                      <a:lnTo>
                        <a:pt x="1135" y="19611"/>
                      </a:lnTo>
                      <a:cubicBezTo>
                        <a:pt x="1195" y="18790"/>
                        <a:pt x="1494" y="17894"/>
                        <a:pt x="1778" y="17087"/>
                      </a:cubicBezTo>
                      <a:cubicBezTo>
                        <a:pt x="2644" y="14608"/>
                        <a:pt x="4063" y="12054"/>
                        <a:pt x="5258" y="9709"/>
                      </a:cubicBezTo>
                      <a:cubicBezTo>
                        <a:pt x="6736" y="6886"/>
                        <a:pt x="8827" y="2809"/>
                        <a:pt x="10321" y="30"/>
                      </a:cubicBezTo>
                      <a:cubicBezTo>
                        <a:pt x="10321" y="30"/>
                        <a:pt x="10276" y="16"/>
                        <a:pt x="1027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67;p8"/>
                <p:cNvSpPr/>
                <p:nvPr/>
              </p:nvSpPr>
              <p:spPr>
                <a:xfrm>
                  <a:off x="12383800" y="6029900"/>
                  <a:ext cx="217725" cy="173650"/>
                </a:xfrm>
                <a:custGeom>
                  <a:avLst/>
                  <a:gdLst/>
                  <a:ahLst/>
                  <a:cxnLst/>
                  <a:rect l="l" t="t" r="r" b="b"/>
                  <a:pathLst>
                    <a:path w="8709" h="6946" fill="none" extrusionOk="0">
                      <a:moveTo>
                        <a:pt x="1" y="0"/>
                      </a:moveTo>
                      <a:cubicBezTo>
                        <a:pt x="1" y="0"/>
                        <a:pt x="5497" y="2928"/>
                        <a:pt x="8708" y="6946"/>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8"/>
                <p:cNvSpPr/>
                <p:nvPr/>
              </p:nvSpPr>
              <p:spPr>
                <a:xfrm>
                  <a:off x="12538025" y="6137800"/>
                  <a:ext cx="6000" cy="39975"/>
                </a:xfrm>
                <a:custGeom>
                  <a:avLst/>
                  <a:gdLst/>
                  <a:ahLst/>
                  <a:cxnLst/>
                  <a:rect l="l" t="t" r="r" b="b"/>
                  <a:pathLst>
                    <a:path w="240" h="1599" fill="none" extrusionOk="0">
                      <a:moveTo>
                        <a:pt x="0" y="1"/>
                      </a:moveTo>
                      <a:lnTo>
                        <a:pt x="239"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9" name="Google Shape;569;p8"/>
                <p:cNvSpPr/>
                <p:nvPr/>
              </p:nvSpPr>
              <p:spPr>
                <a:xfrm>
                  <a:off x="12472300" y="6085525"/>
                  <a:ext cx="66100" cy="5625"/>
                </a:xfrm>
                <a:custGeom>
                  <a:avLst/>
                  <a:gdLst/>
                  <a:ahLst/>
                  <a:cxnLst/>
                  <a:rect l="l" t="t" r="r" b="b"/>
                  <a:pathLst>
                    <a:path w="2644" h="225" fill="none" extrusionOk="0">
                      <a:moveTo>
                        <a:pt x="0" y="1"/>
                      </a:moveTo>
                      <a:lnTo>
                        <a:pt x="2644" y="22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0" name="Google Shape;570;p8"/>
                <p:cNvSpPr/>
                <p:nvPr/>
              </p:nvSpPr>
              <p:spPr>
                <a:xfrm>
                  <a:off x="12400600" y="5975375"/>
                  <a:ext cx="321900" cy="22800"/>
                </a:xfrm>
                <a:custGeom>
                  <a:avLst/>
                  <a:gdLst/>
                  <a:ahLst/>
                  <a:cxnLst/>
                  <a:rect l="l" t="t" r="r" b="b"/>
                  <a:pathLst>
                    <a:path w="12876" h="912" fill="none" extrusionOk="0">
                      <a:moveTo>
                        <a:pt x="1" y="912"/>
                      </a:moveTo>
                      <a:cubicBezTo>
                        <a:pt x="1" y="912"/>
                        <a:pt x="7484" y="1"/>
                        <a:pt x="12875" y="10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571;p8"/>
                <p:cNvSpPr/>
                <p:nvPr/>
              </p:nvSpPr>
              <p:spPr>
                <a:xfrm>
                  <a:off x="12617175" y="5979500"/>
                  <a:ext cx="67975" cy="23525"/>
                </a:xfrm>
                <a:custGeom>
                  <a:avLst/>
                  <a:gdLst/>
                  <a:ahLst/>
                  <a:cxnLst/>
                  <a:rect l="l" t="t" r="r" b="b"/>
                  <a:pathLst>
                    <a:path w="2719" h="941" fill="none" extrusionOk="0">
                      <a:moveTo>
                        <a:pt x="0" y="0"/>
                      </a:moveTo>
                      <a:lnTo>
                        <a:pt x="2719" y="94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2" name="Google Shape;572;p8"/>
                <p:cNvSpPr/>
                <p:nvPr/>
              </p:nvSpPr>
              <p:spPr>
                <a:xfrm>
                  <a:off x="12525700" y="5955600"/>
                  <a:ext cx="22800" cy="30250"/>
                </a:xfrm>
                <a:custGeom>
                  <a:avLst/>
                  <a:gdLst/>
                  <a:ahLst/>
                  <a:cxnLst/>
                  <a:rect l="l" t="t" r="r" b="b"/>
                  <a:pathLst>
                    <a:path w="912" h="1210" fill="none" extrusionOk="0">
                      <a:moveTo>
                        <a:pt x="0" y="1210"/>
                      </a:moveTo>
                      <a:lnTo>
                        <a:pt x="911"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3" name="Google Shape;573;p8"/>
                <p:cNvSpPr/>
                <p:nvPr/>
              </p:nvSpPr>
              <p:spPr>
                <a:xfrm>
                  <a:off x="12117950" y="5945500"/>
                  <a:ext cx="265875" cy="84425"/>
                </a:xfrm>
                <a:custGeom>
                  <a:avLst/>
                  <a:gdLst/>
                  <a:ahLst/>
                  <a:cxnLst/>
                  <a:rect l="l" t="t" r="r" b="b"/>
                  <a:pathLst>
                    <a:path w="10635" h="3377" fill="none" extrusionOk="0">
                      <a:moveTo>
                        <a:pt x="10635" y="3376"/>
                      </a:moveTo>
                      <a:cubicBezTo>
                        <a:pt x="10635" y="3376"/>
                        <a:pt x="5138" y="434"/>
                        <a:pt x="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574;p8"/>
                <p:cNvSpPr/>
                <p:nvPr/>
              </p:nvSpPr>
              <p:spPr>
                <a:xfrm>
                  <a:off x="12171350" y="5961575"/>
                  <a:ext cx="36975" cy="17575"/>
                </a:xfrm>
                <a:custGeom>
                  <a:avLst/>
                  <a:gdLst/>
                  <a:ahLst/>
                  <a:cxnLst/>
                  <a:rect l="l" t="t" r="r" b="b"/>
                  <a:pathLst>
                    <a:path w="1479" h="703" fill="none" extrusionOk="0">
                      <a:moveTo>
                        <a:pt x="1479" y="0"/>
                      </a:moveTo>
                      <a:lnTo>
                        <a:pt x="0" y="70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75;p8"/>
                <p:cNvSpPr/>
                <p:nvPr/>
              </p:nvSpPr>
              <p:spPr>
                <a:xfrm>
                  <a:off x="12246775" y="5935050"/>
                  <a:ext cx="41475" cy="52300"/>
                </a:xfrm>
                <a:custGeom>
                  <a:avLst/>
                  <a:gdLst/>
                  <a:ahLst/>
                  <a:cxnLst/>
                  <a:rect l="l" t="t" r="r" b="b"/>
                  <a:pathLst>
                    <a:path w="1659" h="2092" fill="none" extrusionOk="0">
                      <a:moveTo>
                        <a:pt x="1658" y="209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6" name="Google Shape;576;p8"/>
                <p:cNvSpPr/>
                <p:nvPr/>
              </p:nvSpPr>
              <p:spPr>
                <a:xfrm>
                  <a:off x="12238550" y="5719225"/>
                  <a:ext cx="162075" cy="278950"/>
                </a:xfrm>
                <a:custGeom>
                  <a:avLst/>
                  <a:gdLst/>
                  <a:ahLst/>
                  <a:cxnLst/>
                  <a:rect l="l" t="t" r="r" b="b"/>
                  <a:pathLst>
                    <a:path w="6483" h="11158" fill="none" extrusionOk="0">
                      <a:moveTo>
                        <a:pt x="6483" y="11158"/>
                      </a:moveTo>
                      <a:cubicBezTo>
                        <a:pt x="6483" y="11158"/>
                        <a:pt x="3077" y="4452"/>
                        <a:pt x="1"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7" name="Google Shape;577;p8"/>
                <p:cNvSpPr/>
                <p:nvPr/>
              </p:nvSpPr>
              <p:spPr>
                <a:xfrm>
                  <a:off x="12238550" y="5764400"/>
                  <a:ext cx="57150" cy="43725"/>
                </a:xfrm>
                <a:custGeom>
                  <a:avLst/>
                  <a:gdLst/>
                  <a:ahLst/>
                  <a:cxnLst/>
                  <a:rect l="l" t="t" r="r" b="b"/>
                  <a:pathLst>
                    <a:path w="2286" h="1749" fill="none" extrusionOk="0">
                      <a:moveTo>
                        <a:pt x="2286" y="1748"/>
                      </a:moveTo>
                      <a:lnTo>
                        <a:pt x="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578;p8"/>
                <p:cNvSpPr/>
                <p:nvPr/>
              </p:nvSpPr>
              <p:spPr>
                <a:xfrm>
                  <a:off x="12341225" y="5851775"/>
                  <a:ext cx="12725" cy="35500"/>
                </a:xfrm>
                <a:custGeom>
                  <a:avLst/>
                  <a:gdLst/>
                  <a:ahLst/>
                  <a:cxnLst/>
                  <a:rect l="l" t="t" r="r" b="b"/>
                  <a:pathLst>
                    <a:path w="509" h="1420" fill="none" extrusionOk="0">
                      <a:moveTo>
                        <a:pt x="1" y="1420"/>
                      </a:moveTo>
                      <a:lnTo>
                        <a:pt x="509"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8"/>
                <p:cNvSpPr/>
                <p:nvPr/>
              </p:nvSpPr>
              <p:spPr>
                <a:xfrm>
                  <a:off x="12474525" y="5840200"/>
                  <a:ext cx="56800" cy="19825"/>
                </a:xfrm>
                <a:custGeom>
                  <a:avLst/>
                  <a:gdLst/>
                  <a:ahLst/>
                  <a:cxnLst/>
                  <a:rect l="l" t="t" r="r" b="b"/>
                  <a:pathLst>
                    <a:path w="2272" h="793" fill="none" extrusionOk="0">
                      <a:moveTo>
                        <a:pt x="1" y="793"/>
                      </a:moveTo>
                      <a:lnTo>
                        <a:pt x="227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8"/>
                <p:cNvSpPr/>
                <p:nvPr/>
              </p:nvSpPr>
              <p:spPr>
                <a:xfrm>
                  <a:off x="12483875" y="5783075"/>
                  <a:ext cx="12725" cy="35125"/>
                </a:xfrm>
                <a:custGeom>
                  <a:avLst/>
                  <a:gdLst/>
                  <a:ahLst/>
                  <a:cxnLst/>
                  <a:rect l="l" t="t" r="r" b="b"/>
                  <a:pathLst>
                    <a:path w="509" h="1405" fill="none" extrusionOk="0">
                      <a:moveTo>
                        <a:pt x="0" y="1"/>
                      </a:moveTo>
                      <a:lnTo>
                        <a:pt x="508" y="140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581" name="Google Shape;581;p8"/>
            <p:cNvGrpSpPr/>
            <p:nvPr/>
          </p:nvGrpSpPr>
          <p:grpSpPr>
            <a:xfrm rot="-2700000">
              <a:off x="508901" y="4057499"/>
              <a:ext cx="722994" cy="1369471"/>
              <a:chOff x="7176425" y="4828100"/>
              <a:chExt cx="188975" cy="357950"/>
            </a:xfrm>
          </p:grpSpPr>
          <p:sp>
            <p:nvSpPr>
              <p:cNvPr id="582" name="Google Shape;582;p8"/>
              <p:cNvSpPr/>
              <p:nvPr/>
            </p:nvSpPr>
            <p:spPr>
              <a:xfrm>
                <a:off x="7176425" y="4828100"/>
                <a:ext cx="145300" cy="259750"/>
              </a:xfrm>
              <a:custGeom>
                <a:avLst/>
                <a:gdLst/>
                <a:ahLst/>
                <a:cxnLst/>
                <a:rect l="l" t="t" r="r" b="b"/>
                <a:pathLst>
                  <a:path w="5812" h="10390" extrusionOk="0">
                    <a:moveTo>
                      <a:pt x="5477" y="1"/>
                    </a:moveTo>
                    <a:cubicBezTo>
                      <a:pt x="5465" y="1"/>
                      <a:pt x="5451" y="3"/>
                      <a:pt x="5438" y="9"/>
                    </a:cubicBezTo>
                    <a:cubicBezTo>
                      <a:pt x="4093" y="860"/>
                      <a:pt x="2854" y="2623"/>
                      <a:pt x="2854" y="2623"/>
                    </a:cubicBezTo>
                    <a:lnTo>
                      <a:pt x="2794" y="2503"/>
                    </a:lnTo>
                    <a:cubicBezTo>
                      <a:pt x="2777" y="2477"/>
                      <a:pt x="2744" y="2461"/>
                      <a:pt x="2714" y="2461"/>
                    </a:cubicBezTo>
                    <a:cubicBezTo>
                      <a:pt x="2692" y="2461"/>
                      <a:pt x="2672" y="2469"/>
                      <a:pt x="2660" y="2488"/>
                    </a:cubicBezTo>
                    <a:cubicBezTo>
                      <a:pt x="1823" y="3384"/>
                      <a:pt x="1554" y="4609"/>
                      <a:pt x="1480" y="5087"/>
                    </a:cubicBezTo>
                    <a:cubicBezTo>
                      <a:pt x="1471" y="5132"/>
                      <a:pt x="1430" y="5160"/>
                      <a:pt x="1389" y="5160"/>
                    </a:cubicBezTo>
                    <a:cubicBezTo>
                      <a:pt x="1361" y="5160"/>
                      <a:pt x="1333" y="5147"/>
                      <a:pt x="1315" y="5117"/>
                    </a:cubicBezTo>
                    <a:lnTo>
                      <a:pt x="1285" y="5072"/>
                    </a:lnTo>
                    <a:cubicBezTo>
                      <a:pt x="1266" y="5046"/>
                      <a:pt x="1238" y="5034"/>
                      <a:pt x="1211" y="5034"/>
                    </a:cubicBezTo>
                    <a:cubicBezTo>
                      <a:pt x="1176" y="5034"/>
                      <a:pt x="1145" y="5053"/>
                      <a:pt x="1136" y="5087"/>
                    </a:cubicBezTo>
                    <a:cubicBezTo>
                      <a:pt x="1" y="8477"/>
                      <a:pt x="1823" y="10135"/>
                      <a:pt x="2092" y="10359"/>
                    </a:cubicBezTo>
                    <a:cubicBezTo>
                      <a:pt x="2122" y="10389"/>
                      <a:pt x="2137" y="10389"/>
                      <a:pt x="2152" y="10389"/>
                    </a:cubicBezTo>
                    <a:cubicBezTo>
                      <a:pt x="4990" y="9732"/>
                      <a:pt x="5647" y="6461"/>
                      <a:pt x="5766" y="5684"/>
                    </a:cubicBezTo>
                    <a:cubicBezTo>
                      <a:pt x="5778" y="5626"/>
                      <a:pt x="5725" y="5585"/>
                      <a:pt x="5680" y="5585"/>
                    </a:cubicBezTo>
                    <a:cubicBezTo>
                      <a:pt x="5668" y="5585"/>
                      <a:pt x="5656" y="5588"/>
                      <a:pt x="5647" y="5595"/>
                    </a:cubicBezTo>
                    <a:lnTo>
                      <a:pt x="5557" y="5655"/>
                    </a:lnTo>
                    <a:cubicBezTo>
                      <a:pt x="5543" y="5663"/>
                      <a:pt x="5529" y="5667"/>
                      <a:pt x="5516" y="5667"/>
                    </a:cubicBezTo>
                    <a:cubicBezTo>
                      <a:pt x="5458" y="5667"/>
                      <a:pt x="5413" y="5598"/>
                      <a:pt x="5438" y="5550"/>
                    </a:cubicBezTo>
                    <a:cubicBezTo>
                      <a:pt x="5781" y="4788"/>
                      <a:pt x="5811" y="3713"/>
                      <a:pt x="5796" y="3280"/>
                    </a:cubicBezTo>
                    <a:cubicBezTo>
                      <a:pt x="5796" y="3237"/>
                      <a:pt x="5750" y="3202"/>
                      <a:pt x="5708" y="3202"/>
                    </a:cubicBezTo>
                    <a:cubicBezTo>
                      <a:pt x="5691" y="3202"/>
                      <a:pt x="5674" y="3207"/>
                      <a:pt x="5662" y="3220"/>
                    </a:cubicBezTo>
                    <a:cubicBezTo>
                      <a:pt x="5642" y="3244"/>
                      <a:pt x="5620" y="3254"/>
                      <a:pt x="5599" y="3254"/>
                    </a:cubicBezTo>
                    <a:cubicBezTo>
                      <a:pt x="5555" y="3254"/>
                      <a:pt x="5517" y="3211"/>
                      <a:pt x="5527" y="3160"/>
                    </a:cubicBezTo>
                    <a:cubicBezTo>
                      <a:pt x="5587" y="2712"/>
                      <a:pt x="5587" y="2085"/>
                      <a:pt x="5453" y="1458"/>
                    </a:cubicBezTo>
                    <a:cubicBezTo>
                      <a:pt x="5348" y="920"/>
                      <a:pt x="5467" y="397"/>
                      <a:pt x="5557" y="113"/>
                    </a:cubicBezTo>
                    <a:cubicBezTo>
                      <a:pt x="5582" y="52"/>
                      <a:pt x="5536" y="1"/>
                      <a:pt x="54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8"/>
              <p:cNvSpPr/>
              <p:nvPr/>
            </p:nvSpPr>
            <p:spPr>
              <a:xfrm>
                <a:off x="7251900" y="5049725"/>
                <a:ext cx="113500" cy="77225"/>
              </a:xfrm>
              <a:custGeom>
                <a:avLst/>
                <a:gdLst/>
                <a:ahLst/>
                <a:cxnLst/>
                <a:rect l="l" t="t" r="r" b="b"/>
                <a:pathLst>
                  <a:path w="4540" h="3089" extrusionOk="0">
                    <a:moveTo>
                      <a:pt x="3613" y="1"/>
                    </a:moveTo>
                    <a:cubicBezTo>
                      <a:pt x="2493" y="105"/>
                      <a:pt x="1672" y="837"/>
                      <a:pt x="1672" y="837"/>
                    </a:cubicBezTo>
                    <a:cubicBezTo>
                      <a:pt x="1672" y="782"/>
                      <a:pt x="1623" y="751"/>
                      <a:pt x="1573" y="751"/>
                    </a:cubicBezTo>
                    <a:cubicBezTo>
                      <a:pt x="1555" y="751"/>
                      <a:pt x="1538" y="755"/>
                      <a:pt x="1522" y="762"/>
                    </a:cubicBezTo>
                    <a:cubicBezTo>
                      <a:pt x="402" y="1450"/>
                      <a:pt x="89" y="2615"/>
                      <a:pt x="14" y="2928"/>
                    </a:cubicBezTo>
                    <a:cubicBezTo>
                      <a:pt x="1" y="2955"/>
                      <a:pt x="35" y="3005"/>
                      <a:pt x="85" y="3005"/>
                    </a:cubicBezTo>
                    <a:cubicBezTo>
                      <a:pt x="91" y="3005"/>
                      <a:pt x="97" y="3004"/>
                      <a:pt x="104" y="3003"/>
                    </a:cubicBezTo>
                    <a:cubicBezTo>
                      <a:pt x="413" y="3063"/>
                      <a:pt x="697" y="3089"/>
                      <a:pt x="957" y="3089"/>
                    </a:cubicBezTo>
                    <a:cubicBezTo>
                      <a:pt x="1915" y="3089"/>
                      <a:pt x="2534" y="2746"/>
                      <a:pt x="2792" y="2570"/>
                    </a:cubicBezTo>
                    <a:cubicBezTo>
                      <a:pt x="2852" y="2525"/>
                      <a:pt x="2837" y="2450"/>
                      <a:pt x="2762" y="2420"/>
                    </a:cubicBezTo>
                    <a:lnTo>
                      <a:pt x="2702" y="2405"/>
                    </a:lnTo>
                    <a:cubicBezTo>
                      <a:pt x="3793" y="2107"/>
                      <a:pt x="4151" y="1435"/>
                      <a:pt x="4151" y="1435"/>
                    </a:cubicBezTo>
                    <a:lnTo>
                      <a:pt x="4151" y="1435"/>
                    </a:lnTo>
                    <a:lnTo>
                      <a:pt x="3987" y="1450"/>
                    </a:lnTo>
                    <a:cubicBezTo>
                      <a:pt x="4330" y="1031"/>
                      <a:pt x="4480" y="419"/>
                      <a:pt x="4540" y="180"/>
                    </a:cubicBezTo>
                    <a:cubicBezTo>
                      <a:pt x="4540" y="120"/>
                      <a:pt x="4525" y="90"/>
                      <a:pt x="4465" y="75"/>
                    </a:cubicBezTo>
                    <a:cubicBezTo>
                      <a:pt x="4396" y="66"/>
                      <a:pt x="4324" y="63"/>
                      <a:pt x="4254" y="63"/>
                    </a:cubicBezTo>
                    <a:cubicBezTo>
                      <a:pt x="3971" y="63"/>
                      <a:pt x="3703" y="120"/>
                      <a:pt x="3703" y="120"/>
                    </a:cubicBezTo>
                    <a:lnTo>
                      <a:pt x="3703" y="105"/>
                    </a:lnTo>
                    <a:cubicBezTo>
                      <a:pt x="3718" y="60"/>
                      <a:pt x="3688" y="1"/>
                      <a:pt x="361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584;p8"/>
              <p:cNvSpPr/>
              <p:nvPr/>
            </p:nvSpPr>
            <p:spPr>
              <a:xfrm>
                <a:off x="7217875" y="4849600"/>
                <a:ext cx="84425" cy="336450"/>
              </a:xfrm>
              <a:custGeom>
                <a:avLst/>
                <a:gdLst/>
                <a:ahLst/>
                <a:cxnLst/>
                <a:rect l="l" t="t" r="r" b="b"/>
                <a:pathLst>
                  <a:path w="3377" h="13458" extrusionOk="0">
                    <a:moveTo>
                      <a:pt x="3242" y="0"/>
                    </a:moveTo>
                    <a:cubicBezTo>
                      <a:pt x="2749" y="1061"/>
                      <a:pt x="2271" y="2121"/>
                      <a:pt x="1898" y="3211"/>
                    </a:cubicBezTo>
                    <a:cubicBezTo>
                      <a:pt x="1689" y="3749"/>
                      <a:pt x="1539" y="4317"/>
                      <a:pt x="1360" y="4869"/>
                    </a:cubicBezTo>
                    <a:cubicBezTo>
                      <a:pt x="1285" y="5138"/>
                      <a:pt x="1211" y="5422"/>
                      <a:pt x="1136" y="5706"/>
                    </a:cubicBezTo>
                    <a:lnTo>
                      <a:pt x="1017" y="6124"/>
                    </a:lnTo>
                    <a:lnTo>
                      <a:pt x="927" y="6557"/>
                    </a:lnTo>
                    <a:cubicBezTo>
                      <a:pt x="852" y="6841"/>
                      <a:pt x="792" y="7110"/>
                      <a:pt x="733" y="7408"/>
                    </a:cubicBezTo>
                    <a:lnTo>
                      <a:pt x="553" y="8260"/>
                    </a:lnTo>
                    <a:lnTo>
                      <a:pt x="404" y="9111"/>
                    </a:lnTo>
                    <a:cubicBezTo>
                      <a:pt x="359" y="9410"/>
                      <a:pt x="329" y="9693"/>
                      <a:pt x="285" y="9977"/>
                    </a:cubicBezTo>
                    <a:cubicBezTo>
                      <a:pt x="135" y="11127"/>
                      <a:pt x="16" y="12292"/>
                      <a:pt x="1" y="13457"/>
                    </a:cubicBezTo>
                    <a:lnTo>
                      <a:pt x="329" y="13442"/>
                    </a:lnTo>
                    <a:cubicBezTo>
                      <a:pt x="329" y="12292"/>
                      <a:pt x="419" y="11142"/>
                      <a:pt x="553" y="10007"/>
                    </a:cubicBezTo>
                    <a:cubicBezTo>
                      <a:pt x="583" y="9738"/>
                      <a:pt x="628" y="9440"/>
                      <a:pt x="673" y="9156"/>
                    </a:cubicBezTo>
                    <a:lnTo>
                      <a:pt x="807" y="8304"/>
                    </a:lnTo>
                    <a:lnTo>
                      <a:pt x="972" y="7453"/>
                    </a:lnTo>
                    <a:cubicBezTo>
                      <a:pt x="1017" y="7169"/>
                      <a:pt x="1091" y="6900"/>
                      <a:pt x="1151" y="6602"/>
                    </a:cubicBezTo>
                    <a:lnTo>
                      <a:pt x="1241" y="6184"/>
                    </a:lnTo>
                    <a:lnTo>
                      <a:pt x="1345" y="5750"/>
                    </a:lnTo>
                    <a:cubicBezTo>
                      <a:pt x="1420" y="5482"/>
                      <a:pt x="1494" y="5198"/>
                      <a:pt x="1569" y="4914"/>
                    </a:cubicBezTo>
                    <a:cubicBezTo>
                      <a:pt x="1733" y="4376"/>
                      <a:pt x="1883" y="3809"/>
                      <a:pt x="2077" y="3271"/>
                    </a:cubicBezTo>
                    <a:cubicBezTo>
                      <a:pt x="2435" y="2181"/>
                      <a:pt x="2883" y="1105"/>
                      <a:pt x="3376" y="60"/>
                    </a:cubicBezTo>
                    <a:lnTo>
                      <a:pt x="32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585;p8"/>
              <p:cNvSpPr/>
              <p:nvPr/>
            </p:nvSpPr>
            <p:spPr>
              <a:xfrm>
                <a:off x="7223850" y="5057200"/>
                <a:ext cx="132950" cy="84050"/>
              </a:xfrm>
              <a:custGeom>
                <a:avLst/>
                <a:gdLst/>
                <a:ahLst/>
                <a:cxnLst/>
                <a:rect l="l" t="t" r="r" b="b"/>
                <a:pathLst>
                  <a:path w="5318" h="3362" fill="none" extrusionOk="0">
                    <a:moveTo>
                      <a:pt x="1" y="3361"/>
                    </a:moveTo>
                    <a:cubicBezTo>
                      <a:pt x="1" y="3361"/>
                      <a:pt x="3824" y="1121"/>
                      <a:pt x="5318"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8"/>
              <p:cNvSpPr/>
              <p:nvPr/>
            </p:nvSpPr>
            <p:spPr>
              <a:xfrm>
                <a:off x="7208550" y="4892525"/>
                <a:ext cx="99350" cy="172925"/>
              </a:xfrm>
              <a:custGeom>
                <a:avLst/>
                <a:gdLst/>
                <a:ahLst/>
                <a:cxnLst/>
                <a:rect l="l" t="t" r="r" b="b"/>
                <a:pathLst>
                  <a:path w="3974" h="6917" fill="none" extrusionOk="0">
                    <a:moveTo>
                      <a:pt x="2106" y="1"/>
                    </a:moveTo>
                    <a:lnTo>
                      <a:pt x="2599" y="852"/>
                    </a:lnTo>
                    <a:moveTo>
                      <a:pt x="1001" y="6916"/>
                    </a:moveTo>
                    <a:cubicBezTo>
                      <a:pt x="1001" y="6916"/>
                      <a:pt x="2480" y="5183"/>
                      <a:pt x="2779" y="4915"/>
                    </a:cubicBezTo>
                    <a:moveTo>
                      <a:pt x="105" y="3780"/>
                    </a:moveTo>
                    <a:lnTo>
                      <a:pt x="1210" y="5706"/>
                    </a:lnTo>
                    <a:moveTo>
                      <a:pt x="0" y="4302"/>
                    </a:moveTo>
                    <a:lnTo>
                      <a:pt x="583" y="4616"/>
                    </a:lnTo>
                    <a:moveTo>
                      <a:pt x="1121" y="2226"/>
                    </a:moveTo>
                    <a:lnTo>
                      <a:pt x="1673" y="3780"/>
                    </a:lnTo>
                    <a:moveTo>
                      <a:pt x="1434" y="4750"/>
                    </a:moveTo>
                    <a:lnTo>
                      <a:pt x="3973" y="1793"/>
                    </a:lnTo>
                    <a:moveTo>
                      <a:pt x="2988" y="2943"/>
                    </a:moveTo>
                    <a:lnTo>
                      <a:pt x="3749" y="2659"/>
                    </a:lnTo>
                    <a:moveTo>
                      <a:pt x="2301" y="1703"/>
                    </a:moveTo>
                    <a:lnTo>
                      <a:pt x="3690" y="434"/>
                    </a:lnTo>
                    <a:moveTo>
                      <a:pt x="3749" y="792"/>
                    </a:moveTo>
                    <a:lnTo>
                      <a:pt x="3227" y="85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8"/>
              <p:cNvSpPr/>
              <p:nvPr/>
            </p:nvSpPr>
            <p:spPr>
              <a:xfrm>
                <a:off x="7264925" y="5062800"/>
                <a:ext cx="84425" cy="54175"/>
              </a:xfrm>
              <a:custGeom>
                <a:avLst/>
                <a:gdLst/>
                <a:ahLst/>
                <a:cxnLst/>
                <a:rect l="l" t="t" r="r" b="b"/>
                <a:pathLst>
                  <a:path w="3377" h="2167" fill="none" extrusionOk="0">
                    <a:moveTo>
                      <a:pt x="524" y="1853"/>
                    </a:moveTo>
                    <a:lnTo>
                      <a:pt x="837" y="807"/>
                    </a:lnTo>
                    <a:moveTo>
                      <a:pt x="3302" y="508"/>
                    </a:moveTo>
                    <a:lnTo>
                      <a:pt x="3107" y="404"/>
                    </a:lnTo>
                    <a:moveTo>
                      <a:pt x="2644" y="508"/>
                    </a:moveTo>
                    <a:lnTo>
                      <a:pt x="3376" y="359"/>
                    </a:lnTo>
                    <a:moveTo>
                      <a:pt x="2585" y="30"/>
                    </a:moveTo>
                    <a:lnTo>
                      <a:pt x="2316" y="269"/>
                    </a:lnTo>
                    <a:moveTo>
                      <a:pt x="2107" y="852"/>
                    </a:moveTo>
                    <a:lnTo>
                      <a:pt x="2391" y="1"/>
                    </a:lnTo>
                    <a:moveTo>
                      <a:pt x="2585" y="1240"/>
                    </a:moveTo>
                    <a:lnTo>
                      <a:pt x="2271" y="1419"/>
                    </a:lnTo>
                    <a:moveTo>
                      <a:pt x="1226" y="1419"/>
                    </a:moveTo>
                    <a:lnTo>
                      <a:pt x="2644" y="1419"/>
                    </a:lnTo>
                    <a:moveTo>
                      <a:pt x="1494" y="1957"/>
                    </a:moveTo>
                    <a:lnTo>
                      <a:pt x="1196" y="2106"/>
                    </a:lnTo>
                    <a:moveTo>
                      <a:pt x="1" y="2166"/>
                    </a:moveTo>
                    <a:lnTo>
                      <a:pt x="1718" y="2092"/>
                    </a:lnTo>
                    <a:moveTo>
                      <a:pt x="524" y="1046"/>
                    </a:moveTo>
                    <a:lnTo>
                      <a:pt x="673" y="133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88" name="Google Shape;588;p8"/>
            <p:cNvSpPr/>
            <p:nvPr/>
          </p:nvSpPr>
          <p:spPr>
            <a:xfrm rot="10800000">
              <a:off x="8708662" y="956203"/>
              <a:ext cx="215061" cy="165143"/>
            </a:xfrm>
            <a:custGeom>
              <a:avLst/>
              <a:gdLst/>
              <a:ahLst/>
              <a:cxnLst/>
              <a:rect l="l" t="t" r="r" b="b"/>
              <a:pathLst>
                <a:path w="5661" h="4347" fill="none" extrusionOk="0">
                  <a:moveTo>
                    <a:pt x="5661" y="4347"/>
                  </a:moveTo>
                  <a:cubicBezTo>
                    <a:pt x="5661" y="4347"/>
                    <a:pt x="1150" y="762"/>
                    <a:pt x="702" y="1"/>
                  </a:cubicBezTo>
                  <a:moveTo>
                    <a:pt x="0" y="2181"/>
                  </a:moveTo>
                  <a:lnTo>
                    <a:pt x="3017" y="218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8"/>
            <p:cNvSpPr/>
            <p:nvPr/>
          </p:nvSpPr>
          <p:spPr>
            <a:xfrm rot="-2700000" flipH="1">
              <a:off x="6802978" y="31153"/>
              <a:ext cx="345019" cy="240054"/>
            </a:xfrm>
            <a:custGeom>
              <a:avLst/>
              <a:gdLst/>
              <a:ahLst/>
              <a:cxnLst/>
              <a:rect l="l" t="t" r="r" b="b"/>
              <a:pathLst>
                <a:path w="9082" h="6319" fill="none" extrusionOk="0">
                  <a:moveTo>
                    <a:pt x="0" y="0"/>
                  </a:moveTo>
                  <a:cubicBezTo>
                    <a:pt x="0" y="0"/>
                    <a:pt x="4421" y="1867"/>
                    <a:pt x="9081" y="2121"/>
                  </a:cubicBezTo>
                  <a:moveTo>
                    <a:pt x="7438" y="4003"/>
                  </a:moveTo>
                  <a:cubicBezTo>
                    <a:pt x="7438" y="4003"/>
                    <a:pt x="6766" y="5168"/>
                    <a:pt x="6542" y="6318"/>
                  </a:cubicBezTo>
                  <a:moveTo>
                    <a:pt x="6004" y="1748"/>
                  </a:moveTo>
                  <a:cubicBezTo>
                    <a:pt x="6004" y="1748"/>
                    <a:pt x="7005" y="2569"/>
                    <a:pt x="7856" y="5049"/>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590"/>
        <p:cNvGrpSpPr/>
        <p:nvPr/>
      </p:nvGrpSpPr>
      <p:grpSpPr>
        <a:xfrm>
          <a:off x="0" y="0"/>
          <a:ext cx="0" cy="0"/>
          <a:chOff x="0" y="0"/>
          <a:chExt cx="0" cy="0"/>
        </a:xfrm>
      </p:grpSpPr>
      <p:sp>
        <p:nvSpPr>
          <p:cNvPr id="591" name="Google Shape;591;p9"/>
          <p:cNvSpPr txBox="1">
            <a:spLocks noGrp="1"/>
          </p:cNvSpPr>
          <p:nvPr>
            <p:ph type="title"/>
          </p:nvPr>
        </p:nvSpPr>
        <p:spPr>
          <a:xfrm>
            <a:off x="2299825" y="2677650"/>
            <a:ext cx="4544400" cy="7389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592" name="Google Shape;592;p9"/>
          <p:cNvSpPr txBox="1">
            <a:spLocks noGrp="1"/>
          </p:cNvSpPr>
          <p:nvPr>
            <p:ph type="subTitle" idx="1"/>
          </p:nvPr>
        </p:nvSpPr>
        <p:spPr>
          <a:xfrm>
            <a:off x="2299825" y="3416550"/>
            <a:ext cx="4544400" cy="10467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grpSp>
        <p:nvGrpSpPr>
          <p:cNvPr id="593" name="Google Shape;593;p9"/>
          <p:cNvGrpSpPr/>
          <p:nvPr/>
        </p:nvGrpSpPr>
        <p:grpSpPr>
          <a:xfrm>
            <a:off x="261339" y="-625520"/>
            <a:ext cx="9124991" cy="6094634"/>
            <a:chOff x="261339" y="-625520"/>
            <a:chExt cx="9124991" cy="6094634"/>
          </a:xfrm>
        </p:grpSpPr>
        <p:grpSp>
          <p:nvGrpSpPr>
            <p:cNvPr id="594" name="Google Shape;594;p9"/>
            <p:cNvGrpSpPr/>
            <p:nvPr/>
          </p:nvGrpSpPr>
          <p:grpSpPr>
            <a:xfrm>
              <a:off x="261339" y="-625520"/>
              <a:ext cx="2462027" cy="4950141"/>
              <a:chOff x="261339" y="-625520"/>
              <a:chExt cx="2462027" cy="4950141"/>
            </a:xfrm>
          </p:grpSpPr>
          <p:grpSp>
            <p:nvGrpSpPr>
              <p:cNvPr id="595" name="Google Shape;595;p9"/>
              <p:cNvGrpSpPr/>
              <p:nvPr/>
            </p:nvGrpSpPr>
            <p:grpSpPr>
              <a:xfrm rot="9220005">
                <a:off x="551465" y="-351286"/>
                <a:ext cx="1631747" cy="1689582"/>
                <a:chOff x="8299600" y="8319350"/>
                <a:chExt cx="843525" cy="854575"/>
              </a:xfrm>
            </p:grpSpPr>
            <p:sp>
              <p:nvSpPr>
                <p:cNvPr id="596" name="Google Shape;596;p9"/>
                <p:cNvSpPr/>
                <p:nvPr/>
              </p:nvSpPr>
              <p:spPr>
                <a:xfrm>
                  <a:off x="8357475" y="8368475"/>
                  <a:ext cx="729275" cy="805450"/>
                </a:xfrm>
                <a:custGeom>
                  <a:avLst/>
                  <a:gdLst/>
                  <a:ahLst/>
                  <a:cxnLst/>
                  <a:rect l="l" t="t" r="r" b="b"/>
                  <a:pathLst>
                    <a:path w="29171" h="32218" fill="none" extrusionOk="0">
                      <a:moveTo>
                        <a:pt x="12457" y="20104"/>
                      </a:moveTo>
                      <a:cubicBezTo>
                        <a:pt x="12457" y="20104"/>
                        <a:pt x="4168" y="19596"/>
                        <a:pt x="1" y="16848"/>
                      </a:cubicBezTo>
                      <a:moveTo>
                        <a:pt x="21389" y="1225"/>
                      </a:moveTo>
                      <a:cubicBezTo>
                        <a:pt x="17356" y="7648"/>
                        <a:pt x="11263" y="12711"/>
                        <a:pt x="11263" y="12711"/>
                      </a:cubicBezTo>
                      <a:cubicBezTo>
                        <a:pt x="11263" y="12711"/>
                        <a:pt x="5512" y="7797"/>
                        <a:pt x="4840" y="5109"/>
                      </a:cubicBezTo>
                      <a:moveTo>
                        <a:pt x="16550" y="32217"/>
                      </a:moveTo>
                      <a:cubicBezTo>
                        <a:pt x="16550" y="32217"/>
                        <a:pt x="10471" y="22210"/>
                        <a:pt x="10620" y="1"/>
                      </a:cubicBezTo>
                      <a:moveTo>
                        <a:pt x="16400" y="7708"/>
                      </a:moveTo>
                      <a:lnTo>
                        <a:pt x="16729" y="2868"/>
                      </a:lnTo>
                      <a:moveTo>
                        <a:pt x="3093" y="8454"/>
                      </a:moveTo>
                      <a:lnTo>
                        <a:pt x="7155" y="8678"/>
                      </a:lnTo>
                      <a:moveTo>
                        <a:pt x="29171" y="12711"/>
                      </a:moveTo>
                      <a:cubicBezTo>
                        <a:pt x="25885" y="17102"/>
                        <a:pt x="18969" y="17252"/>
                        <a:pt x="18969" y="17252"/>
                      </a:cubicBezTo>
                      <a:cubicBezTo>
                        <a:pt x="18969" y="17252"/>
                        <a:pt x="18267" y="15848"/>
                        <a:pt x="18088" y="13667"/>
                      </a:cubicBezTo>
                      <a:moveTo>
                        <a:pt x="13115" y="22897"/>
                      </a:moveTo>
                      <a:cubicBezTo>
                        <a:pt x="13115" y="22897"/>
                        <a:pt x="20777" y="16475"/>
                        <a:pt x="23047" y="11621"/>
                      </a:cubicBezTo>
                      <a:moveTo>
                        <a:pt x="3899" y="18581"/>
                      </a:moveTo>
                      <a:cubicBezTo>
                        <a:pt x="3899" y="18581"/>
                        <a:pt x="2958" y="20194"/>
                        <a:pt x="1091" y="20806"/>
                      </a:cubicBezTo>
                      <a:moveTo>
                        <a:pt x="5886" y="19104"/>
                      </a:moveTo>
                      <a:cubicBezTo>
                        <a:pt x="5886" y="19104"/>
                        <a:pt x="5945" y="17744"/>
                        <a:pt x="5378" y="16101"/>
                      </a:cubicBezTo>
                    </a:path>
                  </a:pathLst>
                </a:custGeom>
                <a:noFill/>
                <a:ln w="95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97;p9"/>
                <p:cNvSpPr/>
                <p:nvPr/>
              </p:nvSpPr>
              <p:spPr>
                <a:xfrm>
                  <a:off x="8434775" y="8445025"/>
                  <a:ext cx="79550" cy="79550"/>
                </a:xfrm>
                <a:custGeom>
                  <a:avLst/>
                  <a:gdLst/>
                  <a:ahLst/>
                  <a:cxnLst/>
                  <a:rect l="l" t="t" r="r" b="b"/>
                  <a:pathLst>
                    <a:path w="3182" h="3182" extrusionOk="0">
                      <a:moveTo>
                        <a:pt x="1584" y="0"/>
                      </a:moveTo>
                      <a:cubicBezTo>
                        <a:pt x="718" y="0"/>
                        <a:pt x="1" y="702"/>
                        <a:pt x="1" y="1584"/>
                      </a:cubicBezTo>
                      <a:cubicBezTo>
                        <a:pt x="1" y="2465"/>
                        <a:pt x="718" y="3182"/>
                        <a:pt x="1584" y="3182"/>
                      </a:cubicBezTo>
                      <a:cubicBezTo>
                        <a:pt x="2465" y="3182"/>
                        <a:pt x="3182" y="2465"/>
                        <a:pt x="3182" y="1584"/>
                      </a:cubicBezTo>
                      <a:cubicBezTo>
                        <a:pt x="3182" y="702"/>
                        <a:pt x="2465" y="0"/>
                        <a:pt x="158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98;p9"/>
                <p:cNvSpPr/>
                <p:nvPr/>
              </p:nvSpPr>
              <p:spPr>
                <a:xfrm>
                  <a:off x="8467825" y="8454450"/>
                  <a:ext cx="49500" cy="56075"/>
                </a:xfrm>
                <a:custGeom>
                  <a:avLst/>
                  <a:gdLst/>
                  <a:ahLst/>
                  <a:cxnLst/>
                  <a:rect l="l" t="t" r="r" b="b"/>
                  <a:pathLst>
                    <a:path w="1980" h="2243" extrusionOk="0">
                      <a:moveTo>
                        <a:pt x="804" y="1"/>
                      </a:moveTo>
                      <a:cubicBezTo>
                        <a:pt x="590" y="1"/>
                        <a:pt x="426" y="146"/>
                        <a:pt x="426" y="146"/>
                      </a:cubicBezTo>
                      <a:cubicBezTo>
                        <a:pt x="0" y="622"/>
                        <a:pt x="467" y="2243"/>
                        <a:pt x="1008" y="2243"/>
                      </a:cubicBezTo>
                      <a:cubicBezTo>
                        <a:pt x="1112" y="2243"/>
                        <a:pt x="1219" y="2183"/>
                        <a:pt x="1322" y="2043"/>
                      </a:cubicBezTo>
                      <a:cubicBezTo>
                        <a:pt x="1979" y="1192"/>
                        <a:pt x="1292" y="191"/>
                        <a:pt x="994" y="42"/>
                      </a:cubicBezTo>
                      <a:cubicBezTo>
                        <a:pt x="928" y="12"/>
                        <a:pt x="864" y="1"/>
                        <a:pt x="8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99;p9"/>
                <p:cNvSpPr/>
                <p:nvPr/>
              </p:nvSpPr>
              <p:spPr>
                <a:xfrm>
                  <a:off x="8459050" y="8473400"/>
                  <a:ext cx="19450" cy="20575"/>
                </a:xfrm>
                <a:custGeom>
                  <a:avLst/>
                  <a:gdLst/>
                  <a:ahLst/>
                  <a:cxnLst/>
                  <a:rect l="l" t="t" r="r" b="b"/>
                  <a:pathLst>
                    <a:path w="778" h="823" extrusionOk="0">
                      <a:moveTo>
                        <a:pt x="389" y="1"/>
                      </a:moveTo>
                      <a:cubicBezTo>
                        <a:pt x="165" y="1"/>
                        <a:pt x="0" y="180"/>
                        <a:pt x="0" y="404"/>
                      </a:cubicBezTo>
                      <a:cubicBezTo>
                        <a:pt x="0" y="643"/>
                        <a:pt x="165" y="822"/>
                        <a:pt x="389" y="822"/>
                      </a:cubicBezTo>
                      <a:cubicBezTo>
                        <a:pt x="598" y="822"/>
                        <a:pt x="777" y="643"/>
                        <a:pt x="777" y="404"/>
                      </a:cubicBezTo>
                      <a:cubicBezTo>
                        <a:pt x="777" y="180"/>
                        <a:pt x="598" y="1"/>
                        <a:pt x="38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600;p9"/>
                <p:cNvSpPr/>
                <p:nvPr/>
              </p:nvSpPr>
              <p:spPr>
                <a:xfrm>
                  <a:off x="8358600" y="8529550"/>
                  <a:ext cx="88150" cy="79625"/>
                </a:xfrm>
                <a:custGeom>
                  <a:avLst/>
                  <a:gdLst/>
                  <a:ahLst/>
                  <a:cxnLst/>
                  <a:rect l="l" t="t" r="r" b="b"/>
                  <a:pathLst>
                    <a:path w="3526" h="3185" extrusionOk="0">
                      <a:moveTo>
                        <a:pt x="1759" y="1"/>
                      </a:moveTo>
                      <a:cubicBezTo>
                        <a:pt x="1623" y="1"/>
                        <a:pt x="1484" y="18"/>
                        <a:pt x="1345" y="55"/>
                      </a:cubicBezTo>
                      <a:cubicBezTo>
                        <a:pt x="494" y="279"/>
                        <a:pt x="1" y="1160"/>
                        <a:pt x="225" y="2011"/>
                      </a:cubicBezTo>
                      <a:cubicBezTo>
                        <a:pt x="413" y="2714"/>
                        <a:pt x="1065" y="3184"/>
                        <a:pt x="1773" y="3184"/>
                      </a:cubicBezTo>
                      <a:cubicBezTo>
                        <a:pt x="1908" y="3184"/>
                        <a:pt x="2045" y="3167"/>
                        <a:pt x="2181" y="3131"/>
                      </a:cubicBezTo>
                      <a:cubicBezTo>
                        <a:pt x="3033" y="2893"/>
                        <a:pt x="3526" y="2026"/>
                        <a:pt x="3302" y="1175"/>
                      </a:cubicBezTo>
                      <a:cubicBezTo>
                        <a:pt x="3101" y="462"/>
                        <a:pt x="2462" y="1"/>
                        <a:pt x="175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601;p9"/>
                <p:cNvSpPr/>
                <p:nvPr/>
              </p:nvSpPr>
              <p:spPr>
                <a:xfrm>
                  <a:off x="8378775" y="8535750"/>
                  <a:ext cx="59850" cy="34750"/>
                </a:xfrm>
                <a:custGeom>
                  <a:avLst/>
                  <a:gdLst/>
                  <a:ahLst/>
                  <a:cxnLst/>
                  <a:rect l="l" t="t" r="r" b="b"/>
                  <a:pathLst>
                    <a:path w="2394" h="1390" extrusionOk="0">
                      <a:moveTo>
                        <a:pt x="892" y="1"/>
                      </a:moveTo>
                      <a:cubicBezTo>
                        <a:pt x="607" y="1"/>
                        <a:pt x="367" y="70"/>
                        <a:pt x="269" y="150"/>
                      </a:cubicBezTo>
                      <a:cubicBezTo>
                        <a:pt x="0" y="359"/>
                        <a:pt x="105" y="718"/>
                        <a:pt x="105" y="718"/>
                      </a:cubicBezTo>
                      <a:cubicBezTo>
                        <a:pt x="246" y="1109"/>
                        <a:pt x="1020" y="1389"/>
                        <a:pt x="1599" y="1389"/>
                      </a:cubicBezTo>
                      <a:cubicBezTo>
                        <a:pt x="2058" y="1389"/>
                        <a:pt x="2394" y="1213"/>
                        <a:pt x="2196" y="778"/>
                      </a:cubicBezTo>
                      <a:cubicBezTo>
                        <a:pt x="1920" y="179"/>
                        <a:pt x="1349" y="1"/>
                        <a:pt x="89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2" name="Google Shape;602;p9"/>
                <p:cNvSpPr/>
                <p:nvPr/>
              </p:nvSpPr>
              <p:spPr>
                <a:xfrm>
                  <a:off x="8387725" y="8563975"/>
                  <a:ext cx="23175" cy="19300"/>
                </a:xfrm>
                <a:custGeom>
                  <a:avLst/>
                  <a:gdLst/>
                  <a:ahLst/>
                  <a:cxnLst/>
                  <a:rect l="l" t="t" r="r" b="b"/>
                  <a:pathLst>
                    <a:path w="927" h="772" extrusionOk="0">
                      <a:moveTo>
                        <a:pt x="422" y="1"/>
                      </a:moveTo>
                      <a:cubicBezTo>
                        <a:pt x="285" y="1"/>
                        <a:pt x="161" y="71"/>
                        <a:pt x="90" y="201"/>
                      </a:cubicBezTo>
                      <a:cubicBezTo>
                        <a:pt x="1" y="380"/>
                        <a:pt x="90" y="619"/>
                        <a:pt x="285" y="724"/>
                      </a:cubicBezTo>
                      <a:cubicBezTo>
                        <a:pt x="345" y="757"/>
                        <a:pt x="411" y="772"/>
                        <a:pt x="477" y="772"/>
                      </a:cubicBezTo>
                      <a:cubicBezTo>
                        <a:pt x="621" y="772"/>
                        <a:pt x="761" y="698"/>
                        <a:pt x="822" y="575"/>
                      </a:cubicBezTo>
                      <a:cubicBezTo>
                        <a:pt x="927" y="395"/>
                        <a:pt x="837" y="156"/>
                        <a:pt x="628" y="52"/>
                      </a:cubicBezTo>
                      <a:cubicBezTo>
                        <a:pt x="559" y="18"/>
                        <a:pt x="489" y="1"/>
                        <a:pt x="42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603;p9"/>
                <p:cNvSpPr/>
                <p:nvPr/>
              </p:nvSpPr>
              <p:spPr>
                <a:xfrm>
                  <a:off x="8583400" y="8319350"/>
                  <a:ext cx="87750" cy="79600"/>
                </a:xfrm>
                <a:custGeom>
                  <a:avLst/>
                  <a:gdLst/>
                  <a:ahLst/>
                  <a:cxnLst/>
                  <a:rect l="l" t="t" r="r" b="b"/>
                  <a:pathLst>
                    <a:path w="3510" h="3184" extrusionOk="0">
                      <a:moveTo>
                        <a:pt x="1744" y="1"/>
                      </a:moveTo>
                      <a:cubicBezTo>
                        <a:pt x="1039" y="1"/>
                        <a:pt x="397" y="474"/>
                        <a:pt x="209" y="1189"/>
                      </a:cubicBezTo>
                      <a:cubicBezTo>
                        <a:pt x="0" y="2040"/>
                        <a:pt x="508" y="2907"/>
                        <a:pt x="1359" y="3131"/>
                      </a:cubicBezTo>
                      <a:cubicBezTo>
                        <a:pt x="1495" y="3166"/>
                        <a:pt x="1631" y="3184"/>
                        <a:pt x="1765" y="3184"/>
                      </a:cubicBezTo>
                      <a:cubicBezTo>
                        <a:pt x="2467" y="3184"/>
                        <a:pt x="3098" y="2711"/>
                        <a:pt x="3286" y="1995"/>
                      </a:cubicBezTo>
                      <a:cubicBezTo>
                        <a:pt x="3510" y="1144"/>
                        <a:pt x="3002" y="278"/>
                        <a:pt x="2151" y="54"/>
                      </a:cubicBezTo>
                      <a:cubicBezTo>
                        <a:pt x="2015" y="18"/>
                        <a:pt x="1878" y="1"/>
                        <a:pt x="17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4" name="Google Shape;604;p9"/>
                <p:cNvSpPr/>
                <p:nvPr/>
              </p:nvSpPr>
              <p:spPr>
                <a:xfrm>
                  <a:off x="8623400" y="8332800"/>
                  <a:ext cx="44775" cy="56550"/>
                </a:xfrm>
                <a:custGeom>
                  <a:avLst/>
                  <a:gdLst/>
                  <a:ahLst/>
                  <a:cxnLst/>
                  <a:rect l="l" t="t" r="r" b="b"/>
                  <a:pathLst>
                    <a:path w="1791" h="2262" extrusionOk="0">
                      <a:moveTo>
                        <a:pt x="827" y="1"/>
                      </a:moveTo>
                      <a:cubicBezTo>
                        <a:pt x="675" y="1"/>
                        <a:pt x="551" y="68"/>
                        <a:pt x="551" y="68"/>
                      </a:cubicBezTo>
                      <a:cubicBezTo>
                        <a:pt x="1" y="435"/>
                        <a:pt x="71" y="2261"/>
                        <a:pt x="661" y="2261"/>
                      </a:cubicBezTo>
                      <a:cubicBezTo>
                        <a:pt x="743" y="2261"/>
                        <a:pt x="836" y="2225"/>
                        <a:pt x="939" y="2145"/>
                      </a:cubicBezTo>
                      <a:cubicBezTo>
                        <a:pt x="1791" y="1472"/>
                        <a:pt x="1387" y="322"/>
                        <a:pt x="1118" y="113"/>
                      </a:cubicBezTo>
                      <a:cubicBezTo>
                        <a:pt x="1026" y="27"/>
                        <a:pt x="921" y="1"/>
                        <a:pt x="82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5" name="Google Shape;605;p9"/>
                <p:cNvSpPr/>
                <p:nvPr/>
              </p:nvSpPr>
              <p:spPr>
                <a:xfrm>
                  <a:off x="8611400" y="8346475"/>
                  <a:ext cx="20925" cy="20525"/>
                </a:xfrm>
                <a:custGeom>
                  <a:avLst/>
                  <a:gdLst/>
                  <a:ahLst/>
                  <a:cxnLst/>
                  <a:rect l="l" t="t" r="r" b="b"/>
                  <a:pathLst>
                    <a:path w="837" h="821" extrusionOk="0">
                      <a:moveTo>
                        <a:pt x="423" y="0"/>
                      </a:moveTo>
                      <a:cubicBezTo>
                        <a:pt x="251" y="0"/>
                        <a:pt x="98" y="125"/>
                        <a:pt x="60" y="313"/>
                      </a:cubicBezTo>
                      <a:cubicBezTo>
                        <a:pt x="0" y="537"/>
                        <a:pt x="105" y="761"/>
                        <a:pt x="314" y="806"/>
                      </a:cubicBezTo>
                      <a:cubicBezTo>
                        <a:pt x="348" y="816"/>
                        <a:pt x="381" y="820"/>
                        <a:pt x="414" y="820"/>
                      </a:cubicBezTo>
                      <a:cubicBezTo>
                        <a:pt x="586" y="820"/>
                        <a:pt x="739" y="695"/>
                        <a:pt x="777" y="507"/>
                      </a:cubicBezTo>
                      <a:cubicBezTo>
                        <a:pt x="837" y="283"/>
                        <a:pt x="717" y="59"/>
                        <a:pt x="523" y="14"/>
                      </a:cubicBezTo>
                      <a:cubicBezTo>
                        <a:pt x="489" y="5"/>
                        <a:pt x="456" y="0"/>
                        <a:pt x="4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6" name="Google Shape;606;p9"/>
                <p:cNvSpPr/>
                <p:nvPr/>
              </p:nvSpPr>
              <p:spPr>
                <a:xfrm>
                  <a:off x="8731625" y="8375000"/>
                  <a:ext cx="88150" cy="79550"/>
                </a:xfrm>
                <a:custGeom>
                  <a:avLst/>
                  <a:gdLst/>
                  <a:ahLst/>
                  <a:cxnLst/>
                  <a:rect l="l" t="t" r="r" b="b"/>
                  <a:pathLst>
                    <a:path w="3526" h="3182" extrusionOk="0">
                      <a:moveTo>
                        <a:pt x="1760" y="0"/>
                      </a:moveTo>
                      <a:cubicBezTo>
                        <a:pt x="1054" y="0"/>
                        <a:pt x="413" y="473"/>
                        <a:pt x="225" y="1188"/>
                      </a:cubicBezTo>
                      <a:cubicBezTo>
                        <a:pt x="1" y="2040"/>
                        <a:pt x="508" y="2906"/>
                        <a:pt x="1360" y="3130"/>
                      </a:cubicBezTo>
                      <a:cubicBezTo>
                        <a:pt x="1493" y="3165"/>
                        <a:pt x="1627" y="3182"/>
                        <a:pt x="1759" y="3182"/>
                      </a:cubicBezTo>
                      <a:cubicBezTo>
                        <a:pt x="2467" y="3182"/>
                        <a:pt x="3113" y="2698"/>
                        <a:pt x="3301" y="1980"/>
                      </a:cubicBezTo>
                      <a:cubicBezTo>
                        <a:pt x="3525" y="1129"/>
                        <a:pt x="3018" y="277"/>
                        <a:pt x="2166" y="53"/>
                      </a:cubicBezTo>
                      <a:cubicBezTo>
                        <a:pt x="2030" y="17"/>
                        <a:pt x="1894" y="0"/>
                        <a:pt x="17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7" name="Google Shape;607;p9"/>
                <p:cNvSpPr/>
                <p:nvPr/>
              </p:nvSpPr>
              <p:spPr>
                <a:xfrm>
                  <a:off x="8772025" y="8388350"/>
                  <a:ext cx="44750" cy="56275"/>
                </a:xfrm>
                <a:custGeom>
                  <a:avLst/>
                  <a:gdLst/>
                  <a:ahLst/>
                  <a:cxnLst/>
                  <a:rect l="l" t="t" r="r" b="b"/>
                  <a:pathLst>
                    <a:path w="1790" h="2251" extrusionOk="0">
                      <a:moveTo>
                        <a:pt x="838" y="0"/>
                      </a:moveTo>
                      <a:cubicBezTo>
                        <a:pt x="681" y="0"/>
                        <a:pt x="550" y="72"/>
                        <a:pt x="550" y="72"/>
                      </a:cubicBezTo>
                      <a:cubicBezTo>
                        <a:pt x="1" y="438"/>
                        <a:pt x="82" y="2250"/>
                        <a:pt x="663" y="2250"/>
                      </a:cubicBezTo>
                      <a:cubicBezTo>
                        <a:pt x="745" y="2250"/>
                        <a:pt x="837" y="2214"/>
                        <a:pt x="939" y="2133"/>
                      </a:cubicBezTo>
                      <a:cubicBezTo>
                        <a:pt x="1790" y="1461"/>
                        <a:pt x="1387" y="326"/>
                        <a:pt x="1118" y="102"/>
                      </a:cubicBezTo>
                      <a:cubicBezTo>
                        <a:pt x="1030" y="25"/>
                        <a:pt x="930" y="0"/>
                        <a:pt x="83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8" name="Google Shape;608;p9"/>
                <p:cNvSpPr/>
                <p:nvPr/>
              </p:nvSpPr>
              <p:spPr>
                <a:xfrm>
                  <a:off x="8760000" y="8401725"/>
                  <a:ext cx="20950" cy="20525"/>
                </a:xfrm>
                <a:custGeom>
                  <a:avLst/>
                  <a:gdLst/>
                  <a:ahLst/>
                  <a:cxnLst/>
                  <a:rect l="l" t="t" r="r" b="b"/>
                  <a:pathLst>
                    <a:path w="838" h="821" extrusionOk="0">
                      <a:moveTo>
                        <a:pt x="423" y="1"/>
                      </a:moveTo>
                      <a:cubicBezTo>
                        <a:pt x="251" y="1"/>
                        <a:pt x="96" y="126"/>
                        <a:pt x="46" y="314"/>
                      </a:cubicBezTo>
                      <a:cubicBezTo>
                        <a:pt x="1" y="538"/>
                        <a:pt x="105" y="747"/>
                        <a:pt x="314" y="806"/>
                      </a:cubicBezTo>
                      <a:cubicBezTo>
                        <a:pt x="348" y="816"/>
                        <a:pt x="381" y="821"/>
                        <a:pt x="414" y="821"/>
                      </a:cubicBezTo>
                      <a:cubicBezTo>
                        <a:pt x="582" y="821"/>
                        <a:pt x="727" y="696"/>
                        <a:pt x="777" y="508"/>
                      </a:cubicBezTo>
                      <a:cubicBezTo>
                        <a:pt x="837" y="284"/>
                        <a:pt x="718" y="60"/>
                        <a:pt x="523" y="15"/>
                      </a:cubicBezTo>
                      <a:cubicBezTo>
                        <a:pt x="490" y="5"/>
                        <a:pt x="456" y="1"/>
                        <a:pt x="4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9" name="Google Shape;609;p9"/>
                <p:cNvSpPr/>
                <p:nvPr/>
              </p:nvSpPr>
              <p:spPr>
                <a:xfrm>
                  <a:off x="8854475" y="8346225"/>
                  <a:ext cx="91125" cy="79650"/>
                </a:xfrm>
                <a:custGeom>
                  <a:avLst/>
                  <a:gdLst/>
                  <a:ahLst/>
                  <a:cxnLst/>
                  <a:rect l="l" t="t" r="r" b="b"/>
                  <a:pathLst>
                    <a:path w="3645" h="3186" extrusionOk="0">
                      <a:moveTo>
                        <a:pt x="1821" y="0"/>
                      </a:moveTo>
                      <a:cubicBezTo>
                        <a:pt x="1259" y="0"/>
                        <a:pt x="718" y="297"/>
                        <a:pt x="434" y="816"/>
                      </a:cubicBezTo>
                      <a:cubicBezTo>
                        <a:pt x="0" y="1593"/>
                        <a:pt x="284" y="2563"/>
                        <a:pt x="1046" y="2982"/>
                      </a:cubicBezTo>
                      <a:cubicBezTo>
                        <a:pt x="1294" y="3120"/>
                        <a:pt x="1561" y="3185"/>
                        <a:pt x="1824" y="3185"/>
                      </a:cubicBezTo>
                      <a:cubicBezTo>
                        <a:pt x="2386" y="3185"/>
                        <a:pt x="2927" y="2888"/>
                        <a:pt x="3212" y="2369"/>
                      </a:cubicBezTo>
                      <a:cubicBezTo>
                        <a:pt x="3645" y="1593"/>
                        <a:pt x="3361" y="622"/>
                        <a:pt x="2599" y="204"/>
                      </a:cubicBezTo>
                      <a:cubicBezTo>
                        <a:pt x="2352" y="65"/>
                        <a:pt x="2084" y="0"/>
                        <a:pt x="182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0" name="Google Shape;610;p9"/>
                <p:cNvSpPr/>
                <p:nvPr/>
              </p:nvSpPr>
              <p:spPr>
                <a:xfrm>
                  <a:off x="8890250" y="8364375"/>
                  <a:ext cx="47150" cy="54125"/>
                </a:xfrm>
                <a:custGeom>
                  <a:avLst/>
                  <a:gdLst/>
                  <a:ahLst/>
                  <a:cxnLst/>
                  <a:rect l="l" t="t" r="r" b="b"/>
                  <a:pathLst>
                    <a:path w="1886" h="2165" extrusionOk="0">
                      <a:moveTo>
                        <a:pt x="1172" y="1"/>
                      </a:moveTo>
                      <a:cubicBezTo>
                        <a:pt x="1091" y="1"/>
                        <a:pt x="1034" y="15"/>
                        <a:pt x="1034" y="15"/>
                      </a:cubicBezTo>
                      <a:cubicBezTo>
                        <a:pt x="381" y="247"/>
                        <a:pt x="0" y="2164"/>
                        <a:pt x="672" y="2164"/>
                      </a:cubicBezTo>
                      <a:cubicBezTo>
                        <a:pt x="738" y="2164"/>
                        <a:pt x="813" y="2146"/>
                        <a:pt x="899" y="2106"/>
                      </a:cubicBezTo>
                      <a:cubicBezTo>
                        <a:pt x="1885" y="1673"/>
                        <a:pt x="1766" y="463"/>
                        <a:pt x="1572" y="194"/>
                      </a:cubicBezTo>
                      <a:cubicBezTo>
                        <a:pt x="1464" y="33"/>
                        <a:pt x="1292" y="1"/>
                        <a:pt x="117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1" name="Google Shape;611;p9"/>
                <p:cNvSpPr/>
                <p:nvPr/>
              </p:nvSpPr>
              <p:spPr>
                <a:xfrm>
                  <a:off x="8883975" y="8372225"/>
                  <a:ext cx="22425" cy="20150"/>
                </a:xfrm>
                <a:custGeom>
                  <a:avLst/>
                  <a:gdLst/>
                  <a:ahLst/>
                  <a:cxnLst/>
                  <a:rect l="l" t="t" r="r" b="b"/>
                  <a:pathLst>
                    <a:path w="897" h="806" extrusionOk="0">
                      <a:moveTo>
                        <a:pt x="477" y="1"/>
                      </a:moveTo>
                      <a:cubicBezTo>
                        <a:pt x="337" y="1"/>
                        <a:pt x="194" y="86"/>
                        <a:pt x="120" y="224"/>
                      </a:cubicBezTo>
                      <a:cubicBezTo>
                        <a:pt x="0" y="418"/>
                        <a:pt x="75" y="672"/>
                        <a:pt x="254" y="762"/>
                      </a:cubicBezTo>
                      <a:cubicBezTo>
                        <a:pt x="310" y="792"/>
                        <a:pt x="369" y="806"/>
                        <a:pt x="427" y="806"/>
                      </a:cubicBezTo>
                      <a:cubicBezTo>
                        <a:pt x="569" y="806"/>
                        <a:pt x="707" y="721"/>
                        <a:pt x="792" y="582"/>
                      </a:cubicBezTo>
                      <a:cubicBezTo>
                        <a:pt x="897" y="388"/>
                        <a:pt x="837" y="134"/>
                        <a:pt x="643" y="45"/>
                      </a:cubicBezTo>
                      <a:cubicBezTo>
                        <a:pt x="591" y="15"/>
                        <a:pt x="534" y="1"/>
                        <a:pt x="47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2" name="Google Shape;612;p9"/>
                <p:cNvSpPr/>
                <p:nvPr/>
              </p:nvSpPr>
              <p:spPr>
                <a:xfrm>
                  <a:off x="8768975" y="8643200"/>
                  <a:ext cx="81425" cy="79325"/>
                </a:xfrm>
                <a:custGeom>
                  <a:avLst/>
                  <a:gdLst/>
                  <a:ahLst/>
                  <a:cxnLst/>
                  <a:rect l="l" t="t" r="r" b="b"/>
                  <a:pathLst>
                    <a:path w="3257" h="3173" extrusionOk="0">
                      <a:moveTo>
                        <a:pt x="1611" y="1"/>
                      </a:moveTo>
                      <a:cubicBezTo>
                        <a:pt x="791" y="1"/>
                        <a:pt x="102" y="653"/>
                        <a:pt x="45" y="1498"/>
                      </a:cubicBezTo>
                      <a:cubicBezTo>
                        <a:pt x="0" y="2379"/>
                        <a:pt x="672" y="3111"/>
                        <a:pt x="1539" y="3171"/>
                      </a:cubicBezTo>
                      <a:cubicBezTo>
                        <a:pt x="1566" y="3172"/>
                        <a:pt x="1594" y="3173"/>
                        <a:pt x="1622" y="3173"/>
                      </a:cubicBezTo>
                      <a:cubicBezTo>
                        <a:pt x="2466" y="3173"/>
                        <a:pt x="3168" y="2516"/>
                        <a:pt x="3211" y="1677"/>
                      </a:cubicBezTo>
                      <a:cubicBezTo>
                        <a:pt x="3256" y="796"/>
                        <a:pt x="2584" y="34"/>
                        <a:pt x="1718" y="4"/>
                      </a:cubicBezTo>
                      <a:cubicBezTo>
                        <a:pt x="1682" y="2"/>
                        <a:pt x="1646" y="1"/>
                        <a:pt x="161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3" name="Google Shape;613;p9"/>
                <p:cNvSpPr/>
                <p:nvPr/>
              </p:nvSpPr>
              <p:spPr>
                <a:xfrm>
                  <a:off x="8803525" y="8653225"/>
                  <a:ext cx="48725" cy="56325"/>
                </a:xfrm>
                <a:custGeom>
                  <a:avLst/>
                  <a:gdLst/>
                  <a:ahLst/>
                  <a:cxnLst/>
                  <a:rect l="l" t="t" r="r" b="b"/>
                  <a:pathLst>
                    <a:path w="1949" h="2253" extrusionOk="0">
                      <a:moveTo>
                        <a:pt x="814" y="0"/>
                      </a:moveTo>
                      <a:cubicBezTo>
                        <a:pt x="615" y="0"/>
                        <a:pt x="455" y="126"/>
                        <a:pt x="455" y="126"/>
                      </a:cubicBezTo>
                      <a:cubicBezTo>
                        <a:pt x="1" y="581"/>
                        <a:pt x="379" y="2253"/>
                        <a:pt x="931" y="2253"/>
                      </a:cubicBezTo>
                      <a:cubicBezTo>
                        <a:pt x="1032" y="2253"/>
                        <a:pt x="1138" y="2197"/>
                        <a:pt x="1247" y="2068"/>
                      </a:cubicBezTo>
                      <a:cubicBezTo>
                        <a:pt x="1949" y="1261"/>
                        <a:pt x="1322" y="216"/>
                        <a:pt x="1023" y="51"/>
                      </a:cubicBezTo>
                      <a:cubicBezTo>
                        <a:pt x="952" y="14"/>
                        <a:pt x="881" y="0"/>
                        <a:pt x="81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4" name="Google Shape;614;p9"/>
                <p:cNvSpPr/>
                <p:nvPr/>
              </p:nvSpPr>
              <p:spPr>
                <a:xfrm>
                  <a:off x="8794350" y="8671275"/>
                  <a:ext cx="19450" cy="20250"/>
                </a:xfrm>
                <a:custGeom>
                  <a:avLst/>
                  <a:gdLst/>
                  <a:ahLst/>
                  <a:cxnLst/>
                  <a:rect l="l" t="t" r="r" b="b"/>
                  <a:pathLst>
                    <a:path w="778" h="810" extrusionOk="0">
                      <a:moveTo>
                        <a:pt x="380" y="1"/>
                      </a:moveTo>
                      <a:cubicBezTo>
                        <a:pt x="181" y="1"/>
                        <a:pt x="15" y="175"/>
                        <a:pt x="1" y="390"/>
                      </a:cubicBezTo>
                      <a:cubicBezTo>
                        <a:pt x="1" y="599"/>
                        <a:pt x="165" y="793"/>
                        <a:pt x="359" y="808"/>
                      </a:cubicBezTo>
                      <a:cubicBezTo>
                        <a:pt x="368" y="809"/>
                        <a:pt x="377" y="809"/>
                        <a:pt x="386" y="809"/>
                      </a:cubicBezTo>
                      <a:cubicBezTo>
                        <a:pt x="583" y="809"/>
                        <a:pt x="748" y="649"/>
                        <a:pt x="763" y="420"/>
                      </a:cubicBezTo>
                      <a:cubicBezTo>
                        <a:pt x="777" y="196"/>
                        <a:pt x="613" y="2"/>
                        <a:pt x="404" y="2"/>
                      </a:cubicBezTo>
                      <a:cubicBezTo>
                        <a:pt x="396" y="1"/>
                        <a:pt x="388" y="1"/>
                        <a:pt x="38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5" name="Google Shape;615;p9"/>
                <p:cNvSpPr/>
                <p:nvPr/>
              </p:nvSpPr>
              <p:spPr>
                <a:xfrm>
                  <a:off x="8901525" y="8593350"/>
                  <a:ext cx="84400" cy="79675"/>
                </a:xfrm>
                <a:custGeom>
                  <a:avLst/>
                  <a:gdLst/>
                  <a:ahLst/>
                  <a:cxnLst/>
                  <a:rect l="l" t="t" r="r" b="b"/>
                  <a:pathLst>
                    <a:path w="3376" h="3187" extrusionOk="0">
                      <a:moveTo>
                        <a:pt x="1678" y="1"/>
                      </a:moveTo>
                      <a:cubicBezTo>
                        <a:pt x="889" y="1"/>
                        <a:pt x="202" y="598"/>
                        <a:pt x="105" y="1401"/>
                      </a:cubicBezTo>
                      <a:cubicBezTo>
                        <a:pt x="0" y="2282"/>
                        <a:pt x="628" y="3074"/>
                        <a:pt x="1509" y="3178"/>
                      </a:cubicBezTo>
                      <a:cubicBezTo>
                        <a:pt x="1564" y="3184"/>
                        <a:pt x="1619" y="3187"/>
                        <a:pt x="1674" y="3187"/>
                      </a:cubicBezTo>
                      <a:cubicBezTo>
                        <a:pt x="2473" y="3187"/>
                        <a:pt x="3173" y="2585"/>
                        <a:pt x="3271" y="1774"/>
                      </a:cubicBezTo>
                      <a:cubicBezTo>
                        <a:pt x="3376" y="908"/>
                        <a:pt x="2749" y="116"/>
                        <a:pt x="1867" y="12"/>
                      </a:cubicBezTo>
                      <a:cubicBezTo>
                        <a:pt x="1804" y="4"/>
                        <a:pt x="1741" y="1"/>
                        <a:pt x="167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6" name="Google Shape;616;p9"/>
                <p:cNvSpPr/>
                <p:nvPr/>
              </p:nvSpPr>
              <p:spPr>
                <a:xfrm>
                  <a:off x="8937700" y="8608800"/>
                  <a:ext cx="45250" cy="55675"/>
                </a:xfrm>
                <a:custGeom>
                  <a:avLst/>
                  <a:gdLst/>
                  <a:ahLst/>
                  <a:cxnLst/>
                  <a:rect l="l" t="t" r="r" b="b"/>
                  <a:pathLst>
                    <a:path w="1810" h="2227" extrusionOk="0">
                      <a:moveTo>
                        <a:pt x="961" y="1"/>
                      </a:moveTo>
                      <a:cubicBezTo>
                        <a:pt x="840" y="1"/>
                        <a:pt x="749" y="36"/>
                        <a:pt x="749" y="36"/>
                      </a:cubicBezTo>
                      <a:cubicBezTo>
                        <a:pt x="148" y="343"/>
                        <a:pt x="1" y="2227"/>
                        <a:pt x="628" y="2227"/>
                      </a:cubicBezTo>
                      <a:cubicBezTo>
                        <a:pt x="702" y="2227"/>
                        <a:pt x="787" y="2201"/>
                        <a:pt x="883" y="2142"/>
                      </a:cubicBezTo>
                      <a:cubicBezTo>
                        <a:pt x="1809" y="1589"/>
                        <a:pt x="1555" y="395"/>
                        <a:pt x="1331" y="156"/>
                      </a:cubicBezTo>
                      <a:cubicBezTo>
                        <a:pt x="1215" y="32"/>
                        <a:pt x="1075" y="1"/>
                        <a:pt x="96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7" name="Google Shape;617;p9"/>
                <p:cNvSpPr/>
                <p:nvPr/>
              </p:nvSpPr>
              <p:spPr>
                <a:xfrm>
                  <a:off x="8927275" y="8619550"/>
                  <a:ext cx="22075" cy="20275"/>
                </a:xfrm>
                <a:custGeom>
                  <a:avLst/>
                  <a:gdLst/>
                  <a:ahLst/>
                  <a:cxnLst/>
                  <a:rect l="l" t="t" r="r" b="b"/>
                  <a:pathLst>
                    <a:path w="883" h="811" extrusionOk="0">
                      <a:moveTo>
                        <a:pt x="476" y="0"/>
                      </a:moveTo>
                      <a:cubicBezTo>
                        <a:pt x="327" y="0"/>
                        <a:pt x="172" y="100"/>
                        <a:pt x="91" y="263"/>
                      </a:cubicBezTo>
                      <a:cubicBezTo>
                        <a:pt x="1" y="458"/>
                        <a:pt x="91" y="696"/>
                        <a:pt x="285" y="786"/>
                      </a:cubicBezTo>
                      <a:cubicBezTo>
                        <a:pt x="327" y="802"/>
                        <a:pt x="372" y="810"/>
                        <a:pt x="416" y="810"/>
                      </a:cubicBezTo>
                      <a:cubicBezTo>
                        <a:pt x="575" y="810"/>
                        <a:pt x="734" y="711"/>
                        <a:pt x="793" y="547"/>
                      </a:cubicBezTo>
                      <a:cubicBezTo>
                        <a:pt x="882" y="338"/>
                        <a:pt x="778" y="114"/>
                        <a:pt x="598" y="24"/>
                      </a:cubicBezTo>
                      <a:cubicBezTo>
                        <a:pt x="559" y="8"/>
                        <a:pt x="518" y="0"/>
                        <a:pt x="47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8" name="Google Shape;618;p9"/>
                <p:cNvSpPr/>
                <p:nvPr/>
              </p:nvSpPr>
              <p:spPr>
                <a:xfrm>
                  <a:off x="9052375" y="8624425"/>
                  <a:ext cx="90750" cy="79600"/>
                </a:xfrm>
                <a:custGeom>
                  <a:avLst/>
                  <a:gdLst/>
                  <a:ahLst/>
                  <a:cxnLst/>
                  <a:rect l="l" t="t" r="r" b="b"/>
                  <a:pathLst>
                    <a:path w="3630" h="3184" extrusionOk="0">
                      <a:moveTo>
                        <a:pt x="1818" y="1"/>
                      </a:moveTo>
                      <a:cubicBezTo>
                        <a:pt x="1609" y="1"/>
                        <a:pt x="1398" y="42"/>
                        <a:pt x="1195" y="128"/>
                      </a:cubicBezTo>
                      <a:cubicBezTo>
                        <a:pt x="389" y="472"/>
                        <a:pt x="0" y="1413"/>
                        <a:pt x="344" y="2219"/>
                      </a:cubicBezTo>
                      <a:cubicBezTo>
                        <a:pt x="601" y="2822"/>
                        <a:pt x="1192" y="3183"/>
                        <a:pt x="1811" y="3183"/>
                      </a:cubicBezTo>
                      <a:cubicBezTo>
                        <a:pt x="2020" y="3183"/>
                        <a:pt x="2232" y="3142"/>
                        <a:pt x="2435" y="3056"/>
                      </a:cubicBezTo>
                      <a:cubicBezTo>
                        <a:pt x="3242" y="2712"/>
                        <a:pt x="3630" y="1786"/>
                        <a:pt x="3286" y="979"/>
                      </a:cubicBezTo>
                      <a:cubicBezTo>
                        <a:pt x="3029" y="365"/>
                        <a:pt x="2437" y="1"/>
                        <a:pt x="181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9"/>
                <p:cNvSpPr/>
                <p:nvPr/>
              </p:nvSpPr>
              <p:spPr>
                <a:xfrm>
                  <a:off x="9091600" y="8640500"/>
                  <a:ext cx="45175" cy="55625"/>
                </a:xfrm>
                <a:custGeom>
                  <a:avLst/>
                  <a:gdLst/>
                  <a:ahLst/>
                  <a:cxnLst/>
                  <a:rect l="l" t="t" r="r" b="b"/>
                  <a:pathLst>
                    <a:path w="1807" h="2225" extrusionOk="0">
                      <a:moveTo>
                        <a:pt x="982" y="0"/>
                      </a:moveTo>
                      <a:cubicBezTo>
                        <a:pt x="858" y="0"/>
                        <a:pt x="761" y="38"/>
                        <a:pt x="761" y="38"/>
                      </a:cubicBezTo>
                      <a:cubicBezTo>
                        <a:pt x="159" y="346"/>
                        <a:pt x="1" y="2225"/>
                        <a:pt x="641" y="2225"/>
                      </a:cubicBezTo>
                      <a:cubicBezTo>
                        <a:pt x="715" y="2225"/>
                        <a:pt x="800" y="2200"/>
                        <a:pt x="896" y="2144"/>
                      </a:cubicBezTo>
                      <a:cubicBezTo>
                        <a:pt x="1807" y="1591"/>
                        <a:pt x="1553" y="396"/>
                        <a:pt x="1329" y="142"/>
                      </a:cubicBezTo>
                      <a:cubicBezTo>
                        <a:pt x="1224" y="30"/>
                        <a:pt x="1092" y="0"/>
                        <a:pt x="98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0" name="Google Shape;620;p9"/>
                <p:cNvSpPr/>
                <p:nvPr/>
              </p:nvSpPr>
              <p:spPr>
                <a:xfrm>
                  <a:off x="9081125" y="8651075"/>
                  <a:ext cx="22050" cy="20250"/>
                </a:xfrm>
                <a:custGeom>
                  <a:avLst/>
                  <a:gdLst/>
                  <a:ahLst/>
                  <a:cxnLst/>
                  <a:rect l="l" t="t" r="r" b="b"/>
                  <a:pathLst>
                    <a:path w="882" h="810" extrusionOk="0">
                      <a:moveTo>
                        <a:pt x="465" y="1"/>
                      </a:moveTo>
                      <a:cubicBezTo>
                        <a:pt x="312" y="1"/>
                        <a:pt x="161" y="99"/>
                        <a:pt x="105" y="257"/>
                      </a:cubicBezTo>
                      <a:cubicBezTo>
                        <a:pt x="0" y="466"/>
                        <a:pt x="105" y="705"/>
                        <a:pt x="299" y="780"/>
                      </a:cubicBezTo>
                      <a:cubicBezTo>
                        <a:pt x="344" y="800"/>
                        <a:pt x="390" y="810"/>
                        <a:pt x="436" y="810"/>
                      </a:cubicBezTo>
                      <a:cubicBezTo>
                        <a:pt x="589" y="810"/>
                        <a:pt x="738" y="702"/>
                        <a:pt x="807" y="541"/>
                      </a:cubicBezTo>
                      <a:cubicBezTo>
                        <a:pt x="882" y="347"/>
                        <a:pt x="807" y="108"/>
                        <a:pt x="613" y="33"/>
                      </a:cubicBezTo>
                      <a:cubicBezTo>
                        <a:pt x="565" y="11"/>
                        <a:pt x="515" y="1"/>
                        <a:pt x="46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9"/>
                <p:cNvSpPr/>
                <p:nvPr/>
              </p:nvSpPr>
              <p:spPr>
                <a:xfrm>
                  <a:off x="8442625" y="8710125"/>
                  <a:ext cx="79550" cy="79575"/>
                </a:xfrm>
                <a:custGeom>
                  <a:avLst/>
                  <a:gdLst/>
                  <a:ahLst/>
                  <a:cxnLst/>
                  <a:rect l="l" t="t" r="r" b="b"/>
                  <a:pathLst>
                    <a:path w="3182" h="3183" extrusionOk="0">
                      <a:moveTo>
                        <a:pt x="1598" y="1"/>
                      </a:moveTo>
                      <a:cubicBezTo>
                        <a:pt x="717" y="1"/>
                        <a:pt x="0" y="703"/>
                        <a:pt x="0" y="1584"/>
                      </a:cubicBezTo>
                      <a:cubicBezTo>
                        <a:pt x="0" y="2465"/>
                        <a:pt x="717" y="3182"/>
                        <a:pt x="1598" y="3182"/>
                      </a:cubicBezTo>
                      <a:cubicBezTo>
                        <a:pt x="2465" y="3182"/>
                        <a:pt x="3182" y="2465"/>
                        <a:pt x="3182" y="1584"/>
                      </a:cubicBezTo>
                      <a:cubicBezTo>
                        <a:pt x="3182" y="703"/>
                        <a:pt x="2465" y="1"/>
                        <a:pt x="159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2" name="Google Shape;622;p9"/>
                <p:cNvSpPr/>
                <p:nvPr/>
              </p:nvSpPr>
              <p:spPr>
                <a:xfrm>
                  <a:off x="8473200" y="8717200"/>
                  <a:ext cx="51225" cy="54600"/>
                </a:xfrm>
                <a:custGeom>
                  <a:avLst/>
                  <a:gdLst/>
                  <a:ahLst/>
                  <a:cxnLst/>
                  <a:rect l="l" t="t" r="r" b="b"/>
                  <a:pathLst>
                    <a:path w="2049" h="2184" extrusionOk="0">
                      <a:moveTo>
                        <a:pt x="740" y="1"/>
                      </a:moveTo>
                      <a:cubicBezTo>
                        <a:pt x="487" y="1"/>
                        <a:pt x="316" y="241"/>
                        <a:pt x="316" y="241"/>
                      </a:cubicBezTo>
                      <a:cubicBezTo>
                        <a:pt x="0" y="774"/>
                        <a:pt x="719" y="2184"/>
                        <a:pt x="1248" y="2184"/>
                      </a:cubicBezTo>
                      <a:cubicBezTo>
                        <a:pt x="1371" y="2184"/>
                        <a:pt x="1483" y="2108"/>
                        <a:pt x="1570" y="1928"/>
                      </a:cubicBezTo>
                      <a:cubicBezTo>
                        <a:pt x="2048" y="943"/>
                        <a:pt x="1182" y="91"/>
                        <a:pt x="853" y="17"/>
                      </a:cubicBezTo>
                      <a:cubicBezTo>
                        <a:pt x="814" y="5"/>
                        <a:pt x="776" y="1"/>
                        <a:pt x="74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623;p9"/>
                <p:cNvSpPr/>
                <p:nvPr/>
              </p:nvSpPr>
              <p:spPr>
                <a:xfrm>
                  <a:off x="8466150" y="8739800"/>
                  <a:ext cx="20550" cy="20600"/>
                </a:xfrm>
                <a:custGeom>
                  <a:avLst/>
                  <a:gdLst/>
                  <a:ahLst/>
                  <a:cxnLst/>
                  <a:rect l="l" t="t" r="r" b="b"/>
                  <a:pathLst>
                    <a:path w="822" h="824" extrusionOk="0">
                      <a:moveTo>
                        <a:pt x="409" y="0"/>
                      </a:moveTo>
                      <a:cubicBezTo>
                        <a:pt x="383" y="0"/>
                        <a:pt x="356" y="3"/>
                        <a:pt x="329" y="9"/>
                      </a:cubicBezTo>
                      <a:cubicBezTo>
                        <a:pt x="135" y="39"/>
                        <a:pt x="0" y="263"/>
                        <a:pt x="45" y="487"/>
                      </a:cubicBezTo>
                      <a:cubicBezTo>
                        <a:pt x="84" y="684"/>
                        <a:pt x="251" y="823"/>
                        <a:pt x="423" y="823"/>
                      </a:cubicBezTo>
                      <a:cubicBezTo>
                        <a:pt x="446" y="823"/>
                        <a:pt x="470" y="821"/>
                        <a:pt x="493" y="815"/>
                      </a:cubicBezTo>
                      <a:cubicBezTo>
                        <a:pt x="702" y="771"/>
                        <a:pt x="822" y="546"/>
                        <a:pt x="792" y="337"/>
                      </a:cubicBezTo>
                      <a:cubicBezTo>
                        <a:pt x="753" y="129"/>
                        <a:pt x="589" y="0"/>
                        <a:pt x="409"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4" name="Google Shape;624;p9"/>
                <p:cNvSpPr/>
                <p:nvPr/>
              </p:nvSpPr>
              <p:spPr>
                <a:xfrm>
                  <a:off x="8299600" y="8737575"/>
                  <a:ext cx="90400" cy="79925"/>
                </a:xfrm>
                <a:custGeom>
                  <a:avLst/>
                  <a:gdLst/>
                  <a:ahLst/>
                  <a:cxnLst/>
                  <a:rect l="l" t="t" r="r" b="b"/>
                  <a:pathLst>
                    <a:path w="3616" h="3197" extrusionOk="0">
                      <a:moveTo>
                        <a:pt x="1812" y="1"/>
                      </a:moveTo>
                      <a:cubicBezTo>
                        <a:pt x="1487" y="1"/>
                        <a:pt x="1160" y="100"/>
                        <a:pt x="882" y="307"/>
                      </a:cubicBezTo>
                      <a:cubicBezTo>
                        <a:pt x="165" y="815"/>
                        <a:pt x="1" y="1815"/>
                        <a:pt x="524" y="2532"/>
                      </a:cubicBezTo>
                      <a:cubicBezTo>
                        <a:pt x="830" y="2966"/>
                        <a:pt x="1317" y="3197"/>
                        <a:pt x="1813" y="3197"/>
                      </a:cubicBezTo>
                      <a:cubicBezTo>
                        <a:pt x="2137" y="3197"/>
                        <a:pt x="2465" y="3098"/>
                        <a:pt x="2749" y="2891"/>
                      </a:cubicBezTo>
                      <a:cubicBezTo>
                        <a:pt x="3451" y="2383"/>
                        <a:pt x="3615" y="1382"/>
                        <a:pt x="3108" y="665"/>
                      </a:cubicBezTo>
                      <a:cubicBezTo>
                        <a:pt x="2801" y="232"/>
                        <a:pt x="2308" y="1"/>
                        <a:pt x="181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9"/>
                <p:cNvSpPr/>
                <p:nvPr/>
              </p:nvSpPr>
              <p:spPr>
                <a:xfrm>
                  <a:off x="8331100" y="8743225"/>
                  <a:ext cx="48025" cy="45800"/>
                </a:xfrm>
                <a:custGeom>
                  <a:avLst/>
                  <a:gdLst/>
                  <a:ahLst/>
                  <a:cxnLst/>
                  <a:rect l="l" t="t" r="r" b="b"/>
                  <a:pathLst>
                    <a:path w="1921" h="1832" extrusionOk="0">
                      <a:moveTo>
                        <a:pt x="528" y="1"/>
                      </a:moveTo>
                      <a:cubicBezTo>
                        <a:pt x="502" y="1"/>
                        <a:pt x="479" y="3"/>
                        <a:pt x="458" y="6"/>
                      </a:cubicBezTo>
                      <a:cubicBezTo>
                        <a:pt x="130" y="66"/>
                        <a:pt x="55" y="424"/>
                        <a:pt x="55" y="424"/>
                      </a:cubicBezTo>
                      <a:cubicBezTo>
                        <a:pt x="1" y="981"/>
                        <a:pt x="989" y="1831"/>
                        <a:pt x="1538" y="1831"/>
                      </a:cubicBezTo>
                      <a:cubicBezTo>
                        <a:pt x="1741" y="1831"/>
                        <a:pt x="1884" y="1715"/>
                        <a:pt x="1892" y="1425"/>
                      </a:cubicBezTo>
                      <a:cubicBezTo>
                        <a:pt x="1920" y="430"/>
                        <a:pt x="923" y="1"/>
                        <a:pt x="52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6" name="Google Shape;626;p9"/>
                <p:cNvSpPr/>
                <p:nvPr/>
              </p:nvSpPr>
              <p:spPr>
                <a:xfrm>
                  <a:off x="8328350" y="8769825"/>
                  <a:ext cx="22450" cy="19825"/>
                </a:xfrm>
                <a:custGeom>
                  <a:avLst/>
                  <a:gdLst/>
                  <a:ahLst/>
                  <a:cxnLst/>
                  <a:rect l="l" t="t" r="r" b="b"/>
                  <a:pathLst>
                    <a:path w="898" h="793" extrusionOk="0">
                      <a:moveTo>
                        <a:pt x="405" y="0"/>
                      </a:moveTo>
                      <a:cubicBezTo>
                        <a:pt x="336" y="0"/>
                        <a:pt x="268" y="20"/>
                        <a:pt x="210" y="62"/>
                      </a:cubicBezTo>
                      <a:cubicBezTo>
                        <a:pt x="46" y="182"/>
                        <a:pt x="1" y="436"/>
                        <a:pt x="135" y="615"/>
                      </a:cubicBezTo>
                      <a:cubicBezTo>
                        <a:pt x="220" y="727"/>
                        <a:pt x="351" y="793"/>
                        <a:pt x="478" y="793"/>
                      </a:cubicBezTo>
                      <a:cubicBezTo>
                        <a:pt x="553" y="793"/>
                        <a:pt x="627" y="770"/>
                        <a:pt x="688" y="720"/>
                      </a:cubicBezTo>
                      <a:cubicBezTo>
                        <a:pt x="852" y="600"/>
                        <a:pt x="897" y="346"/>
                        <a:pt x="763" y="182"/>
                      </a:cubicBezTo>
                      <a:cubicBezTo>
                        <a:pt x="666" y="66"/>
                        <a:pt x="532" y="0"/>
                        <a:pt x="40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9"/>
                <p:cNvSpPr/>
                <p:nvPr/>
              </p:nvSpPr>
              <p:spPr>
                <a:xfrm>
                  <a:off x="8313050" y="8849050"/>
                  <a:ext cx="79550" cy="79550"/>
                </a:xfrm>
                <a:custGeom>
                  <a:avLst/>
                  <a:gdLst/>
                  <a:ahLst/>
                  <a:cxnLst/>
                  <a:rect l="l" t="t" r="r" b="b"/>
                  <a:pathLst>
                    <a:path w="3182" h="3182" extrusionOk="0">
                      <a:moveTo>
                        <a:pt x="1584" y="0"/>
                      </a:moveTo>
                      <a:cubicBezTo>
                        <a:pt x="703" y="0"/>
                        <a:pt x="1" y="702"/>
                        <a:pt x="1" y="1583"/>
                      </a:cubicBezTo>
                      <a:cubicBezTo>
                        <a:pt x="1" y="2464"/>
                        <a:pt x="703" y="3181"/>
                        <a:pt x="1584" y="3181"/>
                      </a:cubicBezTo>
                      <a:cubicBezTo>
                        <a:pt x="2465" y="3181"/>
                        <a:pt x="3182" y="2464"/>
                        <a:pt x="3182" y="1583"/>
                      </a:cubicBezTo>
                      <a:cubicBezTo>
                        <a:pt x="3182" y="702"/>
                        <a:pt x="2465" y="0"/>
                        <a:pt x="158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8" name="Google Shape;628;p9"/>
                <p:cNvSpPr/>
                <p:nvPr/>
              </p:nvSpPr>
              <p:spPr>
                <a:xfrm>
                  <a:off x="8339225" y="8854175"/>
                  <a:ext cx="47750" cy="46050"/>
                </a:xfrm>
                <a:custGeom>
                  <a:avLst/>
                  <a:gdLst/>
                  <a:ahLst/>
                  <a:cxnLst/>
                  <a:rect l="l" t="t" r="r" b="b"/>
                  <a:pathLst>
                    <a:path w="1910" h="1842" extrusionOk="0">
                      <a:moveTo>
                        <a:pt x="501" y="1"/>
                      </a:moveTo>
                      <a:cubicBezTo>
                        <a:pt x="482" y="1"/>
                        <a:pt x="463" y="2"/>
                        <a:pt x="447" y="4"/>
                      </a:cubicBezTo>
                      <a:cubicBezTo>
                        <a:pt x="119" y="64"/>
                        <a:pt x="44" y="437"/>
                        <a:pt x="44" y="437"/>
                      </a:cubicBezTo>
                      <a:cubicBezTo>
                        <a:pt x="0" y="984"/>
                        <a:pt x="996" y="1842"/>
                        <a:pt x="1539" y="1842"/>
                      </a:cubicBezTo>
                      <a:cubicBezTo>
                        <a:pt x="1739" y="1842"/>
                        <a:pt x="1877" y="1727"/>
                        <a:pt x="1881" y="1438"/>
                      </a:cubicBezTo>
                      <a:cubicBezTo>
                        <a:pt x="1909" y="416"/>
                        <a:pt x="885" y="1"/>
                        <a:pt x="50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9"/>
                <p:cNvSpPr/>
                <p:nvPr/>
              </p:nvSpPr>
              <p:spPr>
                <a:xfrm>
                  <a:off x="8336200" y="8881075"/>
                  <a:ext cx="22425" cy="19950"/>
                </a:xfrm>
                <a:custGeom>
                  <a:avLst/>
                  <a:gdLst/>
                  <a:ahLst/>
                  <a:cxnLst/>
                  <a:rect l="l" t="t" r="r" b="b"/>
                  <a:pathLst>
                    <a:path w="897" h="798" extrusionOk="0">
                      <a:moveTo>
                        <a:pt x="435" y="1"/>
                      </a:moveTo>
                      <a:cubicBezTo>
                        <a:pt x="358" y="1"/>
                        <a:pt x="279" y="26"/>
                        <a:pt x="210" y="78"/>
                      </a:cubicBezTo>
                      <a:cubicBezTo>
                        <a:pt x="45" y="198"/>
                        <a:pt x="1" y="452"/>
                        <a:pt x="135" y="616"/>
                      </a:cubicBezTo>
                      <a:cubicBezTo>
                        <a:pt x="231" y="732"/>
                        <a:pt x="365" y="798"/>
                        <a:pt x="492" y="798"/>
                      </a:cubicBezTo>
                      <a:cubicBezTo>
                        <a:pt x="562" y="798"/>
                        <a:pt x="629" y="778"/>
                        <a:pt x="688" y="735"/>
                      </a:cubicBezTo>
                      <a:cubicBezTo>
                        <a:pt x="852" y="616"/>
                        <a:pt x="897" y="362"/>
                        <a:pt x="762" y="183"/>
                      </a:cubicBezTo>
                      <a:cubicBezTo>
                        <a:pt x="680" y="64"/>
                        <a:pt x="558" y="1"/>
                        <a:pt x="43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0" name="Google Shape;630;p9"/>
              <p:cNvGrpSpPr/>
              <p:nvPr/>
            </p:nvGrpSpPr>
            <p:grpSpPr>
              <a:xfrm>
                <a:off x="261339" y="258518"/>
                <a:ext cx="286312" cy="174621"/>
                <a:chOff x="7871651" y="404306"/>
                <a:chExt cx="286312" cy="174621"/>
              </a:xfrm>
            </p:grpSpPr>
            <p:sp>
              <p:nvSpPr>
                <p:cNvPr id="631" name="Google Shape;631;p9"/>
                <p:cNvSpPr/>
                <p:nvPr/>
              </p:nvSpPr>
              <p:spPr>
                <a:xfrm>
                  <a:off x="7995249" y="404306"/>
                  <a:ext cx="162715" cy="174621"/>
                </a:xfrm>
                <a:custGeom>
                  <a:avLst/>
                  <a:gdLst/>
                  <a:ahLst/>
                  <a:cxnLst/>
                  <a:rect l="l" t="t" r="r" b="b"/>
                  <a:pathLst>
                    <a:path w="1435" h="1540" extrusionOk="0">
                      <a:moveTo>
                        <a:pt x="210" y="1"/>
                      </a:moveTo>
                      <a:lnTo>
                        <a:pt x="210" y="1"/>
                      </a:lnTo>
                      <a:cubicBezTo>
                        <a:pt x="1" y="1315"/>
                        <a:pt x="1046" y="1539"/>
                        <a:pt x="1046" y="1539"/>
                      </a:cubicBezTo>
                      <a:cubicBezTo>
                        <a:pt x="1434" y="509"/>
                        <a:pt x="210" y="1"/>
                        <a:pt x="21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2" name="Google Shape;632;p9"/>
                <p:cNvSpPr/>
                <p:nvPr/>
              </p:nvSpPr>
              <p:spPr>
                <a:xfrm>
                  <a:off x="7871651" y="412810"/>
                  <a:ext cx="123708" cy="132213"/>
                </a:xfrm>
                <a:custGeom>
                  <a:avLst/>
                  <a:gdLst/>
                  <a:ahLst/>
                  <a:cxnLst/>
                  <a:rect l="l" t="t" r="r" b="b"/>
                  <a:pathLst>
                    <a:path w="1091" h="1166" extrusionOk="0">
                      <a:moveTo>
                        <a:pt x="1031" y="1"/>
                      </a:moveTo>
                      <a:cubicBezTo>
                        <a:pt x="0" y="314"/>
                        <a:pt x="194" y="1166"/>
                        <a:pt x="194" y="1166"/>
                      </a:cubicBezTo>
                      <a:cubicBezTo>
                        <a:pt x="1090" y="1076"/>
                        <a:pt x="1031" y="1"/>
                        <a:pt x="103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3" name="Google Shape;633;p9"/>
              <p:cNvGrpSpPr/>
              <p:nvPr/>
            </p:nvGrpSpPr>
            <p:grpSpPr>
              <a:xfrm rot="-1374988" flipH="1">
                <a:off x="407749" y="4101142"/>
                <a:ext cx="286321" cy="174626"/>
                <a:chOff x="8021413" y="340993"/>
                <a:chExt cx="286312" cy="174621"/>
              </a:xfrm>
            </p:grpSpPr>
            <p:sp>
              <p:nvSpPr>
                <p:cNvPr id="634" name="Google Shape;634;p9"/>
                <p:cNvSpPr/>
                <p:nvPr/>
              </p:nvSpPr>
              <p:spPr>
                <a:xfrm>
                  <a:off x="8145011" y="340993"/>
                  <a:ext cx="162715" cy="174621"/>
                </a:xfrm>
                <a:custGeom>
                  <a:avLst/>
                  <a:gdLst/>
                  <a:ahLst/>
                  <a:cxnLst/>
                  <a:rect l="l" t="t" r="r" b="b"/>
                  <a:pathLst>
                    <a:path w="1435" h="1540" extrusionOk="0">
                      <a:moveTo>
                        <a:pt x="210" y="1"/>
                      </a:moveTo>
                      <a:lnTo>
                        <a:pt x="210" y="1"/>
                      </a:lnTo>
                      <a:cubicBezTo>
                        <a:pt x="1" y="1315"/>
                        <a:pt x="1046" y="1539"/>
                        <a:pt x="1046" y="1539"/>
                      </a:cubicBezTo>
                      <a:cubicBezTo>
                        <a:pt x="1434" y="509"/>
                        <a:pt x="210" y="1"/>
                        <a:pt x="21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9"/>
                <p:cNvSpPr/>
                <p:nvPr/>
              </p:nvSpPr>
              <p:spPr>
                <a:xfrm>
                  <a:off x="8021413" y="349497"/>
                  <a:ext cx="123708" cy="132213"/>
                </a:xfrm>
                <a:custGeom>
                  <a:avLst/>
                  <a:gdLst/>
                  <a:ahLst/>
                  <a:cxnLst/>
                  <a:rect l="l" t="t" r="r" b="b"/>
                  <a:pathLst>
                    <a:path w="1091" h="1166" extrusionOk="0">
                      <a:moveTo>
                        <a:pt x="1031" y="1"/>
                      </a:moveTo>
                      <a:cubicBezTo>
                        <a:pt x="0" y="314"/>
                        <a:pt x="194" y="1166"/>
                        <a:pt x="194" y="1166"/>
                      </a:cubicBezTo>
                      <a:cubicBezTo>
                        <a:pt x="1090" y="1076"/>
                        <a:pt x="1031" y="1"/>
                        <a:pt x="103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36" name="Google Shape;636;p9"/>
              <p:cNvSpPr/>
              <p:nvPr/>
            </p:nvSpPr>
            <p:spPr>
              <a:xfrm rot="10800000" flipH="1">
                <a:off x="2552374" y="290941"/>
                <a:ext cx="170992" cy="109762"/>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37" name="Google Shape;637;p9"/>
            <p:cNvGrpSpPr/>
            <p:nvPr/>
          </p:nvGrpSpPr>
          <p:grpSpPr>
            <a:xfrm>
              <a:off x="7607469" y="3969824"/>
              <a:ext cx="1778860" cy="1499290"/>
              <a:chOff x="7607469" y="3969824"/>
              <a:chExt cx="1778860" cy="1499290"/>
            </a:xfrm>
          </p:grpSpPr>
          <p:grpSp>
            <p:nvGrpSpPr>
              <p:cNvPr id="638" name="Google Shape;638;p9"/>
              <p:cNvGrpSpPr/>
              <p:nvPr/>
            </p:nvGrpSpPr>
            <p:grpSpPr>
              <a:xfrm rot="-8723746" flipH="1">
                <a:off x="8343281" y="4262718"/>
                <a:ext cx="810659" cy="1070935"/>
                <a:chOff x="7756700" y="5724825"/>
                <a:chExt cx="274475" cy="362600"/>
              </a:xfrm>
            </p:grpSpPr>
            <p:sp>
              <p:nvSpPr>
                <p:cNvPr id="639" name="Google Shape;639;p9"/>
                <p:cNvSpPr/>
                <p:nvPr/>
              </p:nvSpPr>
              <p:spPr>
                <a:xfrm>
                  <a:off x="7756700" y="5724825"/>
                  <a:ext cx="157575" cy="271875"/>
                </a:xfrm>
                <a:custGeom>
                  <a:avLst/>
                  <a:gdLst/>
                  <a:ahLst/>
                  <a:cxnLst/>
                  <a:rect l="l" t="t" r="r" b="b"/>
                  <a:pathLst>
                    <a:path w="6303" h="10875" extrusionOk="0">
                      <a:moveTo>
                        <a:pt x="1718" y="1"/>
                      </a:moveTo>
                      <a:cubicBezTo>
                        <a:pt x="867" y="1390"/>
                        <a:pt x="628" y="3750"/>
                        <a:pt x="628" y="3750"/>
                      </a:cubicBezTo>
                      <a:lnTo>
                        <a:pt x="403" y="3615"/>
                      </a:lnTo>
                      <a:lnTo>
                        <a:pt x="403" y="3615"/>
                      </a:lnTo>
                      <a:cubicBezTo>
                        <a:pt x="0" y="5169"/>
                        <a:pt x="717" y="6782"/>
                        <a:pt x="717" y="6782"/>
                      </a:cubicBezTo>
                      <a:lnTo>
                        <a:pt x="299" y="6587"/>
                      </a:lnTo>
                      <a:lnTo>
                        <a:pt x="299" y="6587"/>
                      </a:lnTo>
                      <a:cubicBezTo>
                        <a:pt x="1001" y="10516"/>
                        <a:pt x="3794" y="10874"/>
                        <a:pt x="3794" y="10874"/>
                      </a:cubicBezTo>
                      <a:cubicBezTo>
                        <a:pt x="6303" y="8634"/>
                        <a:pt x="4616" y="4810"/>
                        <a:pt x="4615" y="4810"/>
                      </a:cubicBezTo>
                      <a:lnTo>
                        <a:pt x="4615" y="4810"/>
                      </a:lnTo>
                      <a:lnTo>
                        <a:pt x="4332" y="5288"/>
                      </a:lnTo>
                      <a:cubicBezTo>
                        <a:pt x="4391" y="4198"/>
                        <a:pt x="3435" y="2704"/>
                        <a:pt x="3435" y="2704"/>
                      </a:cubicBezTo>
                      <a:lnTo>
                        <a:pt x="3286" y="3152"/>
                      </a:lnTo>
                      <a:cubicBezTo>
                        <a:pt x="3196" y="2734"/>
                        <a:pt x="2838" y="2047"/>
                        <a:pt x="2315" y="1450"/>
                      </a:cubicBezTo>
                      <a:cubicBezTo>
                        <a:pt x="1793" y="852"/>
                        <a:pt x="1718" y="1"/>
                        <a:pt x="1718"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9"/>
                <p:cNvSpPr/>
                <p:nvPr/>
              </p:nvSpPr>
              <p:spPr>
                <a:xfrm>
                  <a:off x="7877675" y="5780100"/>
                  <a:ext cx="153500" cy="214725"/>
                </a:xfrm>
                <a:custGeom>
                  <a:avLst/>
                  <a:gdLst/>
                  <a:ahLst/>
                  <a:cxnLst/>
                  <a:rect l="l" t="t" r="r" b="b"/>
                  <a:pathLst>
                    <a:path w="6140" h="8589" extrusionOk="0">
                      <a:moveTo>
                        <a:pt x="5123" y="5213"/>
                      </a:moveTo>
                      <a:cubicBezTo>
                        <a:pt x="5123" y="5213"/>
                        <a:pt x="5123" y="5213"/>
                        <a:pt x="5123" y="5213"/>
                      </a:cubicBezTo>
                      <a:lnTo>
                        <a:pt x="5123" y="5213"/>
                      </a:lnTo>
                      <a:lnTo>
                        <a:pt x="5123" y="5213"/>
                      </a:lnTo>
                      <a:cubicBezTo>
                        <a:pt x="5123" y="5213"/>
                        <a:pt x="5123" y="5213"/>
                        <a:pt x="5123" y="5213"/>
                      </a:cubicBezTo>
                      <a:close/>
                      <a:moveTo>
                        <a:pt x="5571" y="0"/>
                      </a:moveTo>
                      <a:cubicBezTo>
                        <a:pt x="4929" y="180"/>
                        <a:pt x="4272" y="807"/>
                        <a:pt x="4272" y="807"/>
                      </a:cubicBezTo>
                      <a:lnTo>
                        <a:pt x="4212" y="553"/>
                      </a:lnTo>
                      <a:cubicBezTo>
                        <a:pt x="2360" y="1688"/>
                        <a:pt x="1673" y="3719"/>
                        <a:pt x="1673" y="3719"/>
                      </a:cubicBezTo>
                      <a:lnTo>
                        <a:pt x="1539" y="3480"/>
                      </a:lnTo>
                      <a:cubicBezTo>
                        <a:pt x="0" y="5990"/>
                        <a:pt x="986" y="8588"/>
                        <a:pt x="986" y="8588"/>
                      </a:cubicBezTo>
                      <a:cubicBezTo>
                        <a:pt x="4339" y="7565"/>
                        <a:pt x="5113" y="5230"/>
                        <a:pt x="5123" y="5213"/>
                      </a:cubicBezTo>
                      <a:lnTo>
                        <a:pt x="5123" y="5213"/>
                      </a:lnTo>
                      <a:lnTo>
                        <a:pt x="4720" y="5288"/>
                      </a:lnTo>
                      <a:cubicBezTo>
                        <a:pt x="6139" y="3854"/>
                        <a:pt x="6139" y="2495"/>
                        <a:pt x="6139" y="2495"/>
                      </a:cubicBezTo>
                      <a:lnTo>
                        <a:pt x="6139" y="2495"/>
                      </a:lnTo>
                      <a:lnTo>
                        <a:pt x="5885" y="2674"/>
                      </a:lnTo>
                      <a:cubicBezTo>
                        <a:pt x="6094" y="1464"/>
                        <a:pt x="5571" y="0"/>
                        <a:pt x="557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9"/>
                <p:cNvSpPr/>
                <p:nvPr/>
              </p:nvSpPr>
              <p:spPr>
                <a:xfrm>
                  <a:off x="7795900" y="5754700"/>
                  <a:ext cx="101225" cy="332725"/>
                </a:xfrm>
                <a:custGeom>
                  <a:avLst/>
                  <a:gdLst/>
                  <a:ahLst/>
                  <a:cxnLst/>
                  <a:rect l="l" t="t" r="r" b="b"/>
                  <a:pathLst>
                    <a:path w="4049" h="13309" extrusionOk="0">
                      <a:moveTo>
                        <a:pt x="135" y="1"/>
                      </a:moveTo>
                      <a:lnTo>
                        <a:pt x="0" y="16"/>
                      </a:lnTo>
                      <a:cubicBezTo>
                        <a:pt x="165" y="2614"/>
                        <a:pt x="643" y="5213"/>
                        <a:pt x="1419" y="7693"/>
                      </a:cubicBezTo>
                      <a:cubicBezTo>
                        <a:pt x="2032" y="9619"/>
                        <a:pt x="2779" y="11531"/>
                        <a:pt x="3749" y="13308"/>
                      </a:cubicBezTo>
                      <a:cubicBezTo>
                        <a:pt x="3749" y="13308"/>
                        <a:pt x="4048" y="13144"/>
                        <a:pt x="4048" y="13144"/>
                      </a:cubicBezTo>
                      <a:cubicBezTo>
                        <a:pt x="3481" y="12143"/>
                        <a:pt x="2988" y="11098"/>
                        <a:pt x="2540" y="10038"/>
                      </a:cubicBezTo>
                      <a:cubicBezTo>
                        <a:pt x="2360" y="9589"/>
                        <a:pt x="2106" y="8917"/>
                        <a:pt x="1927" y="8424"/>
                      </a:cubicBezTo>
                      <a:cubicBezTo>
                        <a:pt x="971" y="5721"/>
                        <a:pt x="344" y="2868"/>
                        <a:pt x="13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2" name="Google Shape;642;p9"/>
                <p:cNvSpPr/>
                <p:nvPr/>
              </p:nvSpPr>
              <p:spPr>
                <a:xfrm>
                  <a:off x="7873200" y="5795400"/>
                  <a:ext cx="135175" cy="250200"/>
                </a:xfrm>
                <a:custGeom>
                  <a:avLst/>
                  <a:gdLst/>
                  <a:ahLst/>
                  <a:cxnLst/>
                  <a:rect l="l" t="t" r="r" b="b"/>
                  <a:pathLst>
                    <a:path w="5407" h="10008" fill="none" extrusionOk="0">
                      <a:moveTo>
                        <a:pt x="0" y="10008"/>
                      </a:moveTo>
                      <a:cubicBezTo>
                        <a:pt x="0" y="10008"/>
                        <a:pt x="4048" y="3062"/>
                        <a:pt x="5407"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3" name="Google Shape;643;p9"/>
                <p:cNvSpPr/>
                <p:nvPr/>
              </p:nvSpPr>
              <p:spPr>
                <a:xfrm>
                  <a:off x="7783575" y="5800625"/>
                  <a:ext cx="75075" cy="174400"/>
                </a:xfrm>
                <a:custGeom>
                  <a:avLst/>
                  <a:gdLst/>
                  <a:ahLst/>
                  <a:cxnLst/>
                  <a:rect l="l" t="t" r="r" b="b"/>
                  <a:pathLst>
                    <a:path w="3003" h="6976" fill="none" extrusionOk="0">
                      <a:moveTo>
                        <a:pt x="2420" y="6976"/>
                      </a:moveTo>
                      <a:cubicBezTo>
                        <a:pt x="2420" y="6976"/>
                        <a:pt x="2868" y="4735"/>
                        <a:pt x="3003" y="4362"/>
                      </a:cubicBezTo>
                      <a:moveTo>
                        <a:pt x="1808" y="299"/>
                      </a:moveTo>
                      <a:lnTo>
                        <a:pt x="1390" y="613"/>
                      </a:lnTo>
                      <a:moveTo>
                        <a:pt x="1016" y="1793"/>
                      </a:moveTo>
                      <a:lnTo>
                        <a:pt x="1584" y="1"/>
                      </a:lnTo>
                      <a:moveTo>
                        <a:pt x="1" y="404"/>
                      </a:moveTo>
                      <a:lnTo>
                        <a:pt x="852" y="912"/>
                      </a:lnTo>
                      <a:moveTo>
                        <a:pt x="225" y="2824"/>
                      </a:moveTo>
                      <a:lnTo>
                        <a:pt x="1479" y="3899"/>
                      </a:lnTo>
                      <a:moveTo>
                        <a:pt x="269" y="5198"/>
                      </a:moveTo>
                      <a:lnTo>
                        <a:pt x="927" y="5169"/>
                      </a:lnTo>
                      <a:moveTo>
                        <a:pt x="105" y="4676"/>
                      </a:moveTo>
                      <a:lnTo>
                        <a:pt x="2032" y="5826"/>
                      </a:lnTo>
                      <a:moveTo>
                        <a:pt x="2196" y="2540"/>
                      </a:moveTo>
                      <a:lnTo>
                        <a:pt x="2719" y="1927"/>
                      </a:lnTo>
                      <a:moveTo>
                        <a:pt x="1733" y="4870"/>
                      </a:moveTo>
                      <a:lnTo>
                        <a:pt x="2510" y="1046"/>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9"/>
                <p:cNvSpPr/>
                <p:nvPr/>
              </p:nvSpPr>
              <p:spPr>
                <a:xfrm>
                  <a:off x="7911275" y="5824525"/>
                  <a:ext cx="98225" cy="146400"/>
                </a:xfrm>
                <a:custGeom>
                  <a:avLst/>
                  <a:gdLst/>
                  <a:ahLst/>
                  <a:cxnLst/>
                  <a:rect l="l" t="t" r="r" b="b"/>
                  <a:pathLst>
                    <a:path w="3929" h="5856" fill="none" extrusionOk="0">
                      <a:moveTo>
                        <a:pt x="733" y="4900"/>
                      </a:moveTo>
                      <a:lnTo>
                        <a:pt x="299" y="2958"/>
                      </a:lnTo>
                      <a:moveTo>
                        <a:pt x="3929" y="314"/>
                      </a:moveTo>
                      <a:lnTo>
                        <a:pt x="3525" y="344"/>
                      </a:lnTo>
                      <a:moveTo>
                        <a:pt x="2868" y="897"/>
                      </a:moveTo>
                      <a:lnTo>
                        <a:pt x="3929" y="1"/>
                      </a:lnTo>
                      <a:moveTo>
                        <a:pt x="2361" y="195"/>
                      </a:moveTo>
                      <a:lnTo>
                        <a:pt x="2136" y="822"/>
                      </a:lnTo>
                      <a:moveTo>
                        <a:pt x="2346" y="1912"/>
                      </a:moveTo>
                      <a:lnTo>
                        <a:pt x="2047" y="329"/>
                      </a:lnTo>
                      <a:moveTo>
                        <a:pt x="3451" y="2122"/>
                      </a:moveTo>
                      <a:lnTo>
                        <a:pt x="3092" y="2644"/>
                      </a:lnTo>
                      <a:moveTo>
                        <a:pt x="1464" y="3570"/>
                      </a:moveTo>
                      <a:lnTo>
                        <a:pt x="3675" y="2316"/>
                      </a:lnTo>
                      <a:moveTo>
                        <a:pt x="2331" y="4227"/>
                      </a:moveTo>
                      <a:lnTo>
                        <a:pt x="2032" y="4705"/>
                      </a:lnTo>
                      <a:moveTo>
                        <a:pt x="180" y="5855"/>
                      </a:moveTo>
                      <a:lnTo>
                        <a:pt x="2824" y="4227"/>
                      </a:lnTo>
                      <a:moveTo>
                        <a:pt x="1" y="3600"/>
                      </a:moveTo>
                      <a:lnTo>
                        <a:pt x="508" y="392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45" name="Google Shape;645;p9"/>
              <p:cNvSpPr/>
              <p:nvPr/>
            </p:nvSpPr>
            <p:spPr>
              <a:xfrm>
                <a:off x="7607469" y="4903429"/>
                <a:ext cx="345025" cy="240059"/>
              </a:xfrm>
              <a:custGeom>
                <a:avLst/>
                <a:gdLst/>
                <a:ahLst/>
                <a:cxnLst/>
                <a:rect l="l" t="t" r="r" b="b"/>
                <a:pathLst>
                  <a:path w="9082" h="6319" fill="none" extrusionOk="0">
                    <a:moveTo>
                      <a:pt x="0" y="0"/>
                    </a:moveTo>
                    <a:cubicBezTo>
                      <a:pt x="0" y="0"/>
                      <a:pt x="4421" y="1867"/>
                      <a:pt x="9081" y="2121"/>
                    </a:cubicBezTo>
                    <a:moveTo>
                      <a:pt x="7438" y="4003"/>
                    </a:moveTo>
                    <a:cubicBezTo>
                      <a:pt x="7438" y="4003"/>
                      <a:pt x="6766" y="5168"/>
                      <a:pt x="6542" y="6318"/>
                    </a:cubicBezTo>
                    <a:moveTo>
                      <a:pt x="6004" y="1748"/>
                    </a:moveTo>
                    <a:cubicBezTo>
                      <a:pt x="6004" y="1748"/>
                      <a:pt x="7005" y="2569"/>
                      <a:pt x="7856" y="5049"/>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9"/>
              <p:cNvSpPr/>
              <p:nvPr/>
            </p:nvSpPr>
            <p:spPr>
              <a:xfrm rot="8100000" flipH="1">
                <a:off x="8713134" y="4021674"/>
                <a:ext cx="215057" cy="165140"/>
              </a:xfrm>
              <a:custGeom>
                <a:avLst/>
                <a:gdLst/>
                <a:ahLst/>
                <a:cxnLst/>
                <a:rect l="l" t="t" r="r" b="b"/>
                <a:pathLst>
                  <a:path w="5661" h="4347" fill="none" extrusionOk="0">
                    <a:moveTo>
                      <a:pt x="5661" y="4347"/>
                    </a:moveTo>
                    <a:cubicBezTo>
                      <a:pt x="5661" y="4347"/>
                      <a:pt x="1150" y="762"/>
                      <a:pt x="702" y="1"/>
                    </a:cubicBezTo>
                    <a:moveTo>
                      <a:pt x="0" y="2181"/>
                    </a:moveTo>
                    <a:lnTo>
                      <a:pt x="3017" y="218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647"/>
        <p:cNvGrpSpPr/>
        <p:nvPr/>
      </p:nvGrpSpPr>
      <p:grpSpPr>
        <a:xfrm>
          <a:off x="0" y="0"/>
          <a:ext cx="0" cy="0"/>
          <a:chOff x="0" y="0"/>
          <a:chExt cx="0" cy="0"/>
        </a:xfrm>
      </p:grpSpPr>
      <p:sp>
        <p:nvSpPr>
          <p:cNvPr id="648" name="Google Shape;648;p10"/>
          <p:cNvSpPr>
            <a:spLocks noGrp="1"/>
          </p:cNvSpPr>
          <p:nvPr>
            <p:ph type="pic" idx="2"/>
          </p:nvPr>
        </p:nvSpPr>
        <p:spPr>
          <a:xfrm>
            <a:off x="0" y="0"/>
            <a:ext cx="9144000" cy="5143500"/>
          </a:xfrm>
          <a:prstGeom prst="rect">
            <a:avLst/>
          </a:prstGeom>
          <a:noFill/>
          <a:ln>
            <a:noFill/>
          </a:ln>
        </p:spPr>
      </p:sp>
      <p:sp>
        <p:nvSpPr>
          <p:cNvPr id="649" name="Google Shape;649;p10"/>
          <p:cNvSpPr txBox="1">
            <a:spLocks noGrp="1"/>
          </p:cNvSpPr>
          <p:nvPr>
            <p:ph type="title"/>
          </p:nvPr>
        </p:nvSpPr>
        <p:spPr>
          <a:xfrm>
            <a:off x="1312688" y="3994450"/>
            <a:ext cx="6177300" cy="648900"/>
          </a:xfrm>
          <a:prstGeom prst="rect">
            <a:avLst/>
          </a:prstGeom>
          <a:solidFill>
            <a:schemeClr val="lt1"/>
          </a:solidFill>
        </p:spPr>
        <p:txBody>
          <a:bodyPr spcFirstLastPara="1" wrap="square" lIns="91425" tIns="91425" rIns="91425" bIns="91425" anchor="ctr" anchorCtr="0">
            <a:noAutofit/>
          </a:bodyPr>
          <a:lstStyle>
            <a:lvl1pPr lvl="0" algn="ctr" rtl="0">
              <a:spcBef>
                <a:spcPts val="0"/>
              </a:spcBef>
              <a:spcAft>
                <a:spcPts val="0"/>
              </a:spcAft>
              <a:buSzPts val="3600"/>
              <a:buNone/>
              <a:defRPr sz="2400"/>
            </a:lvl1pPr>
            <a:lvl2pPr lvl="1" algn="ctr" rtl="0">
              <a:spcBef>
                <a:spcPts val="0"/>
              </a:spcBef>
              <a:spcAft>
                <a:spcPts val="0"/>
              </a:spcAft>
              <a:buSzPts val="3600"/>
              <a:buNone/>
              <a:defRPr/>
            </a:lvl2pPr>
            <a:lvl3pPr lvl="2" algn="ctr" rtl="0">
              <a:spcBef>
                <a:spcPts val="0"/>
              </a:spcBef>
              <a:spcAft>
                <a:spcPts val="0"/>
              </a:spcAft>
              <a:buSzPts val="3600"/>
              <a:buNone/>
              <a:defRPr/>
            </a:lvl3pPr>
            <a:lvl4pPr lvl="3" algn="ctr" rtl="0">
              <a:spcBef>
                <a:spcPts val="0"/>
              </a:spcBef>
              <a:spcAft>
                <a:spcPts val="0"/>
              </a:spcAft>
              <a:buSzPts val="3600"/>
              <a:buNone/>
              <a:defRPr/>
            </a:lvl4pPr>
            <a:lvl5pPr lvl="4" algn="ctr" rtl="0">
              <a:spcBef>
                <a:spcPts val="0"/>
              </a:spcBef>
              <a:spcAft>
                <a:spcPts val="0"/>
              </a:spcAft>
              <a:buSzPts val="3600"/>
              <a:buNone/>
              <a:defRPr/>
            </a:lvl5pPr>
            <a:lvl6pPr lvl="5" algn="ctr" rtl="0">
              <a:spcBef>
                <a:spcPts val="0"/>
              </a:spcBef>
              <a:spcAft>
                <a:spcPts val="0"/>
              </a:spcAft>
              <a:buSzPts val="3600"/>
              <a:buNone/>
              <a:defRPr/>
            </a:lvl6pPr>
            <a:lvl7pPr lvl="6" algn="ctr" rtl="0">
              <a:spcBef>
                <a:spcPts val="0"/>
              </a:spcBef>
              <a:spcAft>
                <a:spcPts val="0"/>
              </a:spcAft>
              <a:buSzPts val="3600"/>
              <a:buNone/>
              <a:defRPr/>
            </a:lvl7pPr>
            <a:lvl8pPr lvl="7" algn="ctr" rtl="0">
              <a:spcBef>
                <a:spcPts val="0"/>
              </a:spcBef>
              <a:spcAft>
                <a:spcPts val="0"/>
              </a:spcAft>
              <a:buSzPts val="3600"/>
              <a:buNone/>
              <a:defRPr/>
            </a:lvl8pPr>
            <a:lvl9pPr lvl="8" algn="ctr" rtl="0">
              <a:spcBef>
                <a:spcPts val="0"/>
              </a:spcBef>
              <a:spcAft>
                <a:spcPts val="0"/>
              </a:spcAft>
              <a:buSzPts val="3600"/>
              <a:buNone/>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650"/>
        <p:cNvGrpSpPr/>
        <p:nvPr/>
      </p:nvGrpSpPr>
      <p:grpSpPr>
        <a:xfrm>
          <a:off x="0" y="0"/>
          <a:ext cx="0" cy="0"/>
          <a:chOff x="0" y="0"/>
          <a:chExt cx="0" cy="0"/>
        </a:xfrm>
      </p:grpSpPr>
      <p:sp>
        <p:nvSpPr>
          <p:cNvPr id="651" name="Google Shape;651;p11"/>
          <p:cNvSpPr txBox="1">
            <a:spLocks noGrp="1"/>
          </p:cNvSpPr>
          <p:nvPr>
            <p:ph type="title" hasCustomPrompt="1"/>
          </p:nvPr>
        </p:nvSpPr>
        <p:spPr>
          <a:xfrm>
            <a:off x="1912062" y="1709700"/>
            <a:ext cx="5319900" cy="1293000"/>
          </a:xfrm>
          <a:prstGeom prst="rect">
            <a:avLst/>
          </a:prstGeom>
        </p:spPr>
        <p:txBody>
          <a:bodyPr spcFirstLastPara="1" wrap="square" lIns="91425" tIns="91425" rIns="91425" bIns="91425" anchor="ctr" anchorCtr="0">
            <a:noAutofit/>
          </a:bodyPr>
          <a:lstStyle>
            <a:lvl1pPr lvl="0" algn="ctr">
              <a:spcBef>
                <a:spcPts val="0"/>
              </a:spcBef>
              <a:spcAft>
                <a:spcPts val="0"/>
              </a:spcAft>
              <a:buSzPts val="12000"/>
              <a:buNone/>
              <a:defRPr sz="6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652" name="Google Shape;652;p11"/>
          <p:cNvSpPr txBox="1">
            <a:spLocks noGrp="1"/>
          </p:cNvSpPr>
          <p:nvPr>
            <p:ph type="subTitle" idx="1"/>
          </p:nvPr>
        </p:nvSpPr>
        <p:spPr>
          <a:xfrm>
            <a:off x="1912038" y="3002700"/>
            <a:ext cx="5319900" cy="4311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16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grpSp>
        <p:nvGrpSpPr>
          <p:cNvPr id="653" name="Google Shape;653;p11"/>
          <p:cNvGrpSpPr/>
          <p:nvPr/>
        </p:nvGrpSpPr>
        <p:grpSpPr>
          <a:xfrm>
            <a:off x="-903299" y="-1393763"/>
            <a:ext cx="10861625" cy="7421308"/>
            <a:chOff x="-903299" y="-1393763"/>
            <a:chExt cx="10861625" cy="7421308"/>
          </a:xfrm>
        </p:grpSpPr>
        <p:grpSp>
          <p:nvGrpSpPr>
            <p:cNvPr id="654" name="Google Shape;654;p11"/>
            <p:cNvGrpSpPr/>
            <p:nvPr/>
          </p:nvGrpSpPr>
          <p:grpSpPr>
            <a:xfrm rot="-7976905" flipH="1">
              <a:off x="6919676" y="-1168429"/>
              <a:ext cx="1436254" cy="1884950"/>
              <a:chOff x="3255967" y="2507600"/>
              <a:chExt cx="1305465" cy="1715179"/>
            </a:xfrm>
          </p:grpSpPr>
          <p:sp>
            <p:nvSpPr>
              <p:cNvPr id="655" name="Google Shape;655;p11"/>
              <p:cNvSpPr/>
              <p:nvPr/>
            </p:nvSpPr>
            <p:spPr>
              <a:xfrm>
                <a:off x="4191774" y="3356698"/>
                <a:ext cx="369658" cy="519086"/>
              </a:xfrm>
              <a:custGeom>
                <a:avLst/>
                <a:gdLst/>
                <a:ahLst/>
                <a:cxnLst/>
                <a:rect l="l" t="t" r="r" b="b"/>
                <a:pathLst>
                  <a:path w="11711" h="16445" extrusionOk="0">
                    <a:moveTo>
                      <a:pt x="10695" y="0"/>
                    </a:moveTo>
                    <a:cubicBezTo>
                      <a:pt x="10695" y="0"/>
                      <a:pt x="8962" y="777"/>
                      <a:pt x="7394" y="3032"/>
                    </a:cubicBezTo>
                    <a:lnTo>
                      <a:pt x="7290" y="2256"/>
                    </a:lnTo>
                    <a:cubicBezTo>
                      <a:pt x="7290" y="2256"/>
                      <a:pt x="4691" y="4735"/>
                      <a:pt x="3660" y="6841"/>
                    </a:cubicBezTo>
                    <a:lnTo>
                      <a:pt x="3660" y="5945"/>
                    </a:lnTo>
                    <a:cubicBezTo>
                      <a:pt x="3660" y="5945"/>
                      <a:pt x="1" y="10635"/>
                      <a:pt x="2674" y="16445"/>
                    </a:cubicBezTo>
                    <a:cubicBezTo>
                      <a:pt x="2674" y="16445"/>
                      <a:pt x="5423" y="16370"/>
                      <a:pt x="9067" y="13249"/>
                    </a:cubicBezTo>
                    <a:lnTo>
                      <a:pt x="8529" y="13174"/>
                    </a:lnTo>
                    <a:cubicBezTo>
                      <a:pt x="8529" y="13174"/>
                      <a:pt x="11053" y="9559"/>
                      <a:pt x="11666" y="5930"/>
                    </a:cubicBezTo>
                    <a:lnTo>
                      <a:pt x="11666" y="5930"/>
                    </a:lnTo>
                    <a:lnTo>
                      <a:pt x="11009" y="6184"/>
                    </a:lnTo>
                    <a:cubicBezTo>
                      <a:pt x="11009" y="6184"/>
                      <a:pt x="11711" y="2659"/>
                      <a:pt x="1069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656;p11"/>
              <p:cNvSpPr/>
              <p:nvPr/>
            </p:nvSpPr>
            <p:spPr>
              <a:xfrm>
                <a:off x="3567576" y="2507600"/>
                <a:ext cx="429537" cy="595474"/>
              </a:xfrm>
              <a:custGeom>
                <a:avLst/>
                <a:gdLst/>
                <a:ahLst/>
                <a:cxnLst/>
                <a:rect l="l" t="t" r="r" b="b"/>
                <a:pathLst>
                  <a:path w="13608" h="18865" extrusionOk="0">
                    <a:moveTo>
                      <a:pt x="1300" y="1"/>
                    </a:moveTo>
                    <a:lnTo>
                      <a:pt x="1315" y="31"/>
                    </a:lnTo>
                    <a:lnTo>
                      <a:pt x="1300" y="16"/>
                    </a:lnTo>
                    <a:cubicBezTo>
                      <a:pt x="1106" y="554"/>
                      <a:pt x="1211" y="2779"/>
                      <a:pt x="1211" y="2779"/>
                    </a:cubicBezTo>
                    <a:lnTo>
                      <a:pt x="539" y="2421"/>
                    </a:lnTo>
                    <a:lnTo>
                      <a:pt x="539" y="2421"/>
                    </a:lnTo>
                    <a:cubicBezTo>
                      <a:pt x="434" y="3317"/>
                      <a:pt x="1255" y="6408"/>
                      <a:pt x="1270" y="6513"/>
                    </a:cubicBezTo>
                    <a:lnTo>
                      <a:pt x="1" y="6080"/>
                    </a:lnTo>
                    <a:lnTo>
                      <a:pt x="1" y="6080"/>
                    </a:lnTo>
                    <a:cubicBezTo>
                      <a:pt x="583" y="8783"/>
                      <a:pt x="4332" y="13309"/>
                      <a:pt x="4332" y="13309"/>
                    </a:cubicBezTo>
                    <a:lnTo>
                      <a:pt x="3152" y="13488"/>
                    </a:lnTo>
                    <a:cubicBezTo>
                      <a:pt x="6677" y="17924"/>
                      <a:pt x="12995" y="18865"/>
                      <a:pt x="12995" y="18865"/>
                    </a:cubicBezTo>
                    <a:cubicBezTo>
                      <a:pt x="13010" y="18820"/>
                      <a:pt x="13040" y="18775"/>
                      <a:pt x="13055" y="18731"/>
                    </a:cubicBezTo>
                    <a:cubicBezTo>
                      <a:pt x="13085" y="18686"/>
                      <a:pt x="13100" y="18641"/>
                      <a:pt x="13115" y="18596"/>
                    </a:cubicBezTo>
                    <a:cubicBezTo>
                      <a:pt x="13144" y="18536"/>
                      <a:pt x="13159" y="18492"/>
                      <a:pt x="13174" y="18447"/>
                    </a:cubicBezTo>
                    <a:cubicBezTo>
                      <a:pt x="13189" y="18402"/>
                      <a:pt x="13204" y="18342"/>
                      <a:pt x="13219" y="18297"/>
                    </a:cubicBezTo>
                    <a:cubicBezTo>
                      <a:pt x="13249" y="18238"/>
                      <a:pt x="13264" y="18193"/>
                      <a:pt x="13279" y="18148"/>
                    </a:cubicBezTo>
                    <a:cubicBezTo>
                      <a:pt x="13294" y="18088"/>
                      <a:pt x="13309" y="18029"/>
                      <a:pt x="13324" y="17984"/>
                    </a:cubicBezTo>
                    <a:cubicBezTo>
                      <a:pt x="13339" y="17924"/>
                      <a:pt x="13353" y="17864"/>
                      <a:pt x="13353" y="17819"/>
                    </a:cubicBezTo>
                    <a:cubicBezTo>
                      <a:pt x="13368" y="17760"/>
                      <a:pt x="13383" y="17700"/>
                      <a:pt x="13398" y="17640"/>
                    </a:cubicBezTo>
                    <a:cubicBezTo>
                      <a:pt x="13413" y="17595"/>
                      <a:pt x="13413" y="17536"/>
                      <a:pt x="13428" y="17476"/>
                    </a:cubicBezTo>
                    <a:cubicBezTo>
                      <a:pt x="13443" y="17416"/>
                      <a:pt x="13458" y="17356"/>
                      <a:pt x="13458" y="17297"/>
                    </a:cubicBezTo>
                    <a:cubicBezTo>
                      <a:pt x="13473" y="17237"/>
                      <a:pt x="13488" y="17177"/>
                      <a:pt x="13488" y="17117"/>
                    </a:cubicBezTo>
                    <a:cubicBezTo>
                      <a:pt x="13503" y="17058"/>
                      <a:pt x="13503" y="16983"/>
                      <a:pt x="13518" y="16923"/>
                    </a:cubicBezTo>
                    <a:cubicBezTo>
                      <a:pt x="13518" y="16864"/>
                      <a:pt x="13533" y="16804"/>
                      <a:pt x="13533" y="16744"/>
                    </a:cubicBezTo>
                    <a:cubicBezTo>
                      <a:pt x="13548" y="16669"/>
                      <a:pt x="13548" y="16610"/>
                      <a:pt x="13548" y="16550"/>
                    </a:cubicBezTo>
                    <a:cubicBezTo>
                      <a:pt x="13563" y="16490"/>
                      <a:pt x="13563" y="16415"/>
                      <a:pt x="13578" y="16356"/>
                    </a:cubicBezTo>
                    <a:cubicBezTo>
                      <a:pt x="13578" y="16281"/>
                      <a:pt x="13578" y="16221"/>
                      <a:pt x="13578" y="16162"/>
                    </a:cubicBezTo>
                    <a:cubicBezTo>
                      <a:pt x="13592" y="16087"/>
                      <a:pt x="13592" y="16027"/>
                      <a:pt x="13592" y="15952"/>
                    </a:cubicBezTo>
                    <a:cubicBezTo>
                      <a:pt x="13592" y="15893"/>
                      <a:pt x="13607" y="15818"/>
                      <a:pt x="13607" y="15758"/>
                    </a:cubicBezTo>
                    <a:cubicBezTo>
                      <a:pt x="13607" y="15684"/>
                      <a:pt x="13607" y="15624"/>
                      <a:pt x="13607" y="15549"/>
                    </a:cubicBezTo>
                    <a:cubicBezTo>
                      <a:pt x="13607" y="15489"/>
                      <a:pt x="13607" y="15415"/>
                      <a:pt x="13607" y="15355"/>
                    </a:cubicBezTo>
                    <a:cubicBezTo>
                      <a:pt x="13607" y="15280"/>
                      <a:pt x="13607" y="15206"/>
                      <a:pt x="13607" y="15146"/>
                    </a:cubicBezTo>
                    <a:cubicBezTo>
                      <a:pt x="13607" y="15071"/>
                      <a:pt x="13607" y="15012"/>
                      <a:pt x="13607" y="14937"/>
                    </a:cubicBezTo>
                    <a:cubicBezTo>
                      <a:pt x="13607" y="14862"/>
                      <a:pt x="13607" y="14802"/>
                      <a:pt x="13607" y="14728"/>
                    </a:cubicBezTo>
                    <a:cubicBezTo>
                      <a:pt x="13607" y="14668"/>
                      <a:pt x="13607" y="14593"/>
                      <a:pt x="13607" y="14519"/>
                    </a:cubicBezTo>
                    <a:cubicBezTo>
                      <a:pt x="13607" y="14459"/>
                      <a:pt x="13607" y="14384"/>
                      <a:pt x="13592" y="14310"/>
                    </a:cubicBezTo>
                    <a:cubicBezTo>
                      <a:pt x="13592" y="14250"/>
                      <a:pt x="13592" y="14175"/>
                      <a:pt x="13592" y="14115"/>
                    </a:cubicBezTo>
                    <a:cubicBezTo>
                      <a:pt x="13592" y="14041"/>
                      <a:pt x="13592" y="13966"/>
                      <a:pt x="13578" y="13906"/>
                    </a:cubicBezTo>
                    <a:cubicBezTo>
                      <a:pt x="13578" y="13832"/>
                      <a:pt x="13578" y="13772"/>
                      <a:pt x="13578" y="13697"/>
                    </a:cubicBezTo>
                    <a:cubicBezTo>
                      <a:pt x="13428" y="11233"/>
                      <a:pt x="12980" y="8962"/>
                      <a:pt x="12980" y="8962"/>
                    </a:cubicBezTo>
                    <a:lnTo>
                      <a:pt x="12547" y="9754"/>
                    </a:lnTo>
                    <a:cubicBezTo>
                      <a:pt x="11755" y="6737"/>
                      <a:pt x="8425" y="3138"/>
                      <a:pt x="8425" y="3138"/>
                    </a:cubicBezTo>
                    <a:lnTo>
                      <a:pt x="8425" y="3152"/>
                    </a:lnTo>
                    <a:lnTo>
                      <a:pt x="8440" y="4064"/>
                    </a:lnTo>
                    <a:cubicBezTo>
                      <a:pt x="7439" y="2630"/>
                      <a:pt x="5094" y="1285"/>
                      <a:pt x="5094" y="1285"/>
                    </a:cubicBezTo>
                    <a:lnTo>
                      <a:pt x="5094" y="1300"/>
                    </a:lnTo>
                    <a:lnTo>
                      <a:pt x="5109" y="1883"/>
                    </a:lnTo>
                    <a:cubicBezTo>
                      <a:pt x="4034" y="1002"/>
                      <a:pt x="1390" y="31"/>
                      <a:pt x="130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657;p11"/>
              <p:cNvSpPr/>
              <p:nvPr/>
            </p:nvSpPr>
            <p:spPr>
              <a:xfrm>
                <a:off x="4137577" y="3199694"/>
                <a:ext cx="207445" cy="272059"/>
              </a:xfrm>
              <a:custGeom>
                <a:avLst/>
                <a:gdLst/>
                <a:ahLst/>
                <a:cxnLst/>
                <a:rect l="l" t="t" r="r" b="b"/>
                <a:pathLst>
                  <a:path w="6572" h="8619" extrusionOk="0">
                    <a:moveTo>
                      <a:pt x="6199" y="1"/>
                    </a:moveTo>
                    <a:lnTo>
                      <a:pt x="6199" y="1"/>
                    </a:lnTo>
                    <a:cubicBezTo>
                      <a:pt x="4630" y="300"/>
                      <a:pt x="3555" y="1420"/>
                      <a:pt x="3555" y="1420"/>
                    </a:cubicBezTo>
                    <a:lnTo>
                      <a:pt x="3316" y="807"/>
                    </a:lnTo>
                    <a:cubicBezTo>
                      <a:pt x="2241" y="1509"/>
                      <a:pt x="1583" y="4078"/>
                      <a:pt x="1583" y="4078"/>
                    </a:cubicBezTo>
                    <a:lnTo>
                      <a:pt x="1285" y="3660"/>
                    </a:lnTo>
                    <a:lnTo>
                      <a:pt x="1285" y="3660"/>
                    </a:lnTo>
                    <a:cubicBezTo>
                      <a:pt x="0" y="6020"/>
                      <a:pt x="1389" y="8619"/>
                      <a:pt x="1389" y="8619"/>
                    </a:cubicBezTo>
                    <a:cubicBezTo>
                      <a:pt x="3540" y="8365"/>
                      <a:pt x="5228" y="6408"/>
                      <a:pt x="5228" y="6408"/>
                    </a:cubicBezTo>
                    <a:lnTo>
                      <a:pt x="5228" y="6408"/>
                    </a:lnTo>
                    <a:lnTo>
                      <a:pt x="4436" y="6573"/>
                    </a:lnTo>
                    <a:cubicBezTo>
                      <a:pt x="5691" y="5736"/>
                      <a:pt x="6527" y="3302"/>
                      <a:pt x="6572" y="3197"/>
                    </a:cubicBezTo>
                    <a:lnTo>
                      <a:pt x="6572" y="3197"/>
                    </a:lnTo>
                    <a:lnTo>
                      <a:pt x="5945" y="3451"/>
                    </a:lnTo>
                    <a:cubicBezTo>
                      <a:pt x="6467" y="2286"/>
                      <a:pt x="6199" y="1"/>
                      <a:pt x="619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658;p11"/>
              <p:cNvSpPr/>
              <p:nvPr/>
            </p:nvSpPr>
            <p:spPr>
              <a:xfrm>
                <a:off x="3255967" y="2989439"/>
                <a:ext cx="652512" cy="337619"/>
              </a:xfrm>
              <a:custGeom>
                <a:avLst/>
                <a:gdLst/>
                <a:ahLst/>
                <a:cxnLst/>
                <a:rect l="l" t="t" r="r" b="b"/>
                <a:pathLst>
                  <a:path w="20672" h="10696" extrusionOk="0">
                    <a:moveTo>
                      <a:pt x="12427" y="0"/>
                    </a:moveTo>
                    <a:lnTo>
                      <a:pt x="12427" y="15"/>
                    </a:lnTo>
                    <a:lnTo>
                      <a:pt x="12681" y="658"/>
                    </a:lnTo>
                    <a:cubicBezTo>
                      <a:pt x="12576" y="629"/>
                      <a:pt x="11042" y="273"/>
                      <a:pt x="9055" y="273"/>
                    </a:cubicBezTo>
                    <a:cubicBezTo>
                      <a:pt x="7921" y="273"/>
                      <a:pt x="6640" y="389"/>
                      <a:pt x="5392" y="747"/>
                    </a:cubicBezTo>
                    <a:lnTo>
                      <a:pt x="5407" y="762"/>
                    </a:lnTo>
                    <a:lnTo>
                      <a:pt x="5392" y="762"/>
                    </a:lnTo>
                    <a:lnTo>
                      <a:pt x="6109" y="1330"/>
                    </a:lnTo>
                    <a:cubicBezTo>
                      <a:pt x="5870" y="1434"/>
                      <a:pt x="2286" y="2943"/>
                      <a:pt x="0" y="5796"/>
                    </a:cubicBezTo>
                    <a:cubicBezTo>
                      <a:pt x="165" y="5945"/>
                      <a:pt x="1972" y="7588"/>
                      <a:pt x="4466" y="8155"/>
                    </a:cubicBezTo>
                    <a:lnTo>
                      <a:pt x="3689" y="8514"/>
                    </a:lnTo>
                    <a:cubicBezTo>
                      <a:pt x="3689" y="8514"/>
                      <a:pt x="7041" y="10001"/>
                      <a:pt x="10015" y="10001"/>
                    </a:cubicBezTo>
                    <a:cubicBezTo>
                      <a:pt x="10224" y="10001"/>
                      <a:pt x="10431" y="9993"/>
                      <a:pt x="10635" y="9978"/>
                    </a:cubicBezTo>
                    <a:lnTo>
                      <a:pt x="10635" y="9978"/>
                    </a:lnTo>
                    <a:lnTo>
                      <a:pt x="9604" y="10575"/>
                    </a:lnTo>
                    <a:cubicBezTo>
                      <a:pt x="9604" y="10575"/>
                      <a:pt x="10408" y="10695"/>
                      <a:pt x="11654" y="10695"/>
                    </a:cubicBezTo>
                    <a:cubicBezTo>
                      <a:pt x="13921" y="10695"/>
                      <a:pt x="17654" y="10297"/>
                      <a:pt x="20671" y="8051"/>
                    </a:cubicBezTo>
                    <a:lnTo>
                      <a:pt x="20671" y="8036"/>
                    </a:lnTo>
                    <a:lnTo>
                      <a:pt x="20657" y="8021"/>
                    </a:lnTo>
                    <a:lnTo>
                      <a:pt x="20642" y="7991"/>
                    </a:lnTo>
                    <a:lnTo>
                      <a:pt x="20627" y="7946"/>
                    </a:lnTo>
                    <a:lnTo>
                      <a:pt x="20612" y="7901"/>
                    </a:lnTo>
                    <a:lnTo>
                      <a:pt x="20582" y="7857"/>
                    </a:lnTo>
                    <a:lnTo>
                      <a:pt x="20567" y="7797"/>
                    </a:lnTo>
                    <a:lnTo>
                      <a:pt x="20537" y="7722"/>
                    </a:lnTo>
                    <a:lnTo>
                      <a:pt x="20507" y="7648"/>
                    </a:lnTo>
                    <a:lnTo>
                      <a:pt x="20462" y="7573"/>
                    </a:lnTo>
                    <a:lnTo>
                      <a:pt x="20418" y="7483"/>
                    </a:lnTo>
                    <a:lnTo>
                      <a:pt x="20373" y="7394"/>
                    </a:lnTo>
                    <a:lnTo>
                      <a:pt x="20328" y="7304"/>
                    </a:lnTo>
                    <a:cubicBezTo>
                      <a:pt x="20313" y="7274"/>
                      <a:pt x="20298" y="7229"/>
                      <a:pt x="20283" y="7200"/>
                    </a:cubicBezTo>
                    <a:cubicBezTo>
                      <a:pt x="19402" y="5467"/>
                      <a:pt x="17012" y="1613"/>
                      <a:pt x="1242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659;p11"/>
              <p:cNvSpPr/>
              <p:nvPr/>
            </p:nvSpPr>
            <p:spPr>
              <a:xfrm>
                <a:off x="3675560" y="3494669"/>
                <a:ext cx="490331" cy="341123"/>
              </a:xfrm>
              <a:custGeom>
                <a:avLst/>
                <a:gdLst/>
                <a:ahLst/>
                <a:cxnLst/>
                <a:rect l="l" t="t" r="r" b="b"/>
                <a:pathLst>
                  <a:path w="15534" h="10807" extrusionOk="0">
                    <a:moveTo>
                      <a:pt x="1855" y="1"/>
                    </a:moveTo>
                    <a:cubicBezTo>
                      <a:pt x="1234" y="1"/>
                      <a:pt x="602" y="57"/>
                      <a:pt x="0" y="200"/>
                    </a:cubicBezTo>
                    <a:cubicBezTo>
                      <a:pt x="0" y="200"/>
                      <a:pt x="553" y="2022"/>
                      <a:pt x="2569" y="3874"/>
                    </a:cubicBezTo>
                    <a:lnTo>
                      <a:pt x="1778" y="3874"/>
                    </a:lnTo>
                    <a:cubicBezTo>
                      <a:pt x="1778" y="3874"/>
                      <a:pt x="3898" y="6787"/>
                      <a:pt x="5855" y="8071"/>
                    </a:cubicBezTo>
                    <a:lnTo>
                      <a:pt x="4959" y="7952"/>
                    </a:lnTo>
                    <a:lnTo>
                      <a:pt x="4959" y="7952"/>
                    </a:lnTo>
                    <a:cubicBezTo>
                      <a:pt x="4959" y="7952"/>
                      <a:pt x="7764" y="10807"/>
                      <a:pt x="12135" y="10807"/>
                    </a:cubicBezTo>
                    <a:cubicBezTo>
                      <a:pt x="13101" y="10807"/>
                      <a:pt x="14144" y="10667"/>
                      <a:pt x="15250" y="10326"/>
                    </a:cubicBezTo>
                    <a:cubicBezTo>
                      <a:pt x="15250" y="10326"/>
                      <a:pt x="15533" y="7593"/>
                      <a:pt x="12935" y="3575"/>
                    </a:cubicBezTo>
                    <a:lnTo>
                      <a:pt x="12785" y="4083"/>
                    </a:lnTo>
                    <a:cubicBezTo>
                      <a:pt x="12785" y="4083"/>
                      <a:pt x="9529" y="1096"/>
                      <a:pt x="6004" y="36"/>
                    </a:cubicBezTo>
                    <a:lnTo>
                      <a:pt x="6004" y="36"/>
                    </a:lnTo>
                    <a:lnTo>
                      <a:pt x="6169" y="723"/>
                    </a:lnTo>
                    <a:cubicBezTo>
                      <a:pt x="6169" y="723"/>
                      <a:pt x="4085" y="1"/>
                      <a:pt x="185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11"/>
              <p:cNvSpPr/>
              <p:nvPr/>
            </p:nvSpPr>
            <p:spPr>
              <a:xfrm>
                <a:off x="3688281" y="2611322"/>
                <a:ext cx="602544" cy="1611456"/>
              </a:xfrm>
              <a:custGeom>
                <a:avLst/>
                <a:gdLst/>
                <a:ahLst/>
                <a:cxnLst/>
                <a:rect l="l" t="t" r="r" b="b"/>
                <a:pathLst>
                  <a:path w="19089" h="51052" extrusionOk="0">
                    <a:moveTo>
                      <a:pt x="120" y="1"/>
                    </a:moveTo>
                    <a:lnTo>
                      <a:pt x="0" y="76"/>
                    </a:lnTo>
                    <a:cubicBezTo>
                      <a:pt x="717" y="972"/>
                      <a:pt x="1375" y="1913"/>
                      <a:pt x="2017" y="2854"/>
                    </a:cubicBezTo>
                    <a:cubicBezTo>
                      <a:pt x="2674" y="3795"/>
                      <a:pt x="3286" y="4780"/>
                      <a:pt x="3869" y="5751"/>
                    </a:cubicBezTo>
                    <a:cubicBezTo>
                      <a:pt x="5064" y="7693"/>
                      <a:pt x="6184" y="9694"/>
                      <a:pt x="7229" y="11740"/>
                    </a:cubicBezTo>
                    <a:cubicBezTo>
                      <a:pt x="9291" y="15818"/>
                      <a:pt x="11098" y="20045"/>
                      <a:pt x="12636" y="24361"/>
                    </a:cubicBezTo>
                    <a:cubicBezTo>
                      <a:pt x="12830" y="24884"/>
                      <a:pt x="13010" y="25437"/>
                      <a:pt x="13204" y="25974"/>
                    </a:cubicBezTo>
                    <a:cubicBezTo>
                      <a:pt x="13398" y="26527"/>
                      <a:pt x="13592" y="27065"/>
                      <a:pt x="13756" y="27602"/>
                    </a:cubicBezTo>
                    <a:lnTo>
                      <a:pt x="14279" y="29245"/>
                    </a:lnTo>
                    <a:lnTo>
                      <a:pt x="14772" y="30888"/>
                    </a:lnTo>
                    <a:lnTo>
                      <a:pt x="15011" y="31710"/>
                    </a:lnTo>
                    <a:lnTo>
                      <a:pt x="15250" y="32531"/>
                    </a:lnTo>
                    <a:lnTo>
                      <a:pt x="15698" y="34189"/>
                    </a:lnTo>
                    <a:lnTo>
                      <a:pt x="16116" y="35847"/>
                    </a:lnTo>
                    <a:lnTo>
                      <a:pt x="16325" y="36683"/>
                    </a:lnTo>
                    <a:lnTo>
                      <a:pt x="16505" y="37520"/>
                    </a:lnTo>
                    <a:cubicBezTo>
                      <a:pt x="17535" y="41986"/>
                      <a:pt x="18342" y="46511"/>
                      <a:pt x="18879" y="51052"/>
                    </a:cubicBezTo>
                    <a:lnTo>
                      <a:pt x="19088" y="51022"/>
                    </a:lnTo>
                    <a:cubicBezTo>
                      <a:pt x="18536" y="46466"/>
                      <a:pt x="17729" y="41941"/>
                      <a:pt x="16684" y="37490"/>
                    </a:cubicBezTo>
                    <a:lnTo>
                      <a:pt x="16505" y="36653"/>
                    </a:lnTo>
                    <a:lnTo>
                      <a:pt x="16295" y="35817"/>
                    </a:lnTo>
                    <a:lnTo>
                      <a:pt x="15862" y="34144"/>
                    </a:lnTo>
                    <a:lnTo>
                      <a:pt x="15414" y="32471"/>
                    </a:lnTo>
                    <a:lnTo>
                      <a:pt x="15175" y="31650"/>
                    </a:lnTo>
                    <a:lnTo>
                      <a:pt x="14936" y="30828"/>
                    </a:lnTo>
                    <a:lnTo>
                      <a:pt x="14443" y="29186"/>
                    </a:lnTo>
                    <a:lnTo>
                      <a:pt x="13921" y="27558"/>
                    </a:lnTo>
                    <a:cubicBezTo>
                      <a:pt x="13741" y="27005"/>
                      <a:pt x="13562" y="26452"/>
                      <a:pt x="13368" y="25915"/>
                    </a:cubicBezTo>
                    <a:cubicBezTo>
                      <a:pt x="13189" y="25377"/>
                      <a:pt x="13010" y="24839"/>
                      <a:pt x="12800" y="24302"/>
                    </a:cubicBezTo>
                    <a:cubicBezTo>
                      <a:pt x="11247" y="19985"/>
                      <a:pt x="9425" y="15758"/>
                      <a:pt x="7349" y="11681"/>
                    </a:cubicBezTo>
                    <a:cubicBezTo>
                      <a:pt x="6303" y="9649"/>
                      <a:pt x="5183" y="7648"/>
                      <a:pt x="3988" y="5676"/>
                    </a:cubicBezTo>
                    <a:cubicBezTo>
                      <a:pt x="3391" y="4706"/>
                      <a:pt x="2779" y="3735"/>
                      <a:pt x="2136" y="2779"/>
                    </a:cubicBezTo>
                    <a:cubicBezTo>
                      <a:pt x="1494" y="1838"/>
                      <a:pt x="822" y="897"/>
                      <a:pt x="120" y="1"/>
                    </a:cubicBez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11"/>
              <p:cNvSpPr/>
              <p:nvPr/>
            </p:nvSpPr>
            <p:spPr>
              <a:xfrm>
                <a:off x="3347884" y="3087985"/>
                <a:ext cx="723722" cy="239515"/>
              </a:xfrm>
              <a:custGeom>
                <a:avLst/>
                <a:gdLst/>
                <a:ahLst/>
                <a:cxnLst/>
                <a:rect l="l" t="t" r="r" b="b"/>
                <a:pathLst>
                  <a:path w="22928" h="7588" fill="none" extrusionOk="0">
                    <a:moveTo>
                      <a:pt x="22927" y="7587"/>
                    </a:moveTo>
                    <a:cubicBezTo>
                      <a:pt x="22927" y="7587"/>
                      <a:pt x="11785" y="0"/>
                      <a:pt x="1" y="227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2" name="Google Shape;662;p11"/>
              <p:cNvSpPr/>
              <p:nvPr/>
            </p:nvSpPr>
            <p:spPr>
              <a:xfrm>
                <a:off x="4023470" y="2831962"/>
                <a:ext cx="318270" cy="431430"/>
              </a:xfrm>
              <a:custGeom>
                <a:avLst/>
                <a:gdLst/>
                <a:ahLst/>
                <a:cxnLst/>
                <a:rect l="l" t="t" r="r" b="b"/>
                <a:pathLst>
                  <a:path w="10083" h="13668" extrusionOk="0">
                    <a:moveTo>
                      <a:pt x="9933" y="3376"/>
                    </a:moveTo>
                    <a:cubicBezTo>
                      <a:pt x="9933" y="3376"/>
                      <a:pt x="9933" y="3376"/>
                      <a:pt x="9933" y="3376"/>
                    </a:cubicBezTo>
                    <a:lnTo>
                      <a:pt x="9933" y="3376"/>
                    </a:lnTo>
                    <a:lnTo>
                      <a:pt x="9933" y="3376"/>
                    </a:lnTo>
                    <a:close/>
                    <a:moveTo>
                      <a:pt x="9739" y="1"/>
                    </a:moveTo>
                    <a:lnTo>
                      <a:pt x="9739" y="1"/>
                    </a:lnTo>
                    <a:cubicBezTo>
                      <a:pt x="6976" y="270"/>
                      <a:pt x="4526" y="1987"/>
                      <a:pt x="4526" y="1987"/>
                    </a:cubicBezTo>
                    <a:lnTo>
                      <a:pt x="4467" y="1300"/>
                    </a:lnTo>
                    <a:cubicBezTo>
                      <a:pt x="2420" y="3048"/>
                      <a:pt x="1450" y="5751"/>
                      <a:pt x="1450" y="5751"/>
                    </a:cubicBezTo>
                    <a:lnTo>
                      <a:pt x="1151" y="5333"/>
                    </a:lnTo>
                    <a:lnTo>
                      <a:pt x="1151" y="5333"/>
                    </a:lnTo>
                    <a:cubicBezTo>
                      <a:pt x="1" y="9859"/>
                      <a:pt x="2764" y="13667"/>
                      <a:pt x="2764" y="13667"/>
                    </a:cubicBezTo>
                    <a:cubicBezTo>
                      <a:pt x="6811" y="12174"/>
                      <a:pt x="8798" y="7858"/>
                      <a:pt x="8798" y="7857"/>
                    </a:cubicBezTo>
                    <a:lnTo>
                      <a:pt x="8798" y="7857"/>
                    </a:lnTo>
                    <a:lnTo>
                      <a:pt x="8006" y="8260"/>
                    </a:lnTo>
                    <a:cubicBezTo>
                      <a:pt x="9406" y="6444"/>
                      <a:pt x="9915" y="3397"/>
                      <a:pt x="9933" y="3376"/>
                    </a:cubicBezTo>
                    <a:lnTo>
                      <a:pt x="9933" y="3376"/>
                    </a:lnTo>
                    <a:lnTo>
                      <a:pt x="9395" y="3705"/>
                    </a:lnTo>
                    <a:cubicBezTo>
                      <a:pt x="10082" y="1853"/>
                      <a:pt x="9739" y="1"/>
                      <a:pt x="973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3" name="Google Shape;663;p11"/>
              <p:cNvSpPr/>
              <p:nvPr/>
            </p:nvSpPr>
            <p:spPr>
              <a:xfrm>
                <a:off x="4090893" y="2884296"/>
                <a:ext cx="194756" cy="513436"/>
              </a:xfrm>
              <a:custGeom>
                <a:avLst/>
                <a:gdLst/>
                <a:ahLst/>
                <a:cxnLst/>
                <a:rect l="l" t="t" r="r" b="b"/>
                <a:pathLst>
                  <a:path w="6170" h="16266" fill="none" extrusionOk="0">
                    <a:moveTo>
                      <a:pt x="180" y="16266"/>
                    </a:moveTo>
                    <a:cubicBezTo>
                      <a:pt x="180" y="16266"/>
                      <a:pt x="1" y="6334"/>
                      <a:pt x="616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11"/>
              <p:cNvSpPr/>
              <p:nvPr/>
            </p:nvSpPr>
            <p:spPr>
              <a:xfrm>
                <a:off x="3751443" y="3534914"/>
                <a:ext cx="495065" cy="419625"/>
              </a:xfrm>
              <a:custGeom>
                <a:avLst/>
                <a:gdLst/>
                <a:ahLst/>
                <a:cxnLst/>
                <a:rect l="l" t="t" r="r" b="b"/>
                <a:pathLst>
                  <a:path w="15684" h="13294" fill="none" extrusionOk="0">
                    <a:moveTo>
                      <a:pt x="1" y="0"/>
                    </a:moveTo>
                    <a:cubicBezTo>
                      <a:pt x="1" y="0"/>
                      <a:pt x="13368" y="6781"/>
                      <a:pt x="15683" y="1329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11"/>
              <p:cNvSpPr/>
              <p:nvPr/>
            </p:nvSpPr>
            <p:spPr>
              <a:xfrm>
                <a:off x="4225265" y="3427404"/>
                <a:ext cx="260727" cy="608699"/>
              </a:xfrm>
              <a:custGeom>
                <a:avLst/>
                <a:gdLst/>
                <a:ahLst/>
                <a:cxnLst/>
                <a:rect l="l" t="t" r="r" b="b"/>
                <a:pathLst>
                  <a:path w="8260" h="19284" fill="none" extrusionOk="0">
                    <a:moveTo>
                      <a:pt x="8260" y="1"/>
                    </a:moveTo>
                    <a:cubicBezTo>
                      <a:pt x="8260" y="1"/>
                      <a:pt x="0" y="12502"/>
                      <a:pt x="1180" y="1928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11"/>
              <p:cNvSpPr/>
              <p:nvPr/>
            </p:nvSpPr>
            <p:spPr>
              <a:xfrm>
                <a:off x="3786827" y="3358119"/>
                <a:ext cx="384714" cy="273479"/>
              </a:xfrm>
              <a:custGeom>
                <a:avLst/>
                <a:gdLst/>
                <a:ahLst/>
                <a:cxnLst/>
                <a:rect l="l" t="t" r="r" b="b"/>
                <a:pathLst>
                  <a:path w="12188" h="8664" fill="none" extrusionOk="0">
                    <a:moveTo>
                      <a:pt x="12188" y="8663"/>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11"/>
              <p:cNvSpPr/>
              <p:nvPr/>
            </p:nvSpPr>
            <p:spPr>
              <a:xfrm>
                <a:off x="3934835" y="3380751"/>
                <a:ext cx="22664" cy="98546"/>
              </a:xfrm>
              <a:custGeom>
                <a:avLst/>
                <a:gdLst/>
                <a:ahLst/>
                <a:cxnLst/>
                <a:rect l="l" t="t" r="r" b="b"/>
                <a:pathLst>
                  <a:path w="718" h="3122" fill="none" extrusionOk="0">
                    <a:moveTo>
                      <a:pt x="1" y="0"/>
                    </a:moveTo>
                    <a:lnTo>
                      <a:pt x="718" y="312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11"/>
              <p:cNvSpPr/>
              <p:nvPr/>
            </p:nvSpPr>
            <p:spPr>
              <a:xfrm>
                <a:off x="4149824" y="3259099"/>
                <a:ext cx="148545" cy="298479"/>
              </a:xfrm>
              <a:custGeom>
                <a:avLst/>
                <a:gdLst/>
                <a:ahLst/>
                <a:cxnLst/>
                <a:rect l="l" t="t" r="r" b="b"/>
                <a:pathLst>
                  <a:path w="4706" h="9456" fill="none" extrusionOk="0">
                    <a:moveTo>
                      <a:pt x="1" y="9455"/>
                    </a:moveTo>
                    <a:cubicBezTo>
                      <a:pt x="1" y="9455"/>
                      <a:pt x="2286" y="2420"/>
                      <a:pt x="4705"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11"/>
              <p:cNvSpPr/>
              <p:nvPr/>
            </p:nvSpPr>
            <p:spPr>
              <a:xfrm>
                <a:off x="4182841" y="3523582"/>
                <a:ext cx="68370" cy="149965"/>
              </a:xfrm>
              <a:custGeom>
                <a:avLst/>
                <a:gdLst/>
                <a:ahLst/>
                <a:cxnLst/>
                <a:rect l="l" t="t" r="r" b="b"/>
                <a:pathLst>
                  <a:path w="2166" h="4751" fill="none" extrusionOk="0">
                    <a:moveTo>
                      <a:pt x="0" y="4750"/>
                    </a:moveTo>
                    <a:lnTo>
                      <a:pt x="2166"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11"/>
              <p:cNvSpPr/>
              <p:nvPr/>
            </p:nvSpPr>
            <p:spPr>
              <a:xfrm>
                <a:off x="4212071" y="3533494"/>
                <a:ext cx="11805" cy="50472"/>
              </a:xfrm>
              <a:custGeom>
                <a:avLst/>
                <a:gdLst/>
                <a:ahLst/>
                <a:cxnLst/>
                <a:rect l="l" t="t" r="r" b="b"/>
                <a:pathLst>
                  <a:path w="374" h="1599" fill="none" extrusionOk="0">
                    <a:moveTo>
                      <a:pt x="0" y="0"/>
                    </a:moveTo>
                    <a:lnTo>
                      <a:pt x="374"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11"/>
              <p:cNvSpPr/>
              <p:nvPr/>
            </p:nvSpPr>
            <p:spPr>
              <a:xfrm>
                <a:off x="3668963" y="3201588"/>
                <a:ext cx="138160" cy="48137"/>
              </a:xfrm>
              <a:custGeom>
                <a:avLst/>
                <a:gdLst/>
                <a:ahLst/>
                <a:cxnLst/>
                <a:rect l="l" t="t" r="r" b="b"/>
                <a:pathLst>
                  <a:path w="4377" h="1525" fill="none" extrusionOk="0">
                    <a:moveTo>
                      <a:pt x="4376" y="1"/>
                    </a:moveTo>
                    <a:lnTo>
                      <a:pt x="0"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2" name="Google Shape;672;p11"/>
              <p:cNvSpPr/>
              <p:nvPr/>
            </p:nvSpPr>
            <p:spPr>
              <a:xfrm>
                <a:off x="4101751" y="3068636"/>
                <a:ext cx="28314" cy="98577"/>
              </a:xfrm>
              <a:custGeom>
                <a:avLst/>
                <a:gdLst/>
                <a:ahLst/>
                <a:cxnLst/>
                <a:rect l="l" t="t" r="r" b="b"/>
                <a:pathLst>
                  <a:path w="897" h="3123" fill="none" extrusionOk="0">
                    <a:moveTo>
                      <a:pt x="896" y="312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3" name="Google Shape;673;p11"/>
              <p:cNvSpPr/>
              <p:nvPr/>
            </p:nvSpPr>
            <p:spPr>
              <a:xfrm>
                <a:off x="4178580" y="3003107"/>
                <a:ext cx="91033" cy="35384"/>
              </a:xfrm>
              <a:custGeom>
                <a:avLst/>
                <a:gdLst/>
                <a:ahLst/>
                <a:cxnLst/>
                <a:rect l="l" t="t" r="r" b="b"/>
                <a:pathLst>
                  <a:path w="2884" h="1121" fill="none" extrusionOk="0">
                    <a:moveTo>
                      <a:pt x="2883" y="1"/>
                    </a:moveTo>
                    <a:lnTo>
                      <a:pt x="1" y="112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11"/>
              <p:cNvSpPr/>
              <p:nvPr/>
            </p:nvSpPr>
            <p:spPr>
              <a:xfrm>
                <a:off x="4309638" y="3719727"/>
                <a:ext cx="96210" cy="48105"/>
              </a:xfrm>
              <a:custGeom>
                <a:avLst/>
                <a:gdLst/>
                <a:ahLst/>
                <a:cxnLst/>
                <a:rect l="l" t="t" r="r" b="b"/>
                <a:pathLst>
                  <a:path w="3048" h="1524" fill="none" extrusionOk="0">
                    <a:moveTo>
                      <a:pt x="3048" y="0"/>
                    </a:moveTo>
                    <a:lnTo>
                      <a:pt x="1"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11"/>
              <p:cNvSpPr/>
              <p:nvPr/>
            </p:nvSpPr>
            <p:spPr>
              <a:xfrm>
                <a:off x="4368570" y="3540091"/>
                <a:ext cx="14173" cy="66034"/>
              </a:xfrm>
              <a:custGeom>
                <a:avLst/>
                <a:gdLst/>
                <a:ahLst/>
                <a:cxnLst/>
                <a:rect l="l" t="t" r="r" b="b"/>
                <a:pathLst>
                  <a:path w="449" h="2092" fill="none" extrusionOk="0">
                    <a:moveTo>
                      <a:pt x="1" y="1"/>
                    </a:moveTo>
                    <a:lnTo>
                      <a:pt x="449" y="20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11"/>
              <p:cNvSpPr/>
              <p:nvPr/>
            </p:nvSpPr>
            <p:spPr>
              <a:xfrm>
                <a:off x="3969746" y="3756500"/>
                <a:ext cx="130616" cy="10385"/>
              </a:xfrm>
              <a:custGeom>
                <a:avLst/>
                <a:gdLst/>
                <a:ahLst/>
                <a:cxnLst/>
                <a:rect l="l" t="t" r="r" b="b"/>
                <a:pathLst>
                  <a:path w="4138" h="329" fill="none" extrusionOk="0">
                    <a:moveTo>
                      <a:pt x="4137" y="329"/>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11"/>
              <p:cNvSpPr/>
              <p:nvPr/>
            </p:nvSpPr>
            <p:spPr>
              <a:xfrm>
                <a:off x="3956994" y="3585355"/>
                <a:ext cx="19854" cy="86299"/>
              </a:xfrm>
              <a:custGeom>
                <a:avLst/>
                <a:gdLst/>
                <a:ahLst/>
                <a:cxnLst/>
                <a:rect l="l" t="t" r="r" b="b"/>
                <a:pathLst>
                  <a:path w="629" h="2734" fill="none" extrusionOk="0">
                    <a:moveTo>
                      <a:pt x="1" y="0"/>
                    </a:moveTo>
                    <a:lnTo>
                      <a:pt x="628" y="273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11"/>
              <p:cNvSpPr/>
              <p:nvPr/>
            </p:nvSpPr>
            <p:spPr>
              <a:xfrm>
                <a:off x="3783513" y="2922490"/>
                <a:ext cx="124966" cy="38225"/>
              </a:xfrm>
              <a:custGeom>
                <a:avLst/>
                <a:gdLst/>
                <a:ahLst/>
                <a:cxnLst/>
                <a:rect l="l" t="t" r="r" b="b"/>
                <a:pathLst>
                  <a:path w="3959" h="1211" fill="none" extrusionOk="0">
                    <a:moveTo>
                      <a:pt x="3958" y="1210"/>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11"/>
              <p:cNvSpPr/>
              <p:nvPr/>
            </p:nvSpPr>
            <p:spPr>
              <a:xfrm>
                <a:off x="3824042" y="2697621"/>
                <a:ext cx="32102" cy="111740"/>
              </a:xfrm>
              <a:custGeom>
                <a:avLst/>
                <a:gdLst/>
                <a:ahLst/>
                <a:cxnLst/>
                <a:rect l="l" t="t" r="r" b="b"/>
                <a:pathLst>
                  <a:path w="1017" h="3540" fill="none" extrusionOk="0">
                    <a:moveTo>
                      <a:pt x="1017" y="0"/>
                    </a:moveTo>
                    <a:lnTo>
                      <a:pt x="1" y="354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0" name="Google Shape;680;p11"/>
            <p:cNvGrpSpPr/>
            <p:nvPr/>
          </p:nvGrpSpPr>
          <p:grpSpPr>
            <a:xfrm rot="-622296">
              <a:off x="8469506" y="1550183"/>
              <a:ext cx="1029553" cy="2379330"/>
              <a:chOff x="9249900" y="4641450"/>
              <a:chExt cx="540700" cy="1249575"/>
            </a:xfrm>
          </p:grpSpPr>
          <p:sp>
            <p:nvSpPr>
              <p:cNvPr id="681" name="Google Shape;681;p11"/>
              <p:cNvSpPr/>
              <p:nvPr/>
            </p:nvSpPr>
            <p:spPr>
              <a:xfrm>
                <a:off x="9249900" y="4641450"/>
                <a:ext cx="540700" cy="952775"/>
              </a:xfrm>
              <a:custGeom>
                <a:avLst/>
                <a:gdLst/>
                <a:ahLst/>
                <a:cxnLst/>
                <a:rect l="l" t="t" r="r" b="b"/>
                <a:pathLst>
                  <a:path w="21628" h="38111" extrusionOk="0">
                    <a:moveTo>
                      <a:pt x="9130" y="1"/>
                    </a:moveTo>
                    <a:cubicBezTo>
                      <a:pt x="9104" y="1"/>
                      <a:pt x="9078" y="3"/>
                      <a:pt x="9052" y="7"/>
                    </a:cubicBezTo>
                    <a:cubicBezTo>
                      <a:pt x="7185" y="291"/>
                      <a:pt x="7170" y="6295"/>
                      <a:pt x="7170" y="6295"/>
                    </a:cubicBezTo>
                    <a:cubicBezTo>
                      <a:pt x="7170" y="6295"/>
                      <a:pt x="6717" y="16276"/>
                      <a:pt x="8971" y="16276"/>
                    </a:cubicBezTo>
                    <a:cubicBezTo>
                      <a:pt x="8998" y="16276"/>
                      <a:pt x="9024" y="16275"/>
                      <a:pt x="9052" y="16272"/>
                    </a:cubicBezTo>
                    <a:cubicBezTo>
                      <a:pt x="11396" y="16048"/>
                      <a:pt x="11187" y="13330"/>
                      <a:pt x="10933" y="11717"/>
                    </a:cubicBezTo>
                    <a:cubicBezTo>
                      <a:pt x="10665" y="10118"/>
                      <a:pt x="10172" y="9566"/>
                      <a:pt x="10172" y="9566"/>
                    </a:cubicBezTo>
                    <a:cubicBezTo>
                      <a:pt x="10172" y="9566"/>
                      <a:pt x="10897" y="1"/>
                      <a:pt x="9130" y="1"/>
                    </a:cubicBezTo>
                    <a:close/>
                    <a:moveTo>
                      <a:pt x="15207" y="5963"/>
                    </a:moveTo>
                    <a:cubicBezTo>
                      <a:pt x="14555" y="5963"/>
                      <a:pt x="14249" y="6728"/>
                      <a:pt x="14249" y="6728"/>
                    </a:cubicBezTo>
                    <a:lnTo>
                      <a:pt x="12741" y="12329"/>
                    </a:lnTo>
                    <a:cubicBezTo>
                      <a:pt x="12741" y="12329"/>
                      <a:pt x="12054" y="12628"/>
                      <a:pt x="11710" y="13330"/>
                    </a:cubicBezTo>
                    <a:cubicBezTo>
                      <a:pt x="11113" y="14539"/>
                      <a:pt x="10859" y="16511"/>
                      <a:pt x="12173" y="17332"/>
                    </a:cubicBezTo>
                    <a:cubicBezTo>
                      <a:pt x="12346" y="17440"/>
                      <a:pt x="12512" y="17490"/>
                      <a:pt x="12672" y="17490"/>
                    </a:cubicBezTo>
                    <a:cubicBezTo>
                      <a:pt x="14997" y="17490"/>
                      <a:pt x="15952" y="6833"/>
                      <a:pt x="15952" y="6833"/>
                    </a:cubicBezTo>
                    <a:cubicBezTo>
                      <a:pt x="15952" y="6833"/>
                      <a:pt x="15997" y="6011"/>
                      <a:pt x="15280" y="5966"/>
                    </a:cubicBezTo>
                    <a:cubicBezTo>
                      <a:pt x="15255" y="5964"/>
                      <a:pt x="15231" y="5963"/>
                      <a:pt x="15207" y="5963"/>
                    </a:cubicBezTo>
                    <a:close/>
                    <a:moveTo>
                      <a:pt x="3131" y="9476"/>
                    </a:moveTo>
                    <a:cubicBezTo>
                      <a:pt x="3056" y="9476"/>
                      <a:pt x="2979" y="9486"/>
                      <a:pt x="2898" y="9506"/>
                    </a:cubicBezTo>
                    <a:cubicBezTo>
                      <a:pt x="2151" y="9715"/>
                      <a:pt x="2360" y="10596"/>
                      <a:pt x="2360" y="10596"/>
                    </a:cubicBezTo>
                    <a:cubicBezTo>
                      <a:pt x="2360" y="10596"/>
                      <a:pt x="5407" y="21429"/>
                      <a:pt x="7893" y="21429"/>
                    </a:cubicBezTo>
                    <a:cubicBezTo>
                      <a:pt x="8121" y="21429"/>
                      <a:pt x="8343" y="21339"/>
                      <a:pt x="8559" y="21141"/>
                    </a:cubicBezTo>
                    <a:cubicBezTo>
                      <a:pt x="9813" y="19991"/>
                      <a:pt x="9141" y="17915"/>
                      <a:pt x="8260" y="16735"/>
                    </a:cubicBezTo>
                    <a:cubicBezTo>
                      <a:pt x="7752" y="16063"/>
                      <a:pt x="6931" y="15869"/>
                      <a:pt x="6931" y="15869"/>
                    </a:cubicBezTo>
                    <a:lnTo>
                      <a:pt x="4168" y="10133"/>
                    </a:lnTo>
                    <a:cubicBezTo>
                      <a:pt x="4168" y="10133"/>
                      <a:pt x="3761" y="9476"/>
                      <a:pt x="3131" y="9476"/>
                    </a:cubicBezTo>
                    <a:close/>
                    <a:moveTo>
                      <a:pt x="19253" y="10213"/>
                    </a:moveTo>
                    <a:cubicBezTo>
                      <a:pt x="18477" y="10213"/>
                      <a:pt x="17968" y="11030"/>
                      <a:pt x="17968" y="11030"/>
                    </a:cubicBezTo>
                    <a:lnTo>
                      <a:pt x="14503" y="18288"/>
                    </a:lnTo>
                    <a:cubicBezTo>
                      <a:pt x="14503" y="18288"/>
                      <a:pt x="13487" y="18542"/>
                      <a:pt x="12845" y="19394"/>
                    </a:cubicBezTo>
                    <a:cubicBezTo>
                      <a:pt x="11725" y="20887"/>
                      <a:pt x="10889" y="23531"/>
                      <a:pt x="12487" y="24980"/>
                    </a:cubicBezTo>
                    <a:cubicBezTo>
                      <a:pt x="12756" y="25223"/>
                      <a:pt x="13034" y="25335"/>
                      <a:pt x="13317" y="25335"/>
                    </a:cubicBezTo>
                    <a:cubicBezTo>
                      <a:pt x="16458" y="25335"/>
                      <a:pt x="20253" y="11612"/>
                      <a:pt x="20253" y="11612"/>
                    </a:cubicBezTo>
                    <a:cubicBezTo>
                      <a:pt x="20253" y="11612"/>
                      <a:pt x="20522" y="10507"/>
                      <a:pt x="19551" y="10253"/>
                    </a:cubicBezTo>
                    <a:cubicBezTo>
                      <a:pt x="19448" y="10225"/>
                      <a:pt x="19349" y="10213"/>
                      <a:pt x="19253" y="10213"/>
                    </a:cubicBezTo>
                    <a:close/>
                    <a:moveTo>
                      <a:pt x="1200" y="17758"/>
                    </a:moveTo>
                    <a:cubicBezTo>
                      <a:pt x="1054" y="17758"/>
                      <a:pt x="901" y="17790"/>
                      <a:pt x="747" y="17870"/>
                    </a:cubicBezTo>
                    <a:cubicBezTo>
                      <a:pt x="0" y="18273"/>
                      <a:pt x="434" y="19125"/>
                      <a:pt x="434" y="19125"/>
                    </a:cubicBezTo>
                    <a:cubicBezTo>
                      <a:pt x="434" y="19125"/>
                      <a:pt x="5860" y="29264"/>
                      <a:pt x="8555" y="29264"/>
                    </a:cubicBezTo>
                    <a:cubicBezTo>
                      <a:pt x="8879" y="29264"/>
                      <a:pt x="9164" y="29117"/>
                      <a:pt x="9395" y="28788"/>
                    </a:cubicBezTo>
                    <a:cubicBezTo>
                      <a:pt x="10456" y="27295"/>
                      <a:pt x="9261" y="25248"/>
                      <a:pt x="8051" y="24218"/>
                    </a:cubicBezTo>
                    <a:cubicBezTo>
                      <a:pt x="7349" y="23635"/>
                      <a:pt x="6453" y="23620"/>
                      <a:pt x="6453" y="23620"/>
                    </a:cubicBezTo>
                    <a:lnTo>
                      <a:pt x="2211" y="18229"/>
                    </a:lnTo>
                    <a:cubicBezTo>
                      <a:pt x="2211" y="18229"/>
                      <a:pt x="1759" y="17758"/>
                      <a:pt x="1200" y="17758"/>
                    </a:cubicBezTo>
                    <a:close/>
                    <a:moveTo>
                      <a:pt x="20313" y="20263"/>
                    </a:moveTo>
                    <a:cubicBezTo>
                      <a:pt x="19485" y="20263"/>
                      <a:pt x="18939" y="21141"/>
                      <a:pt x="18939" y="21141"/>
                    </a:cubicBezTo>
                    <a:lnTo>
                      <a:pt x="15295" y="28788"/>
                    </a:lnTo>
                    <a:cubicBezTo>
                      <a:pt x="15295" y="28788"/>
                      <a:pt x="14219" y="29057"/>
                      <a:pt x="13532" y="29953"/>
                    </a:cubicBezTo>
                    <a:cubicBezTo>
                      <a:pt x="12352" y="31536"/>
                      <a:pt x="11456" y="34315"/>
                      <a:pt x="13144" y="35853"/>
                    </a:cubicBezTo>
                    <a:cubicBezTo>
                      <a:pt x="13429" y="36112"/>
                      <a:pt x="13724" y="36231"/>
                      <a:pt x="14025" y="36231"/>
                    </a:cubicBezTo>
                    <a:cubicBezTo>
                      <a:pt x="17341" y="36231"/>
                      <a:pt x="21359" y="21753"/>
                      <a:pt x="21359" y="21753"/>
                    </a:cubicBezTo>
                    <a:cubicBezTo>
                      <a:pt x="21359" y="21753"/>
                      <a:pt x="21628" y="20588"/>
                      <a:pt x="20627" y="20305"/>
                    </a:cubicBezTo>
                    <a:cubicBezTo>
                      <a:pt x="20518" y="20276"/>
                      <a:pt x="20413" y="20263"/>
                      <a:pt x="20313" y="20263"/>
                    </a:cubicBezTo>
                    <a:close/>
                    <a:moveTo>
                      <a:pt x="2898" y="26192"/>
                    </a:moveTo>
                    <a:cubicBezTo>
                      <a:pt x="2758" y="26192"/>
                      <a:pt x="2613" y="26222"/>
                      <a:pt x="2465" y="26294"/>
                    </a:cubicBezTo>
                    <a:cubicBezTo>
                      <a:pt x="1688" y="26667"/>
                      <a:pt x="2091" y="27549"/>
                      <a:pt x="2091" y="27549"/>
                    </a:cubicBezTo>
                    <a:cubicBezTo>
                      <a:pt x="2091" y="27549"/>
                      <a:pt x="7270" y="38111"/>
                      <a:pt x="9987" y="38111"/>
                    </a:cubicBezTo>
                    <a:cubicBezTo>
                      <a:pt x="10299" y="38111"/>
                      <a:pt x="10578" y="37971"/>
                      <a:pt x="10814" y="37660"/>
                    </a:cubicBezTo>
                    <a:cubicBezTo>
                      <a:pt x="11934" y="36167"/>
                      <a:pt x="10799" y="34061"/>
                      <a:pt x="9604" y="32970"/>
                    </a:cubicBezTo>
                    <a:cubicBezTo>
                      <a:pt x="8932" y="32343"/>
                      <a:pt x="8021" y="32298"/>
                      <a:pt x="8021" y="32298"/>
                    </a:cubicBezTo>
                    <a:lnTo>
                      <a:pt x="3944" y="26697"/>
                    </a:lnTo>
                    <a:cubicBezTo>
                      <a:pt x="3944" y="26697"/>
                      <a:pt x="3478" y="26192"/>
                      <a:pt x="2898" y="26192"/>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2" name="Google Shape;682;p11"/>
              <p:cNvSpPr/>
              <p:nvPr/>
            </p:nvSpPr>
            <p:spPr>
              <a:xfrm>
                <a:off x="9470575" y="4731600"/>
                <a:ext cx="141175" cy="1159425"/>
              </a:xfrm>
              <a:custGeom>
                <a:avLst/>
                <a:gdLst/>
                <a:ahLst/>
                <a:cxnLst/>
                <a:rect l="l" t="t" r="r" b="b"/>
                <a:pathLst>
                  <a:path w="5647" h="46377" extrusionOk="0">
                    <a:moveTo>
                      <a:pt x="1" y="0"/>
                    </a:moveTo>
                    <a:cubicBezTo>
                      <a:pt x="523" y="15504"/>
                      <a:pt x="1927" y="31157"/>
                      <a:pt x="5019" y="46376"/>
                    </a:cubicBezTo>
                    <a:lnTo>
                      <a:pt x="5646" y="46242"/>
                    </a:lnTo>
                    <a:cubicBezTo>
                      <a:pt x="2316" y="31052"/>
                      <a:pt x="807" y="15504"/>
                      <a:pt x="1"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3" name="Google Shape;683;p11"/>
              <p:cNvSpPr/>
              <p:nvPr/>
            </p:nvSpPr>
            <p:spPr>
              <a:xfrm>
                <a:off x="9284250" y="4815975"/>
                <a:ext cx="458175" cy="805450"/>
              </a:xfrm>
              <a:custGeom>
                <a:avLst/>
                <a:gdLst/>
                <a:ahLst/>
                <a:cxnLst/>
                <a:rect l="l" t="t" r="r" b="b"/>
                <a:pathLst>
                  <a:path w="18327" h="32218" fill="none" extrusionOk="0">
                    <a:moveTo>
                      <a:pt x="1838" y="4019"/>
                    </a:moveTo>
                    <a:cubicBezTo>
                      <a:pt x="1838" y="4019"/>
                      <a:pt x="7140" y="14489"/>
                      <a:pt x="8962" y="16535"/>
                    </a:cubicBezTo>
                    <a:moveTo>
                      <a:pt x="18327" y="15445"/>
                    </a:moveTo>
                    <a:cubicBezTo>
                      <a:pt x="18327" y="15445"/>
                      <a:pt x="13069" y="27572"/>
                      <a:pt x="10605" y="30604"/>
                    </a:cubicBezTo>
                    <a:moveTo>
                      <a:pt x="2181" y="21270"/>
                    </a:moveTo>
                    <a:cubicBezTo>
                      <a:pt x="2181" y="21270"/>
                      <a:pt x="7797" y="29858"/>
                      <a:pt x="10844" y="32218"/>
                    </a:cubicBezTo>
                    <a:moveTo>
                      <a:pt x="1" y="12159"/>
                    </a:moveTo>
                    <a:cubicBezTo>
                      <a:pt x="1" y="12159"/>
                      <a:pt x="7334" y="22166"/>
                      <a:pt x="9724" y="23898"/>
                    </a:cubicBezTo>
                    <a:moveTo>
                      <a:pt x="17894" y="4407"/>
                    </a:moveTo>
                    <a:cubicBezTo>
                      <a:pt x="17894" y="4407"/>
                      <a:pt x="13010" y="17043"/>
                      <a:pt x="9425" y="21270"/>
                    </a:cubicBezTo>
                    <a:moveTo>
                      <a:pt x="13891" y="1"/>
                    </a:moveTo>
                    <a:cubicBezTo>
                      <a:pt x="13891" y="1"/>
                      <a:pt x="11740" y="11128"/>
                      <a:pt x="8783" y="1462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84" name="Google Shape;684;p11"/>
            <p:cNvSpPr/>
            <p:nvPr/>
          </p:nvSpPr>
          <p:spPr>
            <a:xfrm rot="2700000">
              <a:off x="8465065" y="3968578"/>
              <a:ext cx="345019" cy="240054"/>
            </a:xfrm>
            <a:custGeom>
              <a:avLst/>
              <a:gdLst/>
              <a:ahLst/>
              <a:cxnLst/>
              <a:rect l="l" t="t" r="r" b="b"/>
              <a:pathLst>
                <a:path w="9082" h="6319" fill="none" extrusionOk="0">
                  <a:moveTo>
                    <a:pt x="0" y="0"/>
                  </a:moveTo>
                  <a:cubicBezTo>
                    <a:pt x="0" y="0"/>
                    <a:pt x="4421" y="1867"/>
                    <a:pt x="9081" y="2121"/>
                  </a:cubicBezTo>
                  <a:moveTo>
                    <a:pt x="7438" y="4003"/>
                  </a:moveTo>
                  <a:cubicBezTo>
                    <a:pt x="7438" y="4003"/>
                    <a:pt x="6766" y="5168"/>
                    <a:pt x="6542" y="6318"/>
                  </a:cubicBezTo>
                  <a:moveTo>
                    <a:pt x="6004" y="1748"/>
                  </a:moveTo>
                  <a:cubicBezTo>
                    <a:pt x="6004" y="1748"/>
                    <a:pt x="7005" y="2569"/>
                    <a:pt x="7856" y="5049"/>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685;p11"/>
            <p:cNvSpPr/>
            <p:nvPr/>
          </p:nvSpPr>
          <p:spPr>
            <a:xfrm rot="-5222098">
              <a:off x="4971251" y="187843"/>
              <a:ext cx="179305" cy="389267"/>
            </a:xfrm>
            <a:custGeom>
              <a:avLst/>
              <a:gdLst/>
              <a:ahLst/>
              <a:cxnLst/>
              <a:rect l="l" t="t" r="r" b="b"/>
              <a:pathLst>
                <a:path w="4720" h="10247" fill="none" extrusionOk="0">
                  <a:moveTo>
                    <a:pt x="0" y="10247"/>
                  </a:moveTo>
                  <a:cubicBezTo>
                    <a:pt x="0" y="10247"/>
                    <a:pt x="3928" y="6020"/>
                    <a:pt x="4720" y="5647"/>
                  </a:cubicBezTo>
                  <a:moveTo>
                    <a:pt x="2763" y="2615"/>
                  </a:moveTo>
                  <a:cubicBezTo>
                    <a:pt x="2763" y="2615"/>
                    <a:pt x="3689" y="1390"/>
                    <a:pt x="4436" y="1226"/>
                  </a:cubicBezTo>
                  <a:moveTo>
                    <a:pt x="1359" y="8813"/>
                  </a:moveTo>
                  <a:cubicBezTo>
                    <a:pt x="1359" y="8813"/>
                    <a:pt x="3361" y="3735"/>
                    <a:pt x="262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86" name="Google Shape;686;p11"/>
            <p:cNvGrpSpPr/>
            <p:nvPr/>
          </p:nvGrpSpPr>
          <p:grpSpPr>
            <a:xfrm rot="-807232" flipH="1">
              <a:off x="8552209" y="49152"/>
              <a:ext cx="470610" cy="408065"/>
              <a:chOff x="6855700" y="5304375"/>
              <a:chExt cx="168425" cy="146050"/>
            </a:xfrm>
          </p:grpSpPr>
          <p:sp>
            <p:nvSpPr>
              <p:cNvPr id="687" name="Google Shape;687;p11"/>
              <p:cNvSpPr/>
              <p:nvPr/>
            </p:nvSpPr>
            <p:spPr>
              <a:xfrm>
                <a:off x="6933725" y="5304375"/>
                <a:ext cx="90400" cy="127375"/>
              </a:xfrm>
              <a:custGeom>
                <a:avLst/>
                <a:gdLst/>
                <a:ahLst/>
                <a:cxnLst/>
                <a:rect l="l" t="t" r="r" b="b"/>
                <a:pathLst>
                  <a:path w="3616" h="5095" extrusionOk="0">
                    <a:moveTo>
                      <a:pt x="703" y="1539"/>
                    </a:moveTo>
                    <a:cubicBezTo>
                      <a:pt x="762" y="1539"/>
                      <a:pt x="852" y="1599"/>
                      <a:pt x="852" y="1689"/>
                    </a:cubicBezTo>
                    <a:lnTo>
                      <a:pt x="852" y="1883"/>
                    </a:lnTo>
                    <a:cubicBezTo>
                      <a:pt x="852" y="1980"/>
                      <a:pt x="777" y="2029"/>
                      <a:pt x="703" y="2029"/>
                    </a:cubicBezTo>
                    <a:cubicBezTo>
                      <a:pt x="628" y="2029"/>
                      <a:pt x="553" y="1980"/>
                      <a:pt x="553" y="1883"/>
                    </a:cubicBezTo>
                    <a:lnTo>
                      <a:pt x="553" y="1689"/>
                    </a:lnTo>
                    <a:cubicBezTo>
                      <a:pt x="568" y="1599"/>
                      <a:pt x="613" y="1539"/>
                      <a:pt x="703" y="1539"/>
                    </a:cubicBezTo>
                    <a:close/>
                    <a:moveTo>
                      <a:pt x="2071" y="2155"/>
                    </a:moveTo>
                    <a:cubicBezTo>
                      <a:pt x="2144" y="2155"/>
                      <a:pt x="2219" y="2204"/>
                      <a:pt x="2226" y="2301"/>
                    </a:cubicBezTo>
                    <a:cubicBezTo>
                      <a:pt x="2226" y="2376"/>
                      <a:pt x="2226" y="2436"/>
                      <a:pt x="2241" y="2495"/>
                    </a:cubicBezTo>
                    <a:cubicBezTo>
                      <a:pt x="2241" y="2570"/>
                      <a:pt x="2151" y="2645"/>
                      <a:pt x="2092" y="2645"/>
                    </a:cubicBezTo>
                    <a:cubicBezTo>
                      <a:pt x="2002" y="2645"/>
                      <a:pt x="1942" y="2570"/>
                      <a:pt x="1927" y="2495"/>
                    </a:cubicBezTo>
                    <a:cubicBezTo>
                      <a:pt x="1927" y="2421"/>
                      <a:pt x="1927" y="2376"/>
                      <a:pt x="1927" y="2301"/>
                    </a:cubicBezTo>
                    <a:cubicBezTo>
                      <a:pt x="1927" y="2204"/>
                      <a:pt x="1998" y="2155"/>
                      <a:pt x="2071" y="2155"/>
                    </a:cubicBezTo>
                    <a:close/>
                    <a:moveTo>
                      <a:pt x="538" y="1"/>
                    </a:moveTo>
                    <a:lnTo>
                      <a:pt x="538" y="1"/>
                    </a:lnTo>
                    <a:cubicBezTo>
                      <a:pt x="538" y="1"/>
                      <a:pt x="1" y="1988"/>
                      <a:pt x="807" y="3526"/>
                    </a:cubicBezTo>
                    <a:cubicBezTo>
                      <a:pt x="852" y="3496"/>
                      <a:pt x="912" y="3466"/>
                      <a:pt x="986" y="3466"/>
                    </a:cubicBezTo>
                    <a:cubicBezTo>
                      <a:pt x="1315" y="3466"/>
                      <a:pt x="1375" y="3899"/>
                      <a:pt x="1151" y="4049"/>
                    </a:cubicBezTo>
                    <a:cubicBezTo>
                      <a:pt x="1524" y="4497"/>
                      <a:pt x="2077" y="4885"/>
                      <a:pt x="2853" y="5094"/>
                    </a:cubicBezTo>
                    <a:cubicBezTo>
                      <a:pt x="2853" y="5079"/>
                      <a:pt x="3615" y="3123"/>
                      <a:pt x="2271" y="1375"/>
                    </a:cubicBezTo>
                    <a:cubicBezTo>
                      <a:pt x="2226" y="1420"/>
                      <a:pt x="2151" y="1465"/>
                      <a:pt x="2077" y="1465"/>
                    </a:cubicBezTo>
                    <a:cubicBezTo>
                      <a:pt x="1748" y="1465"/>
                      <a:pt x="1703" y="1091"/>
                      <a:pt x="1868" y="927"/>
                    </a:cubicBezTo>
                    <a:cubicBezTo>
                      <a:pt x="1524" y="598"/>
                      <a:pt x="1076" y="270"/>
                      <a:pt x="53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688;p11"/>
              <p:cNvSpPr/>
              <p:nvPr/>
            </p:nvSpPr>
            <p:spPr>
              <a:xfrm>
                <a:off x="6855700" y="5397900"/>
                <a:ext cx="118375" cy="52525"/>
              </a:xfrm>
              <a:custGeom>
                <a:avLst/>
                <a:gdLst/>
                <a:ahLst/>
                <a:cxnLst/>
                <a:rect l="l" t="t" r="r" b="b"/>
                <a:pathLst>
                  <a:path w="4735" h="2101" extrusionOk="0">
                    <a:moveTo>
                      <a:pt x="2267" y="212"/>
                    </a:moveTo>
                    <a:cubicBezTo>
                      <a:pt x="2317" y="212"/>
                      <a:pt x="2364" y="242"/>
                      <a:pt x="2405" y="293"/>
                    </a:cubicBezTo>
                    <a:cubicBezTo>
                      <a:pt x="2435" y="323"/>
                      <a:pt x="2494" y="367"/>
                      <a:pt x="2524" y="412"/>
                    </a:cubicBezTo>
                    <a:cubicBezTo>
                      <a:pt x="2628" y="528"/>
                      <a:pt x="2526" y="679"/>
                      <a:pt x="2413" y="679"/>
                    </a:cubicBezTo>
                    <a:cubicBezTo>
                      <a:pt x="2380" y="679"/>
                      <a:pt x="2346" y="667"/>
                      <a:pt x="2315" y="636"/>
                    </a:cubicBezTo>
                    <a:cubicBezTo>
                      <a:pt x="2255" y="576"/>
                      <a:pt x="2181" y="502"/>
                      <a:pt x="2151" y="442"/>
                    </a:cubicBezTo>
                    <a:cubicBezTo>
                      <a:pt x="2106" y="367"/>
                      <a:pt x="2136" y="278"/>
                      <a:pt x="2196" y="233"/>
                    </a:cubicBezTo>
                    <a:cubicBezTo>
                      <a:pt x="2220" y="219"/>
                      <a:pt x="2244" y="212"/>
                      <a:pt x="2267" y="212"/>
                    </a:cubicBezTo>
                    <a:close/>
                    <a:moveTo>
                      <a:pt x="2069" y="1"/>
                    </a:moveTo>
                    <a:cubicBezTo>
                      <a:pt x="1464" y="1"/>
                      <a:pt x="769" y="175"/>
                      <a:pt x="0" y="651"/>
                    </a:cubicBezTo>
                    <a:cubicBezTo>
                      <a:pt x="0" y="651"/>
                      <a:pt x="1061" y="1712"/>
                      <a:pt x="2345" y="2010"/>
                    </a:cubicBezTo>
                    <a:cubicBezTo>
                      <a:pt x="2360" y="1876"/>
                      <a:pt x="2465" y="1771"/>
                      <a:pt x="2629" y="1771"/>
                    </a:cubicBezTo>
                    <a:cubicBezTo>
                      <a:pt x="2838" y="1771"/>
                      <a:pt x="2928" y="1936"/>
                      <a:pt x="2928" y="2100"/>
                    </a:cubicBezTo>
                    <a:cubicBezTo>
                      <a:pt x="2949" y="2100"/>
                      <a:pt x="2970" y="2101"/>
                      <a:pt x="2991" y="2101"/>
                    </a:cubicBezTo>
                    <a:cubicBezTo>
                      <a:pt x="3570" y="2101"/>
                      <a:pt x="4187" y="1900"/>
                      <a:pt x="4735" y="1338"/>
                    </a:cubicBezTo>
                    <a:cubicBezTo>
                      <a:pt x="4735" y="1338"/>
                      <a:pt x="3744" y="1"/>
                      <a:pt x="206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689;p11"/>
              <p:cNvSpPr/>
              <p:nvPr/>
            </p:nvSpPr>
            <p:spPr>
              <a:xfrm>
                <a:off x="6881450" y="5340975"/>
                <a:ext cx="135575" cy="109050"/>
              </a:xfrm>
              <a:custGeom>
                <a:avLst/>
                <a:gdLst/>
                <a:ahLst/>
                <a:cxnLst/>
                <a:rect l="l" t="t" r="r" b="b"/>
                <a:pathLst>
                  <a:path w="5423" h="4362" fill="none" extrusionOk="0">
                    <a:moveTo>
                      <a:pt x="1" y="3033"/>
                    </a:moveTo>
                    <a:cubicBezTo>
                      <a:pt x="1" y="3033"/>
                      <a:pt x="4840" y="3854"/>
                      <a:pt x="5169" y="3839"/>
                    </a:cubicBezTo>
                    <a:moveTo>
                      <a:pt x="5422" y="4362"/>
                    </a:moveTo>
                    <a:cubicBezTo>
                      <a:pt x="5422" y="4362"/>
                      <a:pt x="3570" y="1196"/>
                      <a:pt x="3197" y="1"/>
                    </a:cubicBezTo>
                    <a:moveTo>
                      <a:pt x="2883" y="942"/>
                    </a:moveTo>
                    <a:lnTo>
                      <a:pt x="3779" y="1315"/>
                    </a:lnTo>
                    <a:moveTo>
                      <a:pt x="4556" y="1166"/>
                    </a:moveTo>
                    <a:lnTo>
                      <a:pt x="4467" y="2644"/>
                    </a:lnTo>
                    <a:moveTo>
                      <a:pt x="1106" y="3212"/>
                    </a:moveTo>
                    <a:lnTo>
                      <a:pt x="494" y="3436"/>
                    </a:lnTo>
                    <a:moveTo>
                      <a:pt x="1898" y="2988"/>
                    </a:moveTo>
                    <a:lnTo>
                      <a:pt x="2211" y="3033"/>
                    </a:lnTo>
                    <a:moveTo>
                      <a:pt x="2092" y="2809"/>
                    </a:moveTo>
                    <a:lnTo>
                      <a:pt x="2465" y="345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0" name="Google Shape;690;p11"/>
            <p:cNvGrpSpPr/>
            <p:nvPr/>
          </p:nvGrpSpPr>
          <p:grpSpPr>
            <a:xfrm rot="-2301188">
              <a:off x="8509029" y="453592"/>
              <a:ext cx="1204027" cy="1209279"/>
              <a:chOff x="10706150" y="7143750"/>
              <a:chExt cx="510075" cy="512300"/>
            </a:xfrm>
          </p:grpSpPr>
          <p:sp>
            <p:nvSpPr>
              <p:cNvPr id="691" name="Google Shape;691;p11"/>
              <p:cNvSpPr/>
              <p:nvPr/>
            </p:nvSpPr>
            <p:spPr>
              <a:xfrm>
                <a:off x="10706150" y="7143750"/>
                <a:ext cx="510075" cy="449950"/>
              </a:xfrm>
              <a:custGeom>
                <a:avLst/>
                <a:gdLst/>
                <a:ahLst/>
                <a:cxnLst/>
                <a:rect l="l" t="t" r="r" b="b"/>
                <a:pathLst>
                  <a:path w="20403" h="17998" extrusionOk="0">
                    <a:moveTo>
                      <a:pt x="10156" y="0"/>
                    </a:moveTo>
                    <a:cubicBezTo>
                      <a:pt x="10156" y="0"/>
                      <a:pt x="9783" y="2255"/>
                      <a:pt x="9051" y="2479"/>
                    </a:cubicBezTo>
                    <a:cubicBezTo>
                      <a:pt x="8947" y="2510"/>
                      <a:pt x="8847" y="2523"/>
                      <a:pt x="8753" y="2523"/>
                    </a:cubicBezTo>
                    <a:cubicBezTo>
                      <a:pt x="8201" y="2523"/>
                      <a:pt x="7842" y="2076"/>
                      <a:pt x="7841" y="2076"/>
                    </a:cubicBezTo>
                    <a:lnTo>
                      <a:pt x="7841" y="2076"/>
                    </a:lnTo>
                    <a:cubicBezTo>
                      <a:pt x="7842" y="2077"/>
                      <a:pt x="8737" y="4003"/>
                      <a:pt x="8439" y="4376"/>
                    </a:cubicBezTo>
                    <a:cubicBezTo>
                      <a:pt x="8371" y="4465"/>
                      <a:pt x="8289" y="4499"/>
                      <a:pt x="8202" y="4499"/>
                    </a:cubicBezTo>
                    <a:cubicBezTo>
                      <a:pt x="7911" y="4499"/>
                      <a:pt x="7573" y="4108"/>
                      <a:pt x="7573" y="4107"/>
                    </a:cubicBezTo>
                    <a:lnTo>
                      <a:pt x="7573" y="4107"/>
                    </a:lnTo>
                    <a:cubicBezTo>
                      <a:pt x="7573" y="4108"/>
                      <a:pt x="7916" y="5123"/>
                      <a:pt x="7363" y="5900"/>
                    </a:cubicBezTo>
                    <a:cubicBezTo>
                      <a:pt x="6826" y="6706"/>
                      <a:pt x="6333" y="6721"/>
                      <a:pt x="6333" y="6721"/>
                    </a:cubicBezTo>
                    <a:cubicBezTo>
                      <a:pt x="6333" y="6721"/>
                      <a:pt x="9798" y="7662"/>
                      <a:pt x="7916" y="10082"/>
                    </a:cubicBezTo>
                    <a:cubicBezTo>
                      <a:pt x="7580" y="10513"/>
                      <a:pt x="7291" y="10691"/>
                      <a:pt x="7041" y="10691"/>
                    </a:cubicBezTo>
                    <a:cubicBezTo>
                      <a:pt x="5893" y="10691"/>
                      <a:pt x="5601" y="6930"/>
                      <a:pt x="5601" y="6930"/>
                    </a:cubicBezTo>
                    <a:cubicBezTo>
                      <a:pt x="5601" y="6930"/>
                      <a:pt x="5278" y="8514"/>
                      <a:pt x="3936" y="8514"/>
                    </a:cubicBezTo>
                    <a:cubicBezTo>
                      <a:pt x="3923" y="8514"/>
                      <a:pt x="3911" y="8514"/>
                      <a:pt x="3898" y="8513"/>
                    </a:cubicBezTo>
                    <a:cubicBezTo>
                      <a:pt x="2524" y="8484"/>
                      <a:pt x="1643" y="7931"/>
                      <a:pt x="1643" y="7931"/>
                    </a:cubicBezTo>
                    <a:lnTo>
                      <a:pt x="1643" y="7931"/>
                    </a:lnTo>
                    <a:cubicBezTo>
                      <a:pt x="1643" y="7931"/>
                      <a:pt x="2494" y="8887"/>
                      <a:pt x="1703" y="8991"/>
                    </a:cubicBezTo>
                    <a:cubicBezTo>
                      <a:pt x="1612" y="9003"/>
                      <a:pt x="1520" y="9009"/>
                      <a:pt x="1427" y="9009"/>
                    </a:cubicBezTo>
                    <a:cubicBezTo>
                      <a:pt x="714" y="9009"/>
                      <a:pt x="0" y="8693"/>
                      <a:pt x="0" y="8693"/>
                    </a:cubicBezTo>
                    <a:lnTo>
                      <a:pt x="0" y="8693"/>
                    </a:lnTo>
                    <a:cubicBezTo>
                      <a:pt x="0" y="8693"/>
                      <a:pt x="1255" y="9843"/>
                      <a:pt x="1120" y="10560"/>
                    </a:cubicBezTo>
                    <a:cubicBezTo>
                      <a:pt x="1054" y="10948"/>
                      <a:pt x="764" y="11035"/>
                      <a:pt x="518" y="11035"/>
                    </a:cubicBezTo>
                    <a:cubicBezTo>
                      <a:pt x="320" y="11035"/>
                      <a:pt x="150" y="10978"/>
                      <a:pt x="149" y="10978"/>
                    </a:cubicBezTo>
                    <a:lnTo>
                      <a:pt x="149" y="10978"/>
                    </a:lnTo>
                    <a:cubicBezTo>
                      <a:pt x="150" y="10978"/>
                      <a:pt x="1987" y="11874"/>
                      <a:pt x="1942" y="13084"/>
                    </a:cubicBezTo>
                    <a:cubicBezTo>
                      <a:pt x="1897" y="14294"/>
                      <a:pt x="1240" y="14428"/>
                      <a:pt x="1240" y="14428"/>
                    </a:cubicBezTo>
                    <a:cubicBezTo>
                      <a:pt x="1240" y="14428"/>
                      <a:pt x="2463" y="14307"/>
                      <a:pt x="3385" y="14307"/>
                    </a:cubicBezTo>
                    <a:cubicBezTo>
                      <a:pt x="3760" y="14307"/>
                      <a:pt x="4084" y="14327"/>
                      <a:pt x="4257" y="14383"/>
                    </a:cubicBezTo>
                    <a:cubicBezTo>
                      <a:pt x="4839" y="14577"/>
                      <a:pt x="4645" y="15011"/>
                      <a:pt x="4645" y="15011"/>
                    </a:cubicBezTo>
                    <a:cubicBezTo>
                      <a:pt x="4645" y="15011"/>
                      <a:pt x="4747" y="15009"/>
                      <a:pt x="4915" y="15009"/>
                    </a:cubicBezTo>
                    <a:cubicBezTo>
                      <a:pt x="5639" y="15009"/>
                      <a:pt x="7580" y="15039"/>
                      <a:pt x="7677" y="15354"/>
                    </a:cubicBezTo>
                    <a:cubicBezTo>
                      <a:pt x="7797" y="15742"/>
                      <a:pt x="7005" y="15996"/>
                      <a:pt x="7005" y="15996"/>
                    </a:cubicBezTo>
                    <a:cubicBezTo>
                      <a:pt x="7005" y="15996"/>
                      <a:pt x="9529" y="16504"/>
                      <a:pt x="10186" y="17998"/>
                    </a:cubicBezTo>
                    <a:lnTo>
                      <a:pt x="10246" y="17998"/>
                    </a:lnTo>
                    <a:cubicBezTo>
                      <a:pt x="10903" y="16489"/>
                      <a:pt x="13427" y="15996"/>
                      <a:pt x="13427" y="15996"/>
                    </a:cubicBezTo>
                    <a:cubicBezTo>
                      <a:pt x="13427" y="15996"/>
                      <a:pt x="12636" y="15742"/>
                      <a:pt x="12755" y="15354"/>
                    </a:cubicBezTo>
                    <a:cubicBezTo>
                      <a:pt x="12864" y="15039"/>
                      <a:pt x="14798" y="15009"/>
                      <a:pt x="15519" y="15009"/>
                    </a:cubicBezTo>
                    <a:cubicBezTo>
                      <a:pt x="15685" y="15009"/>
                      <a:pt x="15787" y="15011"/>
                      <a:pt x="15787" y="15011"/>
                    </a:cubicBezTo>
                    <a:cubicBezTo>
                      <a:pt x="15787" y="15011"/>
                      <a:pt x="15593" y="14577"/>
                      <a:pt x="16176" y="14383"/>
                    </a:cubicBezTo>
                    <a:cubicBezTo>
                      <a:pt x="16348" y="14327"/>
                      <a:pt x="16673" y="14307"/>
                      <a:pt x="17047" y="14307"/>
                    </a:cubicBezTo>
                    <a:cubicBezTo>
                      <a:pt x="17969" y="14307"/>
                      <a:pt x="19193" y="14428"/>
                      <a:pt x="19193" y="14428"/>
                    </a:cubicBezTo>
                    <a:cubicBezTo>
                      <a:pt x="19193" y="14428"/>
                      <a:pt x="18520" y="14294"/>
                      <a:pt x="18476" y="13084"/>
                    </a:cubicBezTo>
                    <a:cubicBezTo>
                      <a:pt x="18431" y="11874"/>
                      <a:pt x="20282" y="10978"/>
                      <a:pt x="20283" y="10978"/>
                    </a:cubicBezTo>
                    <a:lnTo>
                      <a:pt x="20283" y="10978"/>
                    </a:lnTo>
                    <a:cubicBezTo>
                      <a:pt x="20283" y="10978"/>
                      <a:pt x="20116" y="11035"/>
                      <a:pt x="19919" y="11035"/>
                    </a:cubicBezTo>
                    <a:cubicBezTo>
                      <a:pt x="19675" y="11035"/>
                      <a:pt x="19386" y="10948"/>
                      <a:pt x="19312" y="10560"/>
                    </a:cubicBezTo>
                    <a:cubicBezTo>
                      <a:pt x="19148" y="9843"/>
                      <a:pt x="20402" y="8693"/>
                      <a:pt x="20402" y="8693"/>
                    </a:cubicBezTo>
                    <a:lnTo>
                      <a:pt x="20402" y="8693"/>
                    </a:lnTo>
                    <a:cubicBezTo>
                      <a:pt x="20402" y="8693"/>
                      <a:pt x="19670" y="9005"/>
                      <a:pt x="18948" y="9005"/>
                    </a:cubicBezTo>
                    <a:cubicBezTo>
                      <a:pt x="18865" y="9005"/>
                      <a:pt x="18782" y="9001"/>
                      <a:pt x="18700" y="8991"/>
                    </a:cubicBezTo>
                    <a:cubicBezTo>
                      <a:pt x="17908" y="8887"/>
                      <a:pt x="18759" y="7931"/>
                      <a:pt x="18759" y="7931"/>
                    </a:cubicBezTo>
                    <a:lnTo>
                      <a:pt x="18759" y="7931"/>
                    </a:lnTo>
                    <a:cubicBezTo>
                      <a:pt x="18759" y="7931"/>
                      <a:pt x="17878" y="8484"/>
                      <a:pt x="16504" y="8513"/>
                    </a:cubicBezTo>
                    <a:cubicBezTo>
                      <a:pt x="16492" y="8514"/>
                      <a:pt x="16479" y="8514"/>
                      <a:pt x="16467" y="8514"/>
                    </a:cubicBezTo>
                    <a:cubicBezTo>
                      <a:pt x="15124" y="8514"/>
                      <a:pt x="14801" y="6930"/>
                      <a:pt x="14801" y="6930"/>
                    </a:cubicBezTo>
                    <a:cubicBezTo>
                      <a:pt x="14801" y="6930"/>
                      <a:pt x="14509" y="10696"/>
                      <a:pt x="13363" y="10696"/>
                    </a:cubicBezTo>
                    <a:cubicBezTo>
                      <a:pt x="13113" y="10696"/>
                      <a:pt x="12823" y="10517"/>
                      <a:pt x="12486" y="10082"/>
                    </a:cubicBezTo>
                    <a:cubicBezTo>
                      <a:pt x="10604" y="7677"/>
                      <a:pt x="14085" y="6721"/>
                      <a:pt x="14085" y="6721"/>
                    </a:cubicBezTo>
                    <a:cubicBezTo>
                      <a:pt x="14085" y="6721"/>
                      <a:pt x="13577" y="6706"/>
                      <a:pt x="13039" y="5900"/>
                    </a:cubicBezTo>
                    <a:cubicBezTo>
                      <a:pt x="12486" y="5108"/>
                      <a:pt x="12830" y="4108"/>
                      <a:pt x="12830" y="4107"/>
                    </a:cubicBezTo>
                    <a:lnTo>
                      <a:pt x="12830" y="4107"/>
                    </a:lnTo>
                    <a:cubicBezTo>
                      <a:pt x="12830" y="4108"/>
                      <a:pt x="12494" y="4505"/>
                      <a:pt x="12203" y="4505"/>
                    </a:cubicBezTo>
                    <a:cubicBezTo>
                      <a:pt x="12116" y="4505"/>
                      <a:pt x="12033" y="4469"/>
                      <a:pt x="11964" y="4376"/>
                    </a:cubicBezTo>
                    <a:cubicBezTo>
                      <a:pt x="11665" y="4003"/>
                      <a:pt x="12576" y="2077"/>
                      <a:pt x="12576" y="2076"/>
                    </a:cubicBezTo>
                    <a:lnTo>
                      <a:pt x="12576" y="2076"/>
                    </a:lnTo>
                    <a:cubicBezTo>
                      <a:pt x="12576" y="2076"/>
                      <a:pt x="12205" y="2523"/>
                      <a:pt x="11651" y="2523"/>
                    </a:cubicBezTo>
                    <a:cubicBezTo>
                      <a:pt x="11556" y="2523"/>
                      <a:pt x="11456" y="2510"/>
                      <a:pt x="11351" y="2479"/>
                    </a:cubicBezTo>
                    <a:cubicBezTo>
                      <a:pt x="10619" y="2255"/>
                      <a:pt x="10246" y="0"/>
                      <a:pt x="10246"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2" name="Google Shape;692;p11"/>
              <p:cNvSpPr/>
              <p:nvPr/>
            </p:nvSpPr>
            <p:spPr>
              <a:xfrm>
                <a:off x="10955575" y="7144100"/>
                <a:ext cx="12350" cy="511950"/>
              </a:xfrm>
              <a:custGeom>
                <a:avLst/>
                <a:gdLst/>
                <a:ahLst/>
                <a:cxnLst/>
                <a:rect l="l" t="t" r="r" b="b"/>
                <a:pathLst>
                  <a:path w="494" h="20478" extrusionOk="0">
                    <a:moveTo>
                      <a:pt x="60" y="1"/>
                    </a:moveTo>
                    <a:lnTo>
                      <a:pt x="0" y="20478"/>
                    </a:lnTo>
                    <a:lnTo>
                      <a:pt x="493" y="20478"/>
                    </a:lnTo>
                    <a:lnTo>
                      <a:pt x="35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3" name="Google Shape;693;p11"/>
              <p:cNvSpPr/>
              <p:nvPr/>
            </p:nvSpPr>
            <p:spPr>
              <a:xfrm>
                <a:off x="10781575" y="7277775"/>
                <a:ext cx="366325" cy="244975"/>
              </a:xfrm>
              <a:custGeom>
                <a:avLst/>
                <a:gdLst/>
                <a:ahLst/>
                <a:cxnLst/>
                <a:rect l="l" t="t" r="r" b="b"/>
                <a:pathLst>
                  <a:path w="14653" h="9799" fill="none" extrusionOk="0">
                    <a:moveTo>
                      <a:pt x="7184" y="7902"/>
                    </a:moveTo>
                    <a:cubicBezTo>
                      <a:pt x="7184" y="7902"/>
                      <a:pt x="3405" y="5856"/>
                      <a:pt x="0" y="5751"/>
                    </a:cubicBezTo>
                    <a:moveTo>
                      <a:pt x="7184" y="8694"/>
                    </a:moveTo>
                    <a:cubicBezTo>
                      <a:pt x="7184" y="8694"/>
                      <a:pt x="11232" y="6364"/>
                      <a:pt x="14652" y="5751"/>
                    </a:cubicBezTo>
                    <a:moveTo>
                      <a:pt x="11262" y="5453"/>
                    </a:moveTo>
                    <a:lnTo>
                      <a:pt x="11262" y="6125"/>
                    </a:lnTo>
                    <a:moveTo>
                      <a:pt x="9738" y="7394"/>
                    </a:moveTo>
                    <a:lnTo>
                      <a:pt x="12606" y="4990"/>
                    </a:lnTo>
                    <a:moveTo>
                      <a:pt x="12935" y="6169"/>
                    </a:moveTo>
                    <a:lnTo>
                      <a:pt x="13935" y="6543"/>
                    </a:lnTo>
                    <a:moveTo>
                      <a:pt x="7184" y="2271"/>
                    </a:moveTo>
                    <a:lnTo>
                      <a:pt x="9096" y="643"/>
                    </a:lnTo>
                    <a:moveTo>
                      <a:pt x="6154" y="2749"/>
                    </a:moveTo>
                    <a:lnTo>
                      <a:pt x="7184" y="3675"/>
                    </a:lnTo>
                    <a:moveTo>
                      <a:pt x="7184" y="5781"/>
                    </a:moveTo>
                    <a:lnTo>
                      <a:pt x="8289" y="4885"/>
                    </a:lnTo>
                    <a:moveTo>
                      <a:pt x="5735" y="643"/>
                    </a:moveTo>
                    <a:lnTo>
                      <a:pt x="6393" y="583"/>
                    </a:lnTo>
                    <a:moveTo>
                      <a:pt x="5616" y="1"/>
                    </a:moveTo>
                    <a:lnTo>
                      <a:pt x="7184" y="1181"/>
                    </a:lnTo>
                    <a:moveTo>
                      <a:pt x="8394" y="419"/>
                    </a:moveTo>
                    <a:lnTo>
                      <a:pt x="8200" y="1405"/>
                    </a:lnTo>
                    <a:moveTo>
                      <a:pt x="4824" y="8694"/>
                    </a:moveTo>
                    <a:lnTo>
                      <a:pt x="7184" y="9799"/>
                    </a:lnTo>
                    <a:moveTo>
                      <a:pt x="3585" y="7992"/>
                    </a:moveTo>
                    <a:lnTo>
                      <a:pt x="4272" y="7394"/>
                    </a:lnTo>
                    <a:moveTo>
                      <a:pt x="6154" y="7394"/>
                    </a:moveTo>
                    <a:lnTo>
                      <a:pt x="2913" y="7394"/>
                    </a:lnTo>
                    <a:moveTo>
                      <a:pt x="672" y="6543"/>
                    </a:moveTo>
                    <a:lnTo>
                      <a:pt x="1897" y="597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94" name="Google Shape;694;p11"/>
            <p:cNvSpPr/>
            <p:nvPr/>
          </p:nvSpPr>
          <p:spPr>
            <a:xfrm rot="-8679528">
              <a:off x="1122156" y="4822390"/>
              <a:ext cx="170993" cy="109762"/>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95" name="Google Shape;695;p11"/>
            <p:cNvGrpSpPr/>
            <p:nvPr/>
          </p:nvGrpSpPr>
          <p:grpSpPr>
            <a:xfrm>
              <a:off x="-903299" y="265087"/>
              <a:ext cx="2009474" cy="5108747"/>
              <a:chOff x="-903299" y="265087"/>
              <a:chExt cx="2009474" cy="5108747"/>
            </a:xfrm>
          </p:grpSpPr>
          <p:grpSp>
            <p:nvGrpSpPr>
              <p:cNvPr id="696" name="Google Shape;696;p11"/>
              <p:cNvGrpSpPr/>
              <p:nvPr/>
            </p:nvGrpSpPr>
            <p:grpSpPr>
              <a:xfrm rot="-783310" flipH="1">
                <a:off x="469017" y="295169"/>
                <a:ext cx="286326" cy="174629"/>
                <a:chOff x="8227451" y="796881"/>
                <a:chExt cx="286312" cy="174621"/>
              </a:xfrm>
            </p:grpSpPr>
            <p:sp>
              <p:nvSpPr>
                <p:cNvPr id="697" name="Google Shape;697;p11"/>
                <p:cNvSpPr/>
                <p:nvPr/>
              </p:nvSpPr>
              <p:spPr>
                <a:xfrm>
                  <a:off x="8351049" y="796881"/>
                  <a:ext cx="162715" cy="174621"/>
                </a:xfrm>
                <a:custGeom>
                  <a:avLst/>
                  <a:gdLst/>
                  <a:ahLst/>
                  <a:cxnLst/>
                  <a:rect l="l" t="t" r="r" b="b"/>
                  <a:pathLst>
                    <a:path w="1435" h="1540" extrusionOk="0">
                      <a:moveTo>
                        <a:pt x="210" y="1"/>
                      </a:moveTo>
                      <a:lnTo>
                        <a:pt x="210" y="1"/>
                      </a:lnTo>
                      <a:cubicBezTo>
                        <a:pt x="1" y="1315"/>
                        <a:pt x="1046" y="1539"/>
                        <a:pt x="1046" y="1539"/>
                      </a:cubicBezTo>
                      <a:cubicBezTo>
                        <a:pt x="1434" y="509"/>
                        <a:pt x="210" y="1"/>
                        <a:pt x="210"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11"/>
                <p:cNvSpPr/>
                <p:nvPr/>
              </p:nvSpPr>
              <p:spPr>
                <a:xfrm>
                  <a:off x="8227451" y="805385"/>
                  <a:ext cx="123708" cy="132213"/>
                </a:xfrm>
                <a:custGeom>
                  <a:avLst/>
                  <a:gdLst/>
                  <a:ahLst/>
                  <a:cxnLst/>
                  <a:rect l="l" t="t" r="r" b="b"/>
                  <a:pathLst>
                    <a:path w="1091" h="1166" extrusionOk="0">
                      <a:moveTo>
                        <a:pt x="1031" y="1"/>
                      </a:moveTo>
                      <a:cubicBezTo>
                        <a:pt x="0" y="314"/>
                        <a:pt x="194" y="1166"/>
                        <a:pt x="194" y="1166"/>
                      </a:cubicBezTo>
                      <a:cubicBezTo>
                        <a:pt x="1090" y="1076"/>
                        <a:pt x="1031" y="1"/>
                        <a:pt x="1031"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9" name="Google Shape;699;p11"/>
              <p:cNvGrpSpPr/>
              <p:nvPr/>
            </p:nvGrpSpPr>
            <p:grpSpPr>
              <a:xfrm rot="-6299946">
                <a:off x="-156669" y="4296346"/>
                <a:ext cx="827967" cy="1076593"/>
                <a:chOff x="7054700" y="8340850"/>
                <a:chExt cx="411525" cy="535100"/>
              </a:xfrm>
            </p:grpSpPr>
            <p:sp>
              <p:nvSpPr>
                <p:cNvPr id="700" name="Google Shape;700;p11"/>
                <p:cNvSpPr/>
                <p:nvPr/>
              </p:nvSpPr>
              <p:spPr>
                <a:xfrm>
                  <a:off x="7224975" y="8340850"/>
                  <a:ext cx="101600" cy="243850"/>
                </a:xfrm>
                <a:custGeom>
                  <a:avLst/>
                  <a:gdLst/>
                  <a:ahLst/>
                  <a:cxnLst/>
                  <a:rect l="l" t="t" r="r" b="b"/>
                  <a:pathLst>
                    <a:path w="4064" h="9754" fill="none" extrusionOk="0">
                      <a:moveTo>
                        <a:pt x="1" y="9753"/>
                      </a:moveTo>
                      <a:cubicBezTo>
                        <a:pt x="1" y="9753"/>
                        <a:pt x="3107" y="3690"/>
                        <a:pt x="4063" y="0"/>
                      </a:cubicBezTo>
                      <a:moveTo>
                        <a:pt x="3555" y="9753"/>
                      </a:moveTo>
                      <a:cubicBezTo>
                        <a:pt x="3555" y="9753"/>
                        <a:pt x="2465" y="7050"/>
                        <a:pt x="2420" y="4496"/>
                      </a:cubicBezTo>
                    </a:path>
                  </a:pathLst>
                </a:custGeom>
                <a:noFill/>
                <a:ln w="156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701;p11"/>
                <p:cNvSpPr/>
                <p:nvPr/>
              </p:nvSpPr>
              <p:spPr>
                <a:xfrm>
                  <a:off x="7054700" y="8573950"/>
                  <a:ext cx="252825" cy="194075"/>
                </a:xfrm>
                <a:custGeom>
                  <a:avLst/>
                  <a:gdLst/>
                  <a:ahLst/>
                  <a:cxnLst/>
                  <a:rect l="l" t="t" r="r" b="b"/>
                  <a:pathLst>
                    <a:path w="10113" h="7763" extrusionOk="0">
                      <a:moveTo>
                        <a:pt x="6465" y="0"/>
                      </a:moveTo>
                      <a:cubicBezTo>
                        <a:pt x="6295" y="0"/>
                        <a:pt x="6122" y="87"/>
                        <a:pt x="6020" y="250"/>
                      </a:cubicBezTo>
                      <a:cubicBezTo>
                        <a:pt x="5632" y="848"/>
                        <a:pt x="5497" y="1490"/>
                        <a:pt x="5452" y="1998"/>
                      </a:cubicBezTo>
                      <a:cubicBezTo>
                        <a:pt x="5044" y="1913"/>
                        <a:pt x="4502" y="1830"/>
                        <a:pt x="3931" y="1830"/>
                      </a:cubicBezTo>
                      <a:cubicBezTo>
                        <a:pt x="2791" y="1830"/>
                        <a:pt x="1539" y="2162"/>
                        <a:pt x="1031" y="3476"/>
                      </a:cubicBezTo>
                      <a:cubicBezTo>
                        <a:pt x="1" y="6135"/>
                        <a:pt x="4497" y="7106"/>
                        <a:pt x="4497" y="7106"/>
                      </a:cubicBezTo>
                      <a:cubicBezTo>
                        <a:pt x="4497" y="7106"/>
                        <a:pt x="5916" y="7762"/>
                        <a:pt x="7253" y="7762"/>
                      </a:cubicBezTo>
                      <a:cubicBezTo>
                        <a:pt x="8206" y="7762"/>
                        <a:pt x="9117" y="7428"/>
                        <a:pt x="9440" y="6284"/>
                      </a:cubicBezTo>
                      <a:cubicBezTo>
                        <a:pt x="10112" y="4014"/>
                        <a:pt x="7379" y="2670"/>
                        <a:pt x="6453" y="2296"/>
                      </a:cubicBezTo>
                      <a:cubicBezTo>
                        <a:pt x="6722" y="1848"/>
                        <a:pt x="7080" y="1490"/>
                        <a:pt x="7379" y="1236"/>
                      </a:cubicBezTo>
                      <a:cubicBezTo>
                        <a:pt x="7678" y="982"/>
                        <a:pt x="7603" y="519"/>
                        <a:pt x="7275" y="355"/>
                      </a:cubicBezTo>
                      <a:lnTo>
                        <a:pt x="6692" y="56"/>
                      </a:lnTo>
                      <a:cubicBezTo>
                        <a:pt x="6622" y="18"/>
                        <a:pt x="6543" y="0"/>
                        <a:pt x="646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2" name="Google Shape;702;p11"/>
                <p:cNvSpPr/>
                <p:nvPr/>
              </p:nvSpPr>
              <p:spPr>
                <a:xfrm>
                  <a:off x="7065175" y="8679500"/>
                  <a:ext cx="190450" cy="186150"/>
                </a:xfrm>
                <a:custGeom>
                  <a:avLst/>
                  <a:gdLst/>
                  <a:ahLst/>
                  <a:cxnLst/>
                  <a:rect l="l" t="t" r="r" b="b"/>
                  <a:pathLst>
                    <a:path w="7618" h="7446" extrusionOk="0">
                      <a:moveTo>
                        <a:pt x="2208" y="0"/>
                      </a:moveTo>
                      <a:cubicBezTo>
                        <a:pt x="1980" y="0"/>
                        <a:pt x="1759" y="147"/>
                        <a:pt x="1688" y="389"/>
                      </a:cubicBezTo>
                      <a:lnTo>
                        <a:pt x="538" y="3840"/>
                      </a:lnTo>
                      <a:cubicBezTo>
                        <a:pt x="0" y="5438"/>
                        <a:pt x="1673" y="7021"/>
                        <a:pt x="2599" y="7335"/>
                      </a:cubicBezTo>
                      <a:cubicBezTo>
                        <a:pt x="2659" y="7365"/>
                        <a:pt x="2733" y="7379"/>
                        <a:pt x="2793" y="7379"/>
                      </a:cubicBezTo>
                      <a:cubicBezTo>
                        <a:pt x="2986" y="7422"/>
                        <a:pt x="3215" y="7445"/>
                        <a:pt x="3464" y="7445"/>
                      </a:cubicBezTo>
                      <a:cubicBezTo>
                        <a:pt x="4179" y="7445"/>
                        <a:pt x="5055" y="7251"/>
                        <a:pt x="5676" y="6752"/>
                      </a:cubicBezTo>
                      <a:lnTo>
                        <a:pt x="5691" y="6737"/>
                      </a:lnTo>
                      <a:lnTo>
                        <a:pt x="5706" y="6737"/>
                      </a:lnTo>
                      <a:lnTo>
                        <a:pt x="5721" y="6722"/>
                      </a:lnTo>
                      <a:lnTo>
                        <a:pt x="5735" y="6707"/>
                      </a:lnTo>
                      <a:lnTo>
                        <a:pt x="5750" y="6692"/>
                      </a:lnTo>
                      <a:lnTo>
                        <a:pt x="5765" y="6677"/>
                      </a:lnTo>
                      <a:lnTo>
                        <a:pt x="5780" y="6677"/>
                      </a:lnTo>
                      <a:lnTo>
                        <a:pt x="5795" y="6663"/>
                      </a:lnTo>
                      <a:lnTo>
                        <a:pt x="5795" y="6648"/>
                      </a:lnTo>
                      <a:lnTo>
                        <a:pt x="5810" y="6633"/>
                      </a:lnTo>
                      <a:lnTo>
                        <a:pt x="5825" y="6618"/>
                      </a:lnTo>
                      <a:lnTo>
                        <a:pt x="5840" y="6603"/>
                      </a:lnTo>
                      <a:lnTo>
                        <a:pt x="5855" y="6603"/>
                      </a:lnTo>
                      <a:cubicBezTo>
                        <a:pt x="6079" y="6379"/>
                        <a:pt x="6258" y="6110"/>
                        <a:pt x="6378" y="5811"/>
                      </a:cubicBezTo>
                      <a:lnTo>
                        <a:pt x="7528" y="2361"/>
                      </a:lnTo>
                      <a:cubicBezTo>
                        <a:pt x="7617" y="2122"/>
                        <a:pt x="7513" y="1853"/>
                        <a:pt x="7304" y="1704"/>
                      </a:cubicBezTo>
                      <a:cubicBezTo>
                        <a:pt x="7289" y="1674"/>
                        <a:pt x="7244" y="1659"/>
                        <a:pt x="7214" y="1644"/>
                      </a:cubicBezTo>
                      <a:cubicBezTo>
                        <a:pt x="6004" y="808"/>
                        <a:pt x="4615" y="285"/>
                        <a:pt x="3181" y="91"/>
                      </a:cubicBezTo>
                      <a:cubicBezTo>
                        <a:pt x="2868" y="46"/>
                        <a:pt x="2569" y="16"/>
                        <a:pt x="2241" y="1"/>
                      </a:cubicBezTo>
                      <a:cubicBezTo>
                        <a:pt x="2230" y="0"/>
                        <a:pt x="2219" y="0"/>
                        <a:pt x="220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3" name="Google Shape;703;p11"/>
                <p:cNvSpPr/>
                <p:nvPr/>
              </p:nvSpPr>
              <p:spPr>
                <a:xfrm>
                  <a:off x="7064800" y="8679875"/>
                  <a:ext cx="79550" cy="184500"/>
                </a:xfrm>
                <a:custGeom>
                  <a:avLst/>
                  <a:gdLst/>
                  <a:ahLst/>
                  <a:cxnLst/>
                  <a:rect l="l" t="t" r="r" b="b"/>
                  <a:pathLst>
                    <a:path w="3182" h="7380" extrusionOk="0">
                      <a:moveTo>
                        <a:pt x="2223" y="0"/>
                      </a:moveTo>
                      <a:cubicBezTo>
                        <a:pt x="1982" y="0"/>
                        <a:pt x="1759" y="161"/>
                        <a:pt x="1688" y="389"/>
                      </a:cubicBezTo>
                      <a:lnTo>
                        <a:pt x="538" y="3825"/>
                      </a:lnTo>
                      <a:cubicBezTo>
                        <a:pt x="0" y="5438"/>
                        <a:pt x="1688" y="7021"/>
                        <a:pt x="2599" y="7335"/>
                      </a:cubicBezTo>
                      <a:cubicBezTo>
                        <a:pt x="2659" y="7364"/>
                        <a:pt x="2733" y="7364"/>
                        <a:pt x="2793" y="7379"/>
                      </a:cubicBezTo>
                      <a:cubicBezTo>
                        <a:pt x="1688" y="4616"/>
                        <a:pt x="2554" y="1629"/>
                        <a:pt x="3182" y="91"/>
                      </a:cubicBezTo>
                      <a:cubicBezTo>
                        <a:pt x="2868" y="46"/>
                        <a:pt x="2569" y="16"/>
                        <a:pt x="2256" y="1"/>
                      </a:cubicBezTo>
                      <a:cubicBezTo>
                        <a:pt x="2245" y="0"/>
                        <a:pt x="2234" y="0"/>
                        <a:pt x="222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11"/>
                <p:cNvSpPr/>
                <p:nvPr/>
              </p:nvSpPr>
              <p:spPr>
                <a:xfrm>
                  <a:off x="7220125" y="8580850"/>
                  <a:ext cx="246100" cy="190825"/>
                </a:xfrm>
                <a:custGeom>
                  <a:avLst/>
                  <a:gdLst/>
                  <a:ahLst/>
                  <a:cxnLst/>
                  <a:rect l="l" t="t" r="r" b="b"/>
                  <a:pathLst>
                    <a:path w="9844" h="7633" extrusionOk="0">
                      <a:moveTo>
                        <a:pt x="4066" y="0"/>
                      </a:moveTo>
                      <a:cubicBezTo>
                        <a:pt x="4046" y="0"/>
                        <a:pt x="4025" y="2"/>
                        <a:pt x="4003" y="4"/>
                      </a:cubicBezTo>
                      <a:lnTo>
                        <a:pt x="3361" y="49"/>
                      </a:lnTo>
                      <a:cubicBezTo>
                        <a:pt x="3092" y="79"/>
                        <a:pt x="2883" y="318"/>
                        <a:pt x="2883" y="587"/>
                      </a:cubicBezTo>
                      <a:cubicBezTo>
                        <a:pt x="2883" y="1304"/>
                        <a:pt x="3107" y="1916"/>
                        <a:pt x="3346" y="2364"/>
                      </a:cubicBezTo>
                      <a:cubicBezTo>
                        <a:pt x="2181" y="2797"/>
                        <a:pt x="0" y="3902"/>
                        <a:pt x="419" y="5964"/>
                      </a:cubicBezTo>
                      <a:cubicBezTo>
                        <a:pt x="671" y="7283"/>
                        <a:pt x="1762" y="7633"/>
                        <a:pt x="2847" y="7633"/>
                      </a:cubicBezTo>
                      <a:cubicBezTo>
                        <a:pt x="4071" y="7633"/>
                        <a:pt x="5288" y="7188"/>
                        <a:pt x="5288" y="7188"/>
                      </a:cubicBezTo>
                      <a:cubicBezTo>
                        <a:pt x="5288" y="7188"/>
                        <a:pt x="9843" y="6576"/>
                        <a:pt x="9022" y="3843"/>
                      </a:cubicBezTo>
                      <a:cubicBezTo>
                        <a:pt x="8564" y="2286"/>
                        <a:pt x="7004" y="1949"/>
                        <a:pt x="5754" y="1949"/>
                      </a:cubicBezTo>
                      <a:cubicBezTo>
                        <a:pt x="5169" y="1949"/>
                        <a:pt x="4652" y="2023"/>
                        <a:pt x="4347" y="2080"/>
                      </a:cubicBezTo>
                      <a:cubicBezTo>
                        <a:pt x="4332" y="1557"/>
                        <a:pt x="4451" y="1065"/>
                        <a:pt x="4571" y="691"/>
                      </a:cubicBezTo>
                      <a:cubicBezTo>
                        <a:pt x="4669" y="339"/>
                        <a:pt x="4409" y="0"/>
                        <a:pt x="406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11"/>
                <p:cNvSpPr/>
                <p:nvPr/>
              </p:nvSpPr>
              <p:spPr>
                <a:xfrm>
                  <a:off x="7266800" y="8692100"/>
                  <a:ext cx="174400" cy="183850"/>
                </a:xfrm>
                <a:custGeom>
                  <a:avLst/>
                  <a:gdLst/>
                  <a:ahLst/>
                  <a:cxnLst/>
                  <a:rect l="l" t="t" r="r" b="b"/>
                  <a:pathLst>
                    <a:path w="6976" h="7354" extrusionOk="0">
                      <a:moveTo>
                        <a:pt x="5102" y="1"/>
                      </a:moveTo>
                      <a:cubicBezTo>
                        <a:pt x="3724" y="1"/>
                        <a:pt x="2379" y="298"/>
                        <a:pt x="1151" y="856"/>
                      </a:cubicBezTo>
                      <a:cubicBezTo>
                        <a:pt x="882" y="976"/>
                        <a:pt x="598" y="1140"/>
                        <a:pt x="329" y="1289"/>
                      </a:cubicBezTo>
                      <a:cubicBezTo>
                        <a:pt x="105" y="1409"/>
                        <a:pt x="0" y="1663"/>
                        <a:pt x="60" y="1917"/>
                      </a:cubicBezTo>
                      <a:lnTo>
                        <a:pt x="912" y="5442"/>
                      </a:lnTo>
                      <a:cubicBezTo>
                        <a:pt x="1249" y="6815"/>
                        <a:pt x="2901" y="7354"/>
                        <a:pt x="3984" y="7354"/>
                      </a:cubicBezTo>
                      <a:cubicBezTo>
                        <a:pt x="4196" y="7354"/>
                        <a:pt x="4387" y="7333"/>
                        <a:pt x="4541" y="7294"/>
                      </a:cubicBezTo>
                      <a:cubicBezTo>
                        <a:pt x="4601" y="7279"/>
                        <a:pt x="4660" y="7264"/>
                        <a:pt x="4735" y="7234"/>
                      </a:cubicBezTo>
                      <a:cubicBezTo>
                        <a:pt x="5452" y="6980"/>
                        <a:pt x="6483" y="6173"/>
                        <a:pt x="6826" y="5158"/>
                      </a:cubicBezTo>
                      <a:lnTo>
                        <a:pt x="6841" y="5143"/>
                      </a:lnTo>
                      <a:lnTo>
                        <a:pt x="6841" y="5113"/>
                      </a:lnTo>
                      <a:lnTo>
                        <a:pt x="6856" y="5098"/>
                      </a:lnTo>
                      <a:lnTo>
                        <a:pt x="6856" y="5083"/>
                      </a:lnTo>
                      <a:lnTo>
                        <a:pt x="6856" y="5068"/>
                      </a:lnTo>
                      <a:lnTo>
                        <a:pt x="6871" y="5053"/>
                      </a:lnTo>
                      <a:lnTo>
                        <a:pt x="6871" y="5038"/>
                      </a:lnTo>
                      <a:lnTo>
                        <a:pt x="6871" y="5008"/>
                      </a:lnTo>
                      <a:lnTo>
                        <a:pt x="6886" y="4994"/>
                      </a:lnTo>
                      <a:lnTo>
                        <a:pt x="6886" y="4979"/>
                      </a:lnTo>
                      <a:lnTo>
                        <a:pt x="6886" y="4964"/>
                      </a:lnTo>
                      <a:lnTo>
                        <a:pt x="6886" y="4949"/>
                      </a:lnTo>
                      <a:cubicBezTo>
                        <a:pt x="6961" y="4635"/>
                        <a:pt x="6975" y="4307"/>
                        <a:pt x="6901" y="3978"/>
                      </a:cubicBezTo>
                      <a:lnTo>
                        <a:pt x="6035" y="453"/>
                      </a:lnTo>
                      <a:cubicBezTo>
                        <a:pt x="5975" y="199"/>
                        <a:pt x="5766" y="20"/>
                        <a:pt x="5497" y="5"/>
                      </a:cubicBezTo>
                      <a:lnTo>
                        <a:pt x="5392" y="5"/>
                      </a:lnTo>
                      <a:cubicBezTo>
                        <a:pt x="5295" y="2"/>
                        <a:pt x="5199" y="1"/>
                        <a:pt x="510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11"/>
                <p:cNvSpPr/>
                <p:nvPr/>
              </p:nvSpPr>
              <p:spPr>
                <a:xfrm>
                  <a:off x="7266800" y="8713500"/>
                  <a:ext cx="118400" cy="162450"/>
                </a:xfrm>
                <a:custGeom>
                  <a:avLst/>
                  <a:gdLst/>
                  <a:ahLst/>
                  <a:cxnLst/>
                  <a:rect l="l" t="t" r="r" b="b"/>
                  <a:pathLst>
                    <a:path w="4736" h="6498" extrusionOk="0">
                      <a:moveTo>
                        <a:pt x="1151" y="0"/>
                      </a:moveTo>
                      <a:cubicBezTo>
                        <a:pt x="882" y="120"/>
                        <a:pt x="598" y="269"/>
                        <a:pt x="329" y="433"/>
                      </a:cubicBezTo>
                      <a:cubicBezTo>
                        <a:pt x="105" y="553"/>
                        <a:pt x="0" y="807"/>
                        <a:pt x="60" y="1061"/>
                      </a:cubicBezTo>
                      <a:lnTo>
                        <a:pt x="912" y="4586"/>
                      </a:lnTo>
                      <a:cubicBezTo>
                        <a:pt x="1249" y="5959"/>
                        <a:pt x="2901" y="6498"/>
                        <a:pt x="3984" y="6498"/>
                      </a:cubicBezTo>
                      <a:cubicBezTo>
                        <a:pt x="4196" y="6498"/>
                        <a:pt x="4387" y="6477"/>
                        <a:pt x="4541" y="6438"/>
                      </a:cubicBezTo>
                      <a:cubicBezTo>
                        <a:pt x="4601" y="6423"/>
                        <a:pt x="4660" y="6408"/>
                        <a:pt x="4735" y="6378"/>
                      </a:cubicBezTo>
                      <a:cubicBezTo>
                        <a:pt x="2316" y="4645"/>
                        <a:pt x="1449" y="1658"/>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11"/>
                <p:cNvSpPr/>
                <p:nvPr/>
              </p:nvSpPr>
              <p:spPr>
                <a:xfrm>
                  <a:off x="7292575" y="8422250"/>
                  <a:ext cx="159825" cy="136675"/>
                </a:xfrm>
                <a:custGeom>
                  <a:avLst/>
                  <a:gdLst/>
                  <a:ahLst/>
                  <a:cxnLst/>
                  <a:rect l="l" t="t" r="r" b="b"/>
                  <a:pathLst>
                    <a:path w="6393" h="5467" extrusionOk="0">
                      <a:moveTo>
                        <a:pt x="1090" y="0"/>
                      </a:moveTo>
                      <a:cubicBezTo>
                        <a:pt x="1090" y="1"/>
                        <a:pt x="0" y="4541"/>
                        <a:pt x="5422" y="5467"/>
                      </a:cubicBezTo>
                      <a:lnTo>
                        <a:pt x="5437" y="5467"/>
                      </a:lnTo>
                      <a:cubicBezTo>
                        <a:pt x="5437" y="5467"/>
                        <a:pt x="6393" y="1479"/>
                        <a:pt x="10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11"/>
                <p:cNvSpPr/>
                <p:nvPr/>
              </p:nvSpPr>
              <p:spPr>
                <a:xfrm>
                  <a:off x="7306375" y="8404700"/>
                  <a:ext cx="97850" cy="124000"/>
                </a:xfrm>
                <a:custGeom>
                  <a:avLst/>
                  <a:gdLst/>
                  <a:ahLst/>
                  <a:cxnLst/>
                  <a:rect l="l" t="t" r="r" b="b"/>
                  <a:pathLst>
                    <a:path w="3914" h="4960" fill="none" extrusionOk="0">
                      <a:moveTo>
                        <a:pt x="1" y="0"/>
                      </a:moveTo>
                      <a:lnTo>
                        <a:pt x="3914" y="495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11"/>
                <p:cNvSpPr/>
                <p:nvPr/>
              </p:nvSpPr>
              <p:spPr>
                <a:xfrm>
                  <a:off x="7104375" y="8455100"/>
                  <a:ext cx="188200" cy="154625"/>
                </a:xfrm>
                <a:custGeom>
                  <a:avLst/>
                  <a:gdLst/>
                  <a:ahLst/>
                  <a:cxnLst/>
                  <a:rect l="l" t="t" r="r" b="b"/>
                  <a:pathLst>
                    <a:path w="7528" h="6185" extrusionOk="0">
                      <a:moveTo>
                        <a:pt x="6796" y="1"/>
                      </a:moveTo>
                      <a:lnTo>
                        <a:pt x="6796" y="1"/>
                      </a:lnTo>
                      <a:cubicBezTo>
                        <a:pt x="0" y="1091"/>
                        <a:pt x="643" y="6184"/>
                        <a:pt x="643" y="6184"/>
                      </a:cubicBezTo>
                      <a:lnTo>
                        <a:pt x="673" y="6184"/>
                      </a:lnTo>
                      <a:cubicBezTo>
                        <a:pt x="7528" y="5796"/>
                        <a:pt x="6796" y="1"/>
                        <a:pt x="67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11"/>
                <p:cNvSpPr/>
                <p:nvPr/>
              </p:nvSpPr>
              <p:spPr>
                <a:xfrm>
                  <a:off x="7154775" y="8435700"/>
                  <a:ext cx="138925" cy="140025"/>
                </a:xfrm>
                <a:custGeom>
                  <a:avLst/>
                  <a:gdLst/>
                  <a:ahLst/>
                  <a:cxnLst/>
                  <a:rect l="l" t="t" r="r" b="b"/>
                  <a:pathLst>
                    <a:path w="5557" h="5601" fill="none" extrusionOk="0">
                      <a:moveTo>
                        <a:pt x="5557" y="0"/>
                      </a:moveTo>
                      <a:lnTo>
                        <a:pt x="1" y="560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1" name="Google Shape;711;p11"/>
              <p:cNvGrpSpPr/>
              <p:nvPr/>
            </p:nvGrpSpPr>
            <p:grpSpPr>
              <a:xfrm rot="1730371">
                <a:off x="-695611" y="2936290"/>
                <a:ext cx="1594097" cy="1271020"/>
                <a:chOff x="12004800" y="5638575"/>
                <a:chExt cx="810675" cy="646375"/>
              </a:xfrm>
            </p:grpSpPr>
            <p:grpSp>
              <p:nvGrpSpPr>
                <p:cNvPr id="712" name="Google Shape;712;p11"/>
                <p:cNvGrpSpPr/>
                <p:nvPr/>
              </p:nvGrpSpPr>
              <p:grpSpPr>
                <a:xfrm>
                  <a:off x="12004800" y="5638575"/>
                  <a:ext cx="810675" cy="646375"/>
                  <a:chOff x="12004800" y="5638575"/>
                  <a:chExt cx="810675" cy="646375"/>
                </a:xfrm>
              </p:grpSpPr>
              <p:sp>
                <p:nvSpPr>
                  <p:cNvPr id="713" name="Google Shape;713;p11"/>
                  <p:cNvSpPr/>
                  <p:nvPr/>
                </p:nvSpPr>
                <p:spPr>
                  <a:xfrm>
                    <a:off x="12004800" y="5638950"/>
                    <a:ext cx="587750" cy="461350"/>
                  </a:xfrm>
                  <a:custGeom>
                    <a:avLst/>
                    <a:gdLst/>
                    <a:ahLst/>
                    <a:cxnLst/>
                    <a:rect l="l" t="t" r="r" b="b"/>
                    <a:pathLst>
                      <a:path w="23510" h="18454" extrusionOk="0">
                        <a:moveTo>
                          <a:pt x="23510" y="1"/>
                        </a:moveTo>
                        <a:cubicBezTo>
                          <a:pt x="23092" y="598"/>
                          <a:pt x="20702" y="3077"/>
                          <a:pt x="20702" y="3077"/>
                        </a:cubicBezTo>
                        <a:lnTo>
                          <a:pt x="20478" y="2599"/>
                        </a:lnTo>
                        <a:cubicBezTo>
                          <a:pt x="19880" y="3481"/>
                          <a:pt x="18521" y="4810"/>
                          <a:pt x="18521" y="4810"/>
                        </a:cubicBezTo>
                        <a:lnTo>
                          <a:pt x="18222" y="4332"/>
                        </a:lnTo>
                        <a:cubicBezTo>
                          <a:pt x="17595" y="4840"/>
                          <a:pt x="16565" y="6647"/>
                          <a:pt x="16565" y="6647"/>
                        </a:cubicBezTo>
                        <a:lnTo>
                          <a:pt x="16176" y="6124"/>
                        </a:lnTo>
                        <a:cubicBezTo>
                          <a:pt x="15566" y="7129"/>
                          <a:pt x="15497" y="8268"/>
                          <a:pt x="15490" y="8468"/>
                        </a:cubicBezTo>
                        <a:lnTo>
                          <a:pt x="15490" y="8468"/>
                        </a:lnTo>
                        <a:cubicBezTo>
                          <a:pt x="15519" y="7158"/>
                          <a:pt x="14578" y="5452"/>
                          <a:pt x="14578" y="5452"/>
                        </a:cubicBezTo>
                        <a:lnTo>
                          <a:pt x="14399" y="6020"/>
                        </a:lnTo>
                        <a:cubicBezTo>
                          <a:pt x="13936" y="4974"/>
                          <a:pt x="12562" y="3690"/>
                          <a:pt x="12562" y="3690"/>
                        </a:cubicBezTo>
                        <a:lnTo>
                          <a:pt x="12383" y="4123"/>
                        </a:lnTo>
                        <a:cubicBezTo>
                          <a:pt x="11979" y="3481"/>
                          <a:pt x="10560" y="1957"/>
                          <a:pt x="10560" y="1957"/>
                        </a:cubicBezTo>
                        <a:lnTo>
                          <a:pt x="10531" y="2495"/>
                        </a:lnTo>
                        <a:cubicBezTo>
                          <a:pt x="9709" y="1763"/>
                          <a:pt x="7424" y="61"/>
                          <a:pt x="7424" y="60"/>
                        </a:cubicBezTo>
                        <a:lnTo>
                          <a:pt x="7424" y="60"/>
                        </a:lnTo>
                        <a:cubicBezTo>
                          <a:pt x="7767" y="777"/>
                          <a:pt x="7917" y="3062"/>
                          <a:pt x="7917" y="3062"/>
                        </a:cubicBezTo>
                        <a:lnTo>
                          <a:pt x="7469" y="3062"/>
                        </a:lnTo>
                        <a:cubicBezTo>
                          <a:pt x="7842" y="3944"/>
                          <a:pt x="8260" y="5721"/>
                          <a:pt x="8260" y="5721"/>
                        </a:cubicBezTo>
                        <a:lnTo>
                          <a:pt x="7723" y="5661"/>
                        </a:lnTo>
                        <a:lnTo>
                          <a:pt x="7723" y="5661"/>
                        </a:lnTo>
                        <a:cubicBezTo>
                          <a:pt x="7887" y="6617"/>
                          <a:pt x="8768" y="8141"/>
                          <a:pt x="8768" y="8141"/>
                        </a:cubicBezTo>
                        <a:lnTo>
                          <a:pt x="8051" y="8141"/>
                        </a:lnTo>
                        <a:cubicBezTo>
                          <a:pt x="8678" y="9365"/>
                          <a:pt x="10112" y="10500"/>
                          <a:pt x="10112" y="10500"/>
                        </a:cubicBezTo>
                        <a:cubicBezTo>
                          <a:pt x="9052" y="9813"/>
                          <a:pt x="6752" y="9679"/>
                          <a:pt x="6752" y="9679"/>
                        </a:cubicBezTo>
                        <a:lnTo>
                          <a:pt x="6752" y="9679"/>
                        </a:lnTo>
                        <a:lnTo>
                          <a:pt x="6841" y="10187"/>
                        </a:lnTo>
                        <a:cubicBezTo>
                          <a:pt x="6162" y="10086"/>
                          <a:pt x="5549" y="10057"/>
                          <a:pt x="5067" y="10057"/>
                        </a:cubicBezTo>
                        <a:cubicBezTo>
                          <a:pt x="4404" y="10057"/>
                          <a:pt x="3989" y="10112"/>
                          <a:pt x="3989" y="10112"/>
                        </a:cubicBezTo>
                        <a:lnTo>
                          <a:pt x="4317" y="10485"/>
                        </a:lnTo>
                        <a:cubicBezTo>
                          <a:pt x="3033" y="10530"/>
                          <a:pt x="1" y="11307"/>
                          <a:pt x="1" y="11307"/>
                        </a:cubicBezTo>
                        <a:cubicBezTo>
                          <a:pt x="1793" y="12756"/>
                          <a:pt x="3839" y="13921"/>
                          <a:pt x="3839" y="13921"/>
                        </a:cubicBezTo>
                        <a:lnTo>
                          <a:pt x="3436" y="14175"/>
                        </a:lnTo>
                        <a:cubicBezTo>
                          <a:pt x="4482" y="14712"/>
                          <a:pt x="6767" y="16505"/>
                          <a:pt x="6767" y="16505"/>
                        </a:cubicBezTo>
                        <a:lnTo>
                          <a:pt x="6423" y="16788"/>
                        </a:lnTo>
                        <a:cubicBezTo>
                          <a:pt x="7648" y="17640"/>
                          <a:pt x="10277" y="17983"/>
                          <a:pt x="10277" y="17983"/>
                        </a:cubicBezTo>
                        <a:lnTo>
                          <a:pt x="10067" y="18431"/>
                        </a:lnTo>
                        <a:cubicBezTo>
                          <a:pt x="10308" y="18447"/>
                          <a:pt x="10537" y="18454"/>
                          <a:pt x="10755" y="18454"/>
                        </a:cubicBezTo>
                        <a:cubicBezTo>
                          <a:pt x="13074" y="18454"/>
                          <a:pt x="14085" y="17655"/>
                          <a:pt x="14085" y="17655"/>
                        </a:cubicBezTo>
                        <a:lnTo>
                          <a:pt x="23510"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714;p11"/>
                  <p:cNvSpPr/>
                  <p:nvPr/>
                </p:nvSpPr>
                <p:spPr>
                  <a:xfrm>
                    <a:off x="12354300" y="5638575"/>
                    <a:ext cx="461175" cy="646375"/>
                  </a:xfrm>
                  <a:custGeom>
                    <a:avLst/>
                    <a:gdLst/>
                    <a:ahLst/>
                    <a:cxnLst/>
                    <a:rect l="l" t="t" r="r" b="b"/>
                    <a:pathLst>
                      <a:path w="18447" h="25855" extrusionOk="0">
                        <a:moveTo>
                          <a:pt x="9545" y="1"/>
                        </a:moveTo>
                        <a:lnTo>
                          <a:pt x="105" y="17670"/>
                        </a:lnTo>
                        <a:cubicBezTo>
                          <a:pt x="105" y="17670"/>
                          <a:pt x="1" y="19208"/>
                          <a:pt x="1688" y="21434"/>
                        </a:cubicBezTo>
                        <a:lnTo>
                          <a:pt x="1957" y="21015"/>
                        </a:lnTo>
                        <a:cubicBezTo>
                          <a:pt x="1957" y="21015"/>
                          <a:pt x="3705" y="23017"/>
                          <a:pt x="5079" y="23554"/>
                        </a:cubicBezTo>
                        <a:lnTo>
                          <a:pt x="5124" y="23106"/>
                        </a:lnTo>
                        <a:cubicBezTo>
                          <a:pt x="5124" y="23106"/>
                          <a:pt x="7872" y="24017"/>
                          <a:pt x="8917" y="24585"/>
                        </a:cubicBezTo>
                        <a:lnTo>
                          <a:pt x="8902" y="24107"/>
                        </a:lnTo>
                        <a:lnTo>
                          <a:pt x="8902" y="24107"/>
                        </a:lnTo>
                        <a:cubicBezTo>
                          <a:pt x="8903" y="24107"/>
                          <a:pt x="11023" y="25153"/>
                          <a:pt x="13219" y="25855"/>
                        </a:cubicBezTo>
                        <a:cubicBezTo>
                          <a:pt x="13219" y="25855"/>
                          <a:pt x="12173" y="22897"/>
                          <a:pt x="11501" y="21792"/>
                        </a:cubicBezTo>
                        <a:lnTo>
                          <a:pt x="11501" y="21792"/>
                        </a:lnTo>
                        <a:lnTo>
                          <a:pt x="11994" y="21852"/>
                        </a:lnTo>
                        <a:cubicBezTo>
                          <a:pt x="11994" y="21852"/>
                          <a:pt x="11441" y="20717"/>
                          <a:pt x="10351" y="19522"/>
                        </a:cubicBezTo>
                        <a:lnTo>
                          <a:pt x="10814" y="19313"/>
                        </a:lnTo>
                        <a:cubicBezTo>
                          <a:pt x="10814" y="19313"/>
                          <a:pt x="9410" y="17461"/>
                          <a:pt x="8260" y="16983"/>
                        </a:cubicBezTo>
                        <a:lnTo>
                          <a:pt x="8260" y="16983"/>
                        </a:lnTo>
                        <a:cubicBezTo>
                          <a:pt x="8261" y="16983"/>
                          <a:pt x="9641" y="17407"/>
                          <a:pt x="10902" y="17407"/>
                        </a:cubicBezTo>
                        <a:cubicBezTo>
                          <a:pt x="11060" y="17407"/>
                          <a:pt x="11216" y="17401"/>
                          <a:pt x="11367" y="17386"/>
                        </a:cubicBezTo>
                        <a:lnTo>
                          <a:pt x="10964" y="16803"/>
                        </a:lnTo>
                        <a:cubicBezTo>
                          <a:pt x="10964" y="16803"/>
                          <a:pt x="12726" y="16669"/>
                          <a:pt x="13607" y="16296"/>
                        </a:cubicBezTo>
                        <a:lnTo>
                          <a:pt x="13249" y="15892"/>
                        </a:lnTo>
                        <a:cubicBezTo>
                          <a:pt x="13249" y="15892"/>
                          <a:pt x="14966" y="15250"/>
                          <a:pt x="15922" y="15071"/>
                        </a:cubicBezTo>
                        <a:lnTo>
                          <a:pt x="15668" y="14683"/>
                        </a:lnTo>
                        <a:cubicBezTo>
                          <a:pt x="15668" y="14683"/>
                          <a:pt x="17655" y="13532"/>
                          <a:pt x="18446" y="13428"/>
                        </a:cubicBezTo>
                        <a:cubicBezTo>
                          <a:pt x="18446" y="13428"/>
                          <a:pt x="15758" y="12457"/>
                          <a:pt x="14683" y="12218"/>
                        </a:cubicBezTo>
                        <a:lnTo>
                          <a:pt x="15116" y="11875"/>
                        </a:lnTo>
                        <a:cubicBezTo>
                          <a:pt x="15116" y="11875"/>
                          <a:pt x="13335" y="11587"/>
                          <a:pt x="12471" y="11587"/>
                        </a:cubicBezTo>
                        <a:cubicBezTo>
                          <a:pt x="12412" y="11587"/>
                          <a:pt x="12357" y="11588"/>
                          <a:pt x="12308" y="11591"/>
                        </a:cubicBezTo>
                        <a:lnTo>
                          <a:pt x="12577" y="11202"/>
                        </a:lnTo>
                        <a:cubicBezTo>
                          <a:pt x="12577" y="11202"/>
                          <a:pt x="11336" y="10900"/>
                          <a:pt x="10272" y="10900"/>
                        </a:cubicBezTo>
                        <a:cubicBezTo>
                          <a:pt x="10041" y="10900"/>
                          <a:pt x="9819" y="10914"/>
                          <a:pt x="9619" y="10949"/>
                        </a:cubicBezTo>
                        <a:lnTo>
                          <a:pt x="9978" y="10471"/>
                        </a:lnTo>
                        <a:lnTo>
                          <a:pt x="9978" y="10471"/>
                        </a:lnTo>
                        <a:cubicBezTo>
                          <a:pt x="9977" y="10471"/>
                          <a:pt x="8024" y="10650"/>
                          <a:pt x="6948" y="11410"/>
                        </a:cubicBezTo>
                        <a:lnTo>
                          <a:pt x="6948" y="11410"/>
                        </a:lnTo>
                        <a:cubicBezTo>
                          <a:pt x="7006" y="11369"/>
                          <a:pt x="8007" y="10646"/>
                          <a:pt x="8529" y="9515"/>
                        </a:cubicBezTo>
                        <a:lnTo>
                          <a:pt x="7887" y="9470"/>
                        </a:lnTo>
                        <a:cubicBezTo>
                          <a:pt x="7887" y="9470"/>
                          <a:pt x="8813" y="7603"/>
                          <a:pt x="8873" y="6811"/>
                        </a:cubicBezTo>
                        <a:lnTo>
                          <a:pt x="8873" y="6811"/>
                        </a:lnTo>
                        <a:lnTo>
                          <a:pt x="8320" y="6826"/>
                        </a:lnTo>
                        <a:cubicBezTo>
                          <a:pt x="8320" y="6826"/>
                          <a:pt x="8678" y="4944"/>
                          <a:pt x="9052" y="3974"/>
                        </a:cubicBezTo>
                        <a:lnTo>
                          <a:pt x="9052" y="3974"/>
                        </a:lnTo>
                        <a:lnTo>
                          <a:pt x="8529" y="4033"/>
                        </a:lnTo>
                        <a:cubicBezTo>
                          <a:pt x="8529" y="4033"/>
                          <a:pt x="9276" y="658"/>
                          <a:pt x="954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5" name="Google Shape;715;p11"/>
                <p:cNvGrpSpPr/>
                <p:nvPr/>
              </p:nvGrpSpPr>
              <p:grpSpPr>
                <a:xfrm>
                  <a:off x="12117950" y="5719225"/>
                  <a:ext cx="604550" cy="543325"/>
                  <a:chOff x="12117950" y="5719225"/>
                  <a:chExt cx="604550" cy="543325"/>
                </a:xfrm>
              </p:grpSpPr>
              <p:sp>
                <p:nvSpPr>
                  <p:cNvPr id="716" name="Google Shape;716;p11"/>
                  <p:cNvSpPr/>
                  <p:nvPr/>
                </p:nvSpPr>
                <p:spPr>
                  <a:xfrm>
                    <a:off x="12263575" y="5772250"/>
                    <a:ext cx="258025" cy="490300"/>
                  </a:xfrm>
                  <a:custGeom>
                    <a:avLst/>
                    <a:gdLst/>
                    <a:ahLst/>
                    <a:cxnLst/>
                    <a:rect l="l" t="t" r="r" b="b"/>
                    <a:pathLst>
                      <a:path w="10321" h="19612" extrusionOk="0">
                        <a:moveTo>
                          <a:pt x="10276" y="1"/>
                        </a:moveTo>
                        <a:cubicBezTo>
                          <a:pt x="9410" y="1599"/>
                          <a:pt x="8558" y="3212"/>
                          <a:pt x="7677" y="4795"/>
                        </a:cubicBezTo>
                        <a:cubicBezTo>
                          <a:pt x="6453" y="7006"/>
                          <a:pt x="4287" y="10993"/>
                          <a:pt x="3062" y="13174"/>
                        </a:cubicBezTo>
                        <a:cubicBezTo>
                          <a:pt x="2091" y="14981"/>
                          <a:pt x="1016" y="16803"/>
                          <a:pt x="239" y="18715"/>
                        </a:cubicBezTo>
                        <a:cubicBezTo>
                          <a:pt x="150" y="18924"/>
                          <a:pt x="75" y="19178"/>
                          <a:pt x="0" y="19417"/>
                        </a:cubicBezTo>
                        <a:lnTo>
                          <a:pt x="1135" y="19611"/>
                        </a:lnTo>
                        <a:cubicBezTo>
                          <a:pt x="1195" y="18790"/>
                          <a:pt x="1494" y="17894"/>
                          <a:pt x="1778" y="17087"/>
                        </a:cubicBezTo>
                        <a:cubicBezTo>
                          <a:pt x="2644" y="14608"/>
                          <a:pt x="4063" y="12054"/>
                          <a:pt x="5258" y="9709"/>
                        </a:cubicBezTo>
                        <a:cubicBezTo>
                          <a:pt x="6736" y="6886"/>
                          <a:pt x="8827" y="2809"/>
                          <a:pt x="10321" y="30"/>
                        </a:cubicBezTo>
                        <a:cubicBezTo>
                          <a:pt x="10321" y="30"/>
                          <a:pt x="10276" y="16"/>
                          <a:pt x="1027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717;p11"/>
                  <p:cNvSpPr/>
                  <p:nvPr/>
                </p:nvSpPr>
                <p:spPr>
                  <a:xfrm>
                    <a:off x="12383800" y="6029900"/>
                    <a:ext cx="217725" cy="173650"/>
                  </a:xfrm>
                  <a:custGeom>
                    <a:avLst/>
                    <a:gdLst/>
                    <a:ahLst/>
                    <a:cxnLst/>
                    <a:rect l="l" t="t" r="r" b="b"/>
                    <a:pathLst>
                      <a:path w="8709" h="6946" fill="none" extrusionOk="0">
                        <a:moveTo>
                          <a:pt x="1" y="0"/>
                        </a:moveTo>
                        <a:cubicBezTo>
                          <a:pt x="1" y="0"/>
                          <a:pt x="5497" y="2928"/>
                          <a:pt x="8708" y="6946"/>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718;p11"/>
                  <p:cNvSpPr/>
                  <p:nvPr/>
                </p:nvSpPr>
                <p:spPr>
                  <a:xfrm>
                    <a:off x="12538025" y="6137800"/>
                    <a:ext cx="6000" cy="39975"/>
                  </a:xfrm>
                  <a:custGeom>
                    <a:avLst/>
                    <a:gdLst/>
                    <a:ahLst/>
                    <a:cxnLst/>
                    <a:rect l="l" t="t" r="r" b="b"/>
                    <a:pathLst>
                      <a:path w="240" h="1599" fill="none" extrusionOk="0">
                        <a:moveTo>
                          <a:pt x="0" y="1"/>
                        </a:moveTo>
                        <a:lnTo>
                          <a:pt x="239"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719;p11"/>
                  <p:cNvSpPr/>
                  <p:nvPr/>
                </p:nvSpPr>
                <p:spPr>
                  <a:xfrm>
                    <a:off x="12472300" y="6085525"/>
                    <a:ext cx="66100" cy="5625"/>
                  </a:xfrm>
                  <a:custGeom>
                    <a:avLst/>
                    <a:gdLst/>
                    <a:ahLst/>
                    <a:cxnLst/>
                    <a:rect l="l" t="t" r="r" b="b"/>
                    <a:pathLst>
                      <a:path w="2644" h="225" fill="none" extrusionOk="0">
                        <a:moveTo>
                          <a:pt x="0" y="1"/>
                        </a:moveTo>
                        <a:lnTo>
                          <a:pt x="2644" y="22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11"/>
                  <p:cNvSpPr/>
                  <p:nvPr/>
                </p:nvSpPr>
                <p:spPr>
                  <a:xfrm>
                    <a:off x="12400600" y="5975375"/>
                    <a:ext cx="321900" cy="22800"/>
                  </a:xfrm>
                  <a:custGeom>
                    <a:avLst/>
                    <a:gdLst/>
                    <a:ahLst/>
                    <a:cxnLst/>
                    <a:rect l="l" t="t" r="r" b="b"/>
                    <a:pathLst>
                      <a:path w="12876" h="912" fill="none" extrusionOk="0">
                        <a:moveTo>
                          <a:pt x="1" y="912"/>
                        </a:moveTo>
                        <a:cubicBezTo>
                          <a:pt x="1" y="912"/>
                          <a:pt x="7484" y="1"/>
                          <a:pt x="12875" y="10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11"/>
                  <p:cNvSpPr/>
                  <p:nvPr/>
                </p:nvSpPr>
                <p:spPr>
                  <a:xfrm>
                    <a:off x="12617175" y="5979500"/>
                    <a:ext cx="67975" cy="23525"/>
                  </a:xfrm>
                  <a:custGeom>
                    <a:avLst/>
                    <a:gdLst/>
                    <a:ahLst/>
                    <a:cxnLst/>
                    <a:rect l="l" t="t" r="r" b="b"/>
                    <a:pathLst>
                      <a:path w="2719" h="941" fill="none" extrusionOk="0">
                        <a:moveTo>
                          <a:pt x="0" y="0"/>
                        </a:moveTo>
                        <a:lnTo>
                          <a:pt x="2719" y="94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2" name="Google Shape;722;p11"/>
                  <p:cNvSpPr/>
                  <p:nvPr/>
                </p:nvSpPr>
                <p:spPr>
                  <a:xfrm>
                    <a:off x="12525700" y="5955600"/>
                    <a:ext cx="22800" cy="30250"/>
                  </a:xfrm>
                  <a:custGeom>
                    <a:avLst/>
                    <a:gdLst/>
                    <a:ahLst/>
                    <a:cxnLst/>
                    <a:rect l="l" t="t" r="r" b="b"/>
                    <a:pathLst>
                      <a:path w="912" h="1210" fill="none" extrusionOk="0">
                        <a:moveTo>
                          <a:pt x="0" y="1210"/>
                        </a:moveTo>
                        <a:lnTo>
                          <a:pt x="911"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11"/>
                  <p:cNvSpPr/>
                  <p:nvPr/>
                </p:nvSpPr>
                <p:spPr>
                  <a:xfrm>
                    <a:off x="12117950" y="5945500"/>
                    <a:ext cx="265875" cy="84425"/>
                  </a:xfrm>
                  <a:custGeom>
                    <a:avLst/>
                    <a:gdLst/>
                    <a:ahLst/>
                    <a:cxnLst/>
                    <a:rect l="l" t="t" r="r" b="b"/>
                    <a:pathLst>
                      <a:path w="10635" h="3377" fill="none" extrusionOk="0">
                        <a:moveTo>
                          <a:pt x="10635" y="3376"/>
                        </a:moveTo>
                        <a:cubicBezTo>
                          <a:pt x="10635" y="3376"/>
                          <a:pt x="5138" y="434"/>
                          <a:pt x="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11"/>
                  <p:cNvSpPr/>
                  <p:nvPr/>
                </p:nvSpPr>
                <p:spPr>
                  <a:xfrm>
                    <a:off x="12171350" y="5961575"/>
                    <a:ext cx="36975" cy="17575"/>
                  </a:xfrm>
                  <a:custGeom>
                    <a:avLst/>
                    <a:gdLst/>
                    <a:ahLst/>
                    <a:cxnLst/>
                    <a:rect l="l" t="t" r="r" b="b"/>
                    <a:pathLst>
                      <a:path w="1479" h="703" fill="none" extrusionOk="0">
                        <a:moveTo>
                          <a:pt x="1479" y="0"/>
                        </a:moveTo>
                        <a:lnTo>
                          <a:pt x="0" y="70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11"/>
                  <p:cNvSpPr/>
                  <p:nvPr/>
                </p:nvSpPr>
                <p:spPr>
                  <a:xfrm>
                    <a:off x="12246775" y="5935050"/>
                    <a:ext cx="41475" cy="52300"/>
                  </a:xfrm>
                  <a:custGeom>
                    <a:avLst/>
                    <a:gdLst/>
                    <a:ahLst/>
                    <a:cxnLst/>
                    <a:rect l="l" t="t" r="r" b="b"/>
                    <a:pathLst>
                      <a:path w="1659" h="2092" fill="none" extrusionOk="0">
                        <a:moveTo>
                          <a:pt x="1658" y="209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11"/>
                  <p:cNvSpPr/>
                  <p:nvPr/>
                </p:nvSpPr>
                <p:spPr>
                  <a:xfrm>
                    <a:off x="12238550" y="5719225"/>
                    <a:ext cx="162075" cy="278950"/>
                  </a:xfrm>
                  <a:custGeom>
                    <a:avLst/>
                    <a:gdLst/>
                    <a:ahLst/>
                    <a:cxnLst/>
                    <a:rect l="l" t="t" r="r" b="b"/>
                    <a:pathLst>
                      <a:path w="6483" h="11158" fill="none" extrusionOk="0">
                        <a:moveTo>
                          <a:pt x="6483" y="11158"/>
                        </a:moveTo>
                        <a:cubicBezTo>
                          <a:pt x="6483" y="11158"/>
                          <a:pt x="3077" y="4452"/>
                          <a:pt x="1"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11"/>
                  <p:cNvSpPr/>
                  <p:nvPr/>
                </p:nvSpPr>
                <p:spPr>
                  <a:xfrm>
                    <a:off x="12238550" y="5764400"/>
                    <a:ext cx="57150" cy="43725"/>
                  </a:xfrm>
                  <a:custGeom>
                    <a:avLst/>
                    <a:gdLst/>
                    <a:ahLst/>
                    <a:cxnLst/>
                    <a:rect l="l" t="t" r="r" b="b"/>
                    <a:pathLst>
                      <a:path w="2286" h="1749" fill="none" extrusionOk="0">
                        <a:moveTo>
                          <a:pt x="2286" y="1748"/>
                        </a:moveTo>
                        <a:lnTo>
                          <a:pt x="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 name="Google Shape;728;p11"/>
                  <p:cNvSpPr/>
                  <p:nvPr/>
                </p:nvSpPr>
                <p:spPr>
                  <a:xfrm>
                    <a:off x="12341225" y="5851775"/>
                    <a:ext cx="12725" cy="35500"/>
                  </a:xfrm>
                  <a:custGeom>
                    <a:avLst/>
                    <a:gdLst/>
                    <a:ahLst/>
                    <a:cxnLst/>
                    <a:rect l="l" t="t" r="r" b="b"/>
                    <a:pathLst>
                      <a:path w="509" h="1420" fill="none" extrusionOk="0">
                        <a:moveTo>
                          <a:pt x="1" y="1420"/>
                        </a:moveTo>
                        <a:lnTo>
                          <a:pt x="509"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11"/>
                  <p:cNvSpPr/>
                  <p:nvPr/>
                </p:nvSpPr>
                <p:spPr>
                  <a:xfrm>
                    <a:off x="12474525" y="5840200"/>
                    <a:ext cx="56800" cy="19825"/>
                  </a:xfrm>
                  <a:custGeom>
                    <a:avLst/>
                    <a:gdLst/>
                    <a:ahLst/>
                    <a:cxnLst/>
                    <a:rect l="l" t="t" r="r" b="b"/>
                    <a:pathLst>
                      <a:path w="2272" h="793" fill="none" extrusionOk="0">
                        <a:moveTo>
                          <a:pt x="1" y="793"/>
                        </a:moveTo>
                        <a:lnTo>
                          <a:pt x="227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11"/>
                  <p:cNvSpPr/>
                  <p:nvPr/>
                </p:nvSpPr>
                <p:spPr>
                  <a:xfrm>
                    <a:off x="12483875" y="5783075"/>
                    <a:ext cx="12725" cy="35125"/>
                  </a:xfrm>
                  <a:custGeom>
                    <a:avLst/>
                    <a:gdLst/>
                    <a:ahLst/>
                    <a:cxnLst/>
                    <a:rect l="l" t="t" r="r" b="b"/>
                    <a:pathLst>
                      <a:path w="509" h="1405" fill="none" extrusionOk="0">
                        <a:moveTo>
                          <a:pt x="0" y="1"/>
                        </a:moveTo>
                        <a:lnTo>
                          <a:pt x="508" y="140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31" name="Google Shape;731;p11"/>
              <p:cNvSpPr/>
              <p:nvPr/>
            </p:nvSpPr>
            <p:spPr>
              <a:xfrm rot="10800000">
                <a:off x="453012" y="2713528"/>
                <a:ext cx="215061" cy="165143"/>
              </a:xfrm>
              <a:custGeom>
                <a:avLst/>
                <a:gdLst/>
                <a:ahLst/>
                <a:cxnLst/>
                <a:rect l="l" t="t" r="r" b="b"/>
                <a:pathLst>
                  <a:path w="5661" h="4347" fill="none" extrusionOk="0">
                    <a:moveTo>
                      <a:pt x="5661" y="4347"/>
                    </a:moveTo>
                    <a:cubicBezTo>
                      <a:pt x="5661" y="4347"/>
                      <a:pt x="1150" y="762"/>
                      <a:pt x="702" y="1"/>
                    </a:cubicBezTo>
                    <a:moveTo>
                      <a:pt x="0" y="2181"/>
                    </a:moveTo>
                    <a:lnTo>
                      <a:pt x="3017" y="218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2" name="Google Shape;732;p11"/>
              <p:cNvSpPr/>
              <p:nvPr/>
            </p:nvSpPr>
            <p:spPr>
              <a:xfrm rot="-1651904" flipH="1">
                <a:off x="266316" y="1257690"/>
                <a:ext cx="170989" cy="109760"/>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33" name="Google Shape;733;p11"/>
              <p:cNvGrpSpPr/>
              <p:nvPr/>
            </p:nvGrpSpPr>
            <p:grpSpPr>
              <a:xfrm rot="3311912" flipH="1">
                <a:off x="-6140" y="1781796"/>
                <a:ext cx="526926" cy="998085"/>
                <a:chOff x="7176425" y="4828100"/>
                <a:chExt cx="188975" cy="357950"/>
              </a:xfrm>
            </p:grpSpPr>
            <p:sp>
              <p:nvSpPr>
                <p:cNvPr id="734" name="Google Shape;734;p11"/>
                <p:cNvSpPr/>
                <p:nvPr/>
              </p:nvSpPr>
              <p:spPr>
                <a:xfrm>
                  <a:off x="7176425" y="4828100"/>
                  <a:ext cx="145300" cy="259750"/>
                </a:xfrm>
                <a:custGeom>
                  <a:avLst/>
                  <a:gdLst/>
                  <a:ahLst/>
                  <a:cxnLst/>
                  <a:rect l="l" t="t" r="r" b="b"/>
                  <a:pathLst>
                    <a:path w="5812" h="10390" extrusionOk="0">
                      <a:moveTo>
                        <a:pt x="5477" y="1"/>
                      </a:moveTo>
                      <a:cubicBezTo>
                        <a:pt x="5465" y="1"/>
                        <a:pt x="5451" y="3"/>
                        <a:pt x="5438" y="9"/>
                      </a:cubicBezTo>
                      <a:cubicBezTo>
                        <a:pt x="4093" y="860"/>
                        <a:pt x="2854" y="2623"/>
                        <a:pt x="2854" y="2623"/>
                      </a:cubicBezTo>
                      <a:lnTo>
                        <a:pt x="2794" y="2503"/>
                      </a:lnTo>
                      <a:cubicBezTo>
                        <a:pt x="2777" y="2477"/>
                        <a:pt x="2744" y="2461"/>
                        <a:pt x="2714" y="2461"/>
                      </a:cubicBezTo>
                      <a:cubicBezTo>
                        <a:pt x="2692" y="2461"/>
                        <a:pt x="2672" y="2469"/>
                        <a:pt x="2660" y="2488"/>
                      </a:cubicBezTo>
                      <a:cubicBezTo>
                        <a:pt x="1823" y="3384"/>
                        <a:pt x="1554" y="4609"/>
                        <a:pt x="1480" y="5087"/>
                      </a:cubicBezTo>
                      <a:cubicBezTo>
                        <a:pt x="1471" y="5132"/>
                        <a:pt x="1430" y="5160"/>
                        <a:pt x="1389" y="5160"/>
                      </a:cubicBezTo>
                      <a:cubicBezTo>
                        <a:pt x="1361" y="5160"/>
                        <a:pt x="1333" y="5147"/>
                        <a:pt x="1315" y="5117"/>
                      </a:cubicBezTo>
                      <a:lnTo>
                        <a:pt x="1285" y="5072"/>
                      </a:lnTo>
                      <a:cubicBezTo>
                        <a:pt x="1266" y="5046"/>
                        <a:pt x="1238" y="5034"/>
                        <a:pt x="1211" y="5034"/>
                      </a:cubicBezTo>
                      <a:cubicBezTo>
                        <a:pt x="1176" y="5034"/>
                        <a:pt x="1145" y="5053"/>
                        <a:pt x="1136" y="5087"/>
                      </a:cubicBezTo>
                      <a:cubicBezTo>
                        <a:pt x="1" y="8477"/>
                        <a:pt x="1823" y="10135"/>
                        <a:pt x="2092" y="10359"/>
                      </a:cubicBezTo>
                      <a:cubicBezTo>
                        <a:pt x="2122" y="10389"/>
                        <a:pt x="2137" y="10389"/>
                        <a:pt x="2152" y="10389"/>
                      </a:cubicBezTo>
                      <a:cubicBezTo>
                        <a:pt x="4990" y="9732"/>
                        <a:pt x="5647" y="6461"/>
                        <a:pt x="5766" y="5684"/>
                      </a:cubicBezTo>
                      <a:cubicBezTo>
                        <a:pt x="5778" y="5626"/>
                        <a:pt x="5725" y="5585"/>
                        <a:pt x="5680" y="5585"/>
                      </a:cubicBezTo>
                      <a:cubicBezTo>
                        <a:pt x="5668" y="5585"/>
                        <a:pt x="5656" y="5588"/>
                        <a:pt x="5647" y="5595"/>
                      </a:cubicBezTo>
                      <a:lnTo>
                        <a:pt x="5557" y="5655"/>
                      </a:lnTo>
                      <a:cubicBezTo>
                        <a:pt x="5543" y="5663"/>
                        <a:pt x="5529" y="5667"/>
                        <a:pt x="5516" y="5667"/>
                      </a:cubicBezTo>
                      <a:cubicBezTo>
                        <a:pt x="5458" y="5667"/>
                        <a:pt x="5413" y="5598"/>
                        <a:pt x="5438" y="5550"/>
                      </a:cubicBezTo>
                      <a:cubicBezTo>
                        <a:pt x="5781" y="4788"/>
                        <a:pt x="5811" y="3713"/>
                        <a:pt x="5796" y="3280"/>
                      </a:cubicBezTo>
                      <a:cubicBezTo>
                        <a:pt x="5796" y="3237"/>
                        <a:pt x="5750" y="3202"/>
                        <a:pt x="5708" y="3202"/>
                      </a:cubicBezTo>
                      <a:cubicBezTo>
                        <a:pt x="5691" y="3202"/>
                        <a:pt x="5674" y="3207"/>
                        <a:pt x="5662" y="3220"/>
                      </a:cubicBezTo>
                      <a:cubicBezTo>
                        <a:pt x="5642" y="3244"/>
                        <a:pt x="5620" y="3254"/>
                        <a:pt x="5599" y="3254"/>
                      </a:cubicBezTo>
                      <a:cubicBezTo>
                        <a:pt x="5555" y="3254"/>
                        <a:pt x="5517" y="3211"/>
                        <a:pt x="5527" y="3160"/>
                      </a:cubicBezTo>
                      <a:cubicBezTo>
                        <a:pt x="5587" y="2712"/>
                        <a:pt x="5587" y="2085"/>
                        <a:pt x="5453" y="1458"/>
                      </a:cubicBezTo>
                      <a:cubicBezTo>
                        <a:pt x="5348" y="920"/>
                        <a:pt x="5467" y="397"/>
                        <a:pt x="5557" y="113"/>
                      </a:cubicBezTo>
                      <a:cubicBezTo>
                        <a:pt x="5582" y="52"/>
                        <a:pt x="5536" y="1"/>
                        <a:pt x="54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11"/>
                <p:cNvSpPr/>
                <p:nvPr/>
              </p:nvSpPr>
              <p:spPr>
                <a:xfrm>
                  <a:off x="7251900" y="5049725"/>
                  <a:ext cx="113500" cy="77225"/>
                </a:xfrm>
                <a:custGeom>
                  <a:avLst/>
                  <a:gdLst/>
                  <a:ahLst/>
                  <a:cxnLst/>
                  <a:rect l="l" t="t" r="r" b="b"/>
                  <a:pathLst>
                    <a:path w="4540" h="3089" extrusionOk="0">
                      <a:moveTo>
                        <a:pt x="3613" y="1"/>
                      </a:moveTo>
                      <a:cubicBezTo>
                        <a:pt x="2493" y="105"/>
                        <a:pt x="1672" y="837"/>
                        <a:pt x="1672" y="837"/>
                      </a:cubicBezTo>
                      <a:cubicBezTo>
                        <a:pt x="1672" y="782"/>
                        <a:pt x="1623" y="751"/>
                        <a:pt x="1573" y="751"/>
                      </a:cubicBezTo>
                      <a:cubicBezTo>
                        <a:pt x="1555" y="751"/>
                        <a:pt x="1538" y="755"/>
                        <a:pt x="1522" y="762"/>
                      </a:cubicBezTo>
                      <a:cubicBezTo>
                        <a:pt x="402" y="1450"/>
                        <a:pt x="89" y="2615"/>
                        <a:pt x="14" y="2928"/>
                      </a:cubicBezTo>
                      <a:cubicBezTo>
                        <a:pt x="1" y="2955"/>
                        <a:pt x="35" y="3005"/>
                        <a:pt x="85" y="3005"/>
                      </a:cubicBezTo>
                      <a:cubicBezTo>
                        <a:pt x="91" y="3005"/>
                        <a:pt x="97" y="3004"/>
                        <a:pt x="104" y="3003"/>
                      </a:cubicBezTo>
                      <a:cubicBezTo>
                        <a:pt x="413" y="3063"/>
                        <a:pt x="697" y="3089"/>
                        <a:pt x="957" y="3089"/>
                      </a:cubicBezTo>
                      <a:cubicBezTo>
                        <a:pt x="1915" y="3089"/>
                        <a:pt x="2534" y="2746"/>
                        <a:pt x="2792" y="2570"/>
                      </a:cubicBezTo>
                      <a:cubicBezTo>
                        <a:pt x="2852" y="2525"/>
                        <a:pt x="2837" y="2450"/>
                        <a:pt x="2762" y="2420"/>
                      </a:cubicBezTo>
                      <a:lnTo>
                        <a:pt x="2702" y="2405"/>
                      </a:lnTo>
                      <a:cubicBezTo>
                        <a:pt x="3793" y="2107"/>
                        <a:pt x="4151" y="1435"/>
                        <a:pt x="4151" y="1435"/>
                      </a:cubicBezTo>
                      <a:lnTo>
                        <a:pt x="4151" y="1435"/>
                      </a:lnTo>
                      <a:lnTo>
                        <a:pt x="3987" y="1450"/>
                      </a:lnTo>
                      <a:cubicBezTo>
                        <a:pt x="4330" y="1031"/>
                        <a:pt x="4480" y="419"/>
                        <a:pt x="4540" y="180"/>
                      </a:cubicBezTo>
                      <a:cubicBezTo>
                        <a:pt x="4540" y="120"/>
                        <a:pt x="4525" y="90"/>
                        <a:pt x="4465" y="75"/>
                      </a:cubicBezTo>
                      <a:cubicBezTo>
                        <a:pt x="4396" y="66"/>
                        <a:pt x="4324" y="63"/>
                        <a:pt x="4254" y="63"/>
                      </a:cubicBezTo>
                      <a:cubicBezTo>
                        <a:pt x="3971" y="63"/>
                        <a:pt x="3703" y="120"/>
                        <a:pt x="3703" y="120"/>
                      </a:cubicBezTo>
                      <a:lnTo>
                        <a:pt x="3703" y="105"/>
                      </a:lnTo>
                      <a:cubicBezTo>
                        <a:pt x="3718" y="60"/>
                        <a:pt x="3688" y="1"/>
                        <a:pt x="361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11"/>
                <p:cNvSpPr/>
                <p:nvPr/>
              </p:nvSpPr>
              <p:spPr>
                <a:xfrm>
                  <a:off x="7217875" y="4849600"/>
                  <a:ext cx="84425" cy="336450"/>
                </a:xfrm>
                <a:custGeom>
                  <a:avLst/>
                  <a:gdLst/>
                  <a:ahLst/>
                  <a:cxnLst/>
                  <a:rect l="l" t="t" r="r" b="b"/>
                  <a:pathLst>
                    <a:path w="3377" h="13458" extrusionOk="0">
                      <a:moveTo>
                        <a:pt x="3242" y="0"/>
                      </a:moveTo>
                      <a:cubicBezTo>
                        <a:pt x="2749" y="1061"/>
                        <a:pt x="2271" y="2121"/>
                        <a:pt x="1898" y="3211"/>
                      </a:cubicBezTo>
                      <a:cubicBezTo>
                        <a:pt x="1689" y="3749"/>
                        <a:pt x="1539" y="4317"/>
                        <a:pt x="1360" y="4869"/>
                      </a:cubicBezTo>
                      <a:cubicBezTo>
                        <a:pt x="1285" y="5138"/>
                        <a:pt x="1211" y="5422"/>
                        <a:pt x="1136" y="5706"/>
                      </a:cubicBezTo>
                      <a:lnTo>
                        <a:pt x="1017" y="6124"/>
                      </a:lnTo>
                      <a:lnTo>
                        <a:pt x="927" y="6557"/>
                      </a:lnTo>
                      <a:cubicBezTo>
                        <a:pt x="852" y="6841"/>
                        <a:pt x="792" y="7110"/>
                        <a:pt x="733" y="7408"/>
                      </a:cubicBezTo>
                      <a:lnTo>
                        <a:pt x="553" y="8260"/>
                      </a:lnTo>
                      <a:lnTo>
                        <a:pt x="404" y="9111"/>
                      </a:lnTo>
                      <a:cubicBezTo>
                        <a:pt x="359" y="9410"/>
                        <a:pt x="329" y="9693"/>
                        <a:pt x="285" y="9977"/>
                      </a:cubicBezTo>
                      <a:cubicBezTo>
                        <a:pt x="135" y="11127"/>
                        <a:pt x="16" y="12292"/>
                        <a:pt x="1" y="13457"/>
                      </a:cubicBezTo>
                      <a:lnTo>
                        <a:pt x="329" y="13442"/>
                      </a:lnTo>
                      <a:cubicBezTo>
                        <a:pt x="329" y="12292"/>
                        <a:pt x="419" y="11142"/>
                        <a:pt x="553" y="10007"/>
                      </a:cubicBezTo>
                      <a:cubicBezTo>
                        <a:pt x="583" y="9738"/>
                        <a:pt x="628" y="9440"/>
                        <a:pt x="673" y="9156"/>
                      </a:cubicBezTo>
                      <a:lnTo>
                        <a:pt x="807" y="8304"/>
                      </a:lnTo>
                      <a:lnTo>
                        <a:pt x="972" y="7453"/>
                      </a:lnTo>
                      <a:cubicBezTo>
                        <a:pt x="1017" y="7169"/>
                        <a:pt x="1091" y="6900"/>
                        <a:pt x="1151" y="6602"/>
                      </a:cubicBezTo>
                      <a:lnTo>
                        <a:pt x="1241" y="6184"/>
                      </a:lnTo>
                      <a:lnTo>
                        <a:pt x="1345" y="5750"/>
                      </a:lnTo>
                      <a:cubicBezTo>
                        <a:pt x="1420" y="5482"/>
                        <a:pt x="1494" y="5198"/>
                        <a:pt x="1569" y="4914"/>
                      </a:cubicBezTo>
                      <a:cubicBezTo>
                        <a:pt x="1733" y="4376"/>
                        <a:pt x="1883" y="3809"/>
                        <a:pt x="2077" y="3271"/>
                      </a:cubicBezTo>
                      <a:cubicBezTo>
                        <a:pt x="2435" y="2181"/>
                        <a:pt x="2883" y="1105"/>
                        <a:pt x="3376" y="60"/>
                      </a:cubicBezTo>
                      <a:lnTo>
                        <a:pt x="32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11"/>
                <p:cNvSpPr/>
                <p:nvPr/>
              </p:nvSpPr>
              <p:spPr>
                <a:xfrm>
                  <a:off x="7223850" y="5057200"/>
                  <a:ext cx="132950" cy="84050"/>
                </a:xfrm>
                <a:custGeom>
                  <a:avLst/>
                  <a:gdLst/>
                  <a:ahLst/>
                  <a:cxnLst/>
                  <a:rect l="l" t="t" r="r" b="b"/>
                  <a:pathLst>
                    <a:path w="5318" h="3362" fill="none" extrusionOk="0">
                      <a:moveTo>
                        <a:pt x="1" y="3361"/>
                      </a:moveTo>
                      <a:cubicBezTo>
                        <a:pt x="1" y="3361"/>
                        <a:pt x="3824" y="1121"/>
                        <a:pt x="5318"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11"/>
                <p:cNvSpPr/>
                <p:nvPr/>
              </p:nvSpPr>
              <p:spPr>
                <a:xfrm>
                  <a:off x="7208550" y="4892525"/>
                  <a:ext cx="99350" cy="172925"/>
                </a:xfrm>
                <a:custGeom>
                  <a:avLst/>
                  <a:gdLst/>
                  <a:ahLst/>
                  <a:cxnLst/>
                  <a:rect l="l" t="t" r="r" b="b"/>
                  <a:pathLst>
                    <a:path w="3974" h="6917" fill="none" extrusionOk="0">
                      <a:moveTo>
                        <a:pt x="2106" y="1"/>
                      </a:moveTo>
                      <a:lnTo>
                        <a:pt x="2599" y="852"/>
                      </a:lnTo>
                      <a:moveTo>
                        <a:pt x="1001" y="6916"/>
                      </a:moveTo>
                      <a:cubicBezTo>
                        <a:pt x="1001" y="6916"/>
                        <a:pt x="2480" y="5183"/>
                        <a:pt x="2779" y="4915"/>
                      </a:cubicBezTo>
                      <a:moveTo>
                        <a:pt x="105" y="3780"/>
                      </a:moveTo>
                      <a:lnTo>
                        <a:pt x="1210" y="5706"/>
                      </a:lnTo>
                      <a:moveTo>
                        <a:pt x="0" y="4302"/>
                      </a:moveTo>
                      <a:lnTo>
                        <a:pt x="583" y="4616"/>
                      </a:lnTo>
                      <a:moveTo>
                        <a:pt x="1121" y="2226"/>
                      </a:moveTo>
                      <a:lnTo>
                        <a:pt x="1673" y="3780"/>
                      </a:lnTo>
                      <a:moveTo>
                        <a:pt x="1434" y="4750"/>
                      </a:moveTo>
                      <a:lnTo>
                        <a:pt x="3973" y="1793"/>
                      </a:lnTo>
                      <a:moveTo>
                        <a:pt x="2988" y="2943"/>
                      </a:moveTo>
                      <a:lnTo>
                        <a:pt x="3749" y="2659"/>
                      </a:lnTo>
                      <a:moveTo>
                        <a:pt x="2301" y="1703"/>
                      </a:moveTo>
                      <a:lnTo>
                        <a:pt x="3690" y="434"/>
                      </a:lnTo>
                      <a:moveTo>
                        <a:pt x="3749" y="792"/>
                      </a:moveTo>
                      <a:lnTo>
                        <a:pt x="3227" y="85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739;p11"/>
                <p:cNvSpPr/>
                <p:nvPr/>
              </p:nvSpPr>
              <p:spPr>
                <a:xfrm>
                  <a:off x="7264925" y="5062800"/>
                  <a:ext cx="84425" cy="54175"/>
                </a:xfrm>
                <a:custGeom>
                  <a:avLst/>
                  <a:gdLst/>
                  <a:ahLst/>
                  <a:cxnLst/>
                  <a:rect l="l" t="t" r="r" b="b"/>
                  <a:pathLst>
                    <a:path w="3377" h="2167" fill="none" extrusionOk="0">
                      <a:moveTo>
                        <a:pt x="524" y="1853"/>
                      </a:moveTo>
                      <a:lnTo>
                        <a:pt x="837" y="807"/>
                      </a:lnTo>
                      <a:moveTo>
                        <a:pt x="3302" y="508"/>
                      </a:moveTo>
                      <a:lnTo>
                        <a:pt x="3107" y="404"/>
                      </a:lnTo>
                      <a:moveTo>
                        <a:pt x="2644" y="508"/>
                      </a:moveTo>
                      <a:lnTo>
                        <a:pt x="3376" y="359"/>
                      </a:lnTo>
                      <a:moveTo>
                        <a:pt x="2585" y="30"/>
                      </a:moveTo>
                      <a:lnTo>
                        <a:pt x="2316" y="269"/>
                      </a:lnTo>
                      <a:moveTo>
                        <a:pt x="2107" y="852"/>
                      </a:moveTo>
                      <a:lnTo>
                        <a:pt x="2391" y="1"/>
                      </a:lnTo>
                      <a:moveTo>
                        <a:pt x="2585" y="1240"/>
                      </a:moveTo>
                      <a:lnTo>
                        <a:pt x="2271" y="1419"/>
                      </a:lnTo>
                      <a:moveTo>
                        <a:pt x="1226" y="1419"/>
                      </a:moveTo>
                      <a:lnTo>
                        <a:pt x="2644" y="1419"/>
                      </a:lnTo>
                      <a:moveTo>
                        <a:pt x="1494" y="1957"/>
                      </a:moveTo>
                      <a:lnTo>
                        <a:pt x="1196" y="2106"/>
                      </a:lnTo>
                      <a:moveTo>
                        <a:pt x="1" y="2166"/>
                      </a:moveTo>
                      <a:lnTo>
                        <a:pt x="1718" y="2092"/>
                      </a:lnTo>
                      <a:moveTo>
                        <a:pt x="524" y="1046"/>
                      </a:moveTo>
                      <a:lnTo>
                        <a:pt x="673" y="133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740" name="Google Shape;740;p11"/>
            <p:cNvGrpSpPr/>
            <p:nvPr/>
          </p:nvGrpSpPr>
          <p:grpSpPr>
            <a:xfrm rot="-790802">
              <a:off x="1566587" y="4642756"/>
              <a:ext cx="1290304" cy="1254206"/>
              <a:chOff x="4719681" y="3910588"/>
              <a:chExt cx="1477670" cy="1436330"/>
            </a:xfrm>
          </p:grpSpPr>
          <p:sp>
            <p:nvSpPr>
              <p:cNvPr id="741" name="Google Shape;741;p11"/>
              <p:cNvSpPr/>
              <p:nvPr/>
            </p:nvSpPr>
            <p:spPr>
              <a:xfrm>
                <a:off x="4918697" y="3910588"/>
                <a:ext cx="1278654" cy="1245050"/>
              </a:xfrm>
              <a:custGeom>
                <a:avLst/>
                <a:gdLst/>
                <a:ahLst/>
                <a:cxnLst/>
                <a:rect l="l" t="t" r="r" b="b"/>
                <a:pathLst>
                  <a:path w="24466" h="23823" extrusionOk="0">
                    <a:moveTo>
                      <a:pt x="1" y="0"/>
                    </a:moveTo>
                    <a:lnTo>
                      <a:pt x="1" y="15"/>
                    </a:lnTo>
                    <a:cubicBezTo>
                      <a:pt x="1" y="15"/>
                      <a:pt x="22" y="37"/>
                      <a:pt x="62" y="77"/>
                    </a:cubicBezTo>
                    <a:lnTo>
                      <a:pt x="62" y="77"/>
                    </a:lnTo>
                    <a:lnTo>
                      <a:pt x="1" y="0"/>
                    </a:lnTo>
                    <a:close/>
                    <a:moveTo>
                      <a:pt x="62" y="77"/>
                    </a:moveTo>
                    <a:lnTo>
                      <a:pt x="18969" y="23823"/>
                    </a:lnTo>
                    <a:lnTo>
                      <a:pt x="22136" y="20417"/>
                    </a:lnTo>
                    <a:lnTo>
                      <a:pt x="21240" y="20776"/>
                    </a:lnTo>
                    <a:lnTo>
                      <a:pt x="21240" y="20776"/>
                    </a:lnTo>
                    <a:lnTo>
                      <a:pt x="24077" y="17953"/>
                    </a:lnTo>
                    <a:lnTo>
                      <a:pt x="23331" y="18058"/>
                    </a:lnTo>
                    <a:lnTo>
                      <a:pt x="23331" y="18058"/>
                    </a:lnTo>
                    <a:lnTo>
                      <a:pt x="24466" y="16400"/>
                    </a:lnTo>
                    <a:lnTo>
                      <a:pt x="24466" y="16400"/>
                    </a:lnTo>
                    <a:cubicBezTo>
                      <a:pt x="24383" y="16414"/>
                      <a:pt x="24307" y="16420"/>
                      <a:pt x="24235" y="16420"/>
                    </a:cubicBezTo>
                    <a:cubicBezTo>
                      <a:pt x="22322" y="16420"/>
                      <a:pt x="24182" y="11591"/>
                      <a:pt x="24182" y="11590"/>
                    </a:cubicBezTo>
                    <a:lnTo>
                      <a:pt x="24182" y="11590"/>
                    </a:lnTo>
                    <a:cubicBezTo>
                      <a:pt x="24104" y="11626"/>
                      <a:pt x="24033" y="11642"/>
                      <a:pt x="23968" y="11642"/>
                    </a:cubicBezTo>
                    <a:cubicBezTo>
                      <a:pt x="23026" y="11642"/>
                      <a:pt x="23510" y="8097"/>
                      <a:pt x="23510" y="8095"/>
                    </a:cubicBezTo>
                    <a:lnTo>
                      <a:pt x="23510" y="8095"/>
                    </a:lnTo>
                    <a:cubicBezTo>
                      <a:pt x="22919" y="10108"/>
                      <a:pt x="21833" y="10302"/>
                      <a:pt x="21435" y="10302"/>
                    </a:cubicBezTo>
                    <a:cubicBezTo>
                      <a:pt x="21340" y="10302"/>
                      <a:pt x="21284" y="10291"/>
                      <a:pt x="21284" y="10291"/>
                    </a:cubicBezTo>
                    <a:cubicBezTo>
                      <a:pt x="21284" y="10291"/>
                      <a:pt x="20344" y="11977"/>
                      <a:pt x="19409" y="11977"/>
                    </a:cubicBezTo>
                    <a:cubicBezTo>
                      <a:pt x="19183" y="11977"/>
                      <a:pt x="18957" y="11879"/>
                      <a:pt x="18745" y="11635"/>
                    </a:cubicBezTo>
                    <a:cubicBezTo>
                      <a:pt x="17640" y="10396"/>
                      <a:pt x="20448" y="8663"/>
                      <a:pt x="20448" y="8663"/>
                    </a:cubicBezTo>
                    <a:lnTo>
                      <a:pt x="20448" y="8663"/>
                    </a:lnTo>
                    <a:cubicBezTo>
                      <a:pt x="20433" y="8664"/>
                      <a:pt x="20418" y="8664"/>
                      <a:pt x="20404" y="8664"/>
                    </a:cubicBezTo>
                    <a:cubicBezTo>
                      <a:pt x="19350" y="8664"/>
                      <a:pt x="21284" y="5960"/>
                      <a:pt x="21284" y="5960"/>
                    </a:cubicBezTo>
                    <a:lnTo>
                      <a:pt x="21284" y="5960"/>
                    </a:lnTo>
                    <a:cubicBezTo>
                      <a:pt x="21199" y="5985"/>
                      <a:pt x="21125" y="5996"/>
                      <a:pt x="21060" y="5996"/>
                    </a:cubicBezTo>
                    <a:cubicBezTo>
                      <a:pt x="20045" y="5996"/>
                      <a:pt x="21404" y="3107"/>
                      <a:pt x="21404" y="3107"/>
                    </a:cubicBezTo>
                    <a:lnTo>
                      <a:pt x="21404" y="3107"/>
                    </a:lnTo>
                    <a:cubicBezTo>
                      <a:pt x="21404" y="3107"/>
                      <a:pt x="21162" y="3309"/>
                      <a:pt x="20897" y="3309"/>
                    </a:cubicBezTo>
                    <a:cubicBezTo>
                      <a:pt x="20801" y="3309"/>
                      <a:pt x="20703" y="3283"/>
                      <a:pt x="20612" y="3211"/>
                    </a:cubicBezTo>
                    <a:cubicBezTo>
                      <a:pt x="20299" y="2928"/>
                      <a:pt x="20791" y="867"/>
                      <a:pt x="20792" y="866"/>
                    </a:cubicBezTo>
                    <a:lnTo>
                      <a:pt x="20792" y="866"/>
                    </a:lnTo>
                    <a:cubicBezTo>
                      <a:pt x="20791" y="867"/>
                      <a:pt x="19940" y="2181"/>
                      <a:pt x="18969" y="2569"/>
                    </a:cubicBezTo>
                    <a:cubicBezTo>
                      <a:pt x="18858" y="2615"/>
                      <a:pt x="18769" y="2636"/>
                      <a:pt x="18700" y="2636"/>
                    </a:cubicBezTo>
                    <a:cubicBezTo>
                      <a:pt x="18164" y="2636"/>
                      <a:pt x="18760" y="1419"/>
                      <a:pt x="18760" y="1419"/>
                    </a:cubicBezTo>
                    <a:lnTo>
                      <a:pt x="18760" y="1419"/>
                    </a:lnTo>
                    <a:cubicBezTo>
                      <a:pt x="18760" y="1419"/>
                      <a:pt x="18118" y="2121"/>
                      <a:pt x="17789" y="2300"/>
                    </a:cubicBezTo>
                    <a:cubicBezTo>
                      <a:pt x="17746" y="2324"/>
                      <a:pt x="17708" y="2335"/>
                      <a:pt x="17675" y="2335"/>
                    </a:cubicBezTo>
                    <a:cubicBezTo>
                      <a:pt x="17465" y="2335"/>
                      <a:pt x="17476" y="1897"/>
                      <a:pt x="17476" y="1897"/>
                    </a:cubicBezTo>
                    <a:lnTo>
                      <a:pt x="17476" y="1897"/>
                    </a:lnTo>
                    <a:cubicBezTo>
                      <a:pt x="17476" y="1897"/>
                      <a:pt x="16744" y="3495"/>
                      <a:pt x="16117" y="4033"/>
                    </a:cubicBezTo>
                    <a:cubicBezTo>
                      <a:pt x="15967" y="4157"/>
                      <a:pt x="15841" y="4205"/>
                      <a:pt x="15735" y="4205"/>
                    </a:cubicBezTo>
                    <a:cubicBezTo>
                      <a:pt x="15395" y="4205"/>
                      <a:pt x="15265" y="3719"/>
                      <a:pt x="15265" y="3719"/>
                    </a:cubicBezTo>
                    <a:cubicBezTo>
                      <a:pt x="15265" y="3719"/>
                      <a:pt x="14892" y="7319"/>
                      <a:pt x="14638" y="7408"/>
                    </a:cubicBezTo>
                    <a:cubicBezTo>
                      <a:pt x="14630" y="7411"/>
                      <a:pt x="14621" y="7412"/>
                      <a:pt x="14613" y="7412"/>
                    </a:cubicBezTo>
                    <a:cubicBezTo>
                      <a:pt x="14367" y="7412"/>
                      <a:pt x="14115" y="6393"/>
                      <a:pt x="14115" y="6393"/>
                    </a:cubicBezTo>
                    <a:lnTo>
                      <a:pt x="14115" y="6393"/>
                    </a:lnTo>
                    <a:cubicBezTo>
                      <a:pt x="14115" y="6394"/>
                      <a:pt x="14305" y="9930"/>
                      <a:pt x="12993" y="9930"/>
                    </a:cubicBezTo>
                    <a:cubicBezTo>
                      <a:pt x="12928" y="9930"/>
                      <a:pt x="12859" y="9921"/>
                      <a:pt x="12786" y="9903"/>
                    </a:cubicBezTo>
                    <a:cubicBezTo>
                      <a:pt x="11233" y="9514"/>
                      <a:pt x="12890" y="6572"/>
                      <a:pt x="12890" y="6572"/>
                    </a:cubicBezTo>
                    <a:lnTo>
                      <a:pt x="12890" y="6572"/>
                    </a:lnTo>
                    <a:cubicBezTo>
                      <a:pt x="12762" y="6617"/>
                      <a:pt x="12660" y="6637"/>
                      <a:pt x="12582" y="6637"/>
                    </a:cubicBezTo>
                    <a:cubicBezTo>
                      <a:pt x="11771" y="6637"/>
                      <a:pt x="13473" y="4451"/>
                      <a:pt x="13473" y="4451"/>
                    </a:cubicBezTo>
                    <a:lnTo>
                      <a:pt x="13473" y="4451"/>
                    </a:lnTo>
                    <a:cubicBezTo>
                      <a:pt x="13222" y="4601"/>
                      <a:pt x="13020" y="4663"/>
                      <a:pt x="12858" y="4663"/>
                    </a:cubicBezTo>
                    <a:cubicBezTo>
                      <a:pt x="12031" y="4663"/>
                      <a:pt x="12218" y="3047"/>
                      <a:pt x="12218" y="3047"/>
                    </a:cubicBezTo>
                    <a:lnTo>
                      <a:pt x="12218" y="3047"/>
                    </a:lnTo>
                    <a:cubicBezTo>
                      <a:pt x="12128" y="3072"/>
                      <a:pt x="12044" y="3083"/>
                      <a:pt x="11965" y="3083"/>
                    </a:cubicBezTo>
                    <a:cubicBezTo>
                      <a:pt x="10858" y="3083"/>
                      <a:pt x="10949" y="778"/>
                      <a:pt x="10949" y="777"/>
                    </a:cubicBezTo>
                    <a:lnTo>
                      <a:pt x="10949" y="777"/>
                    </a:lnTo>
                    <a:cubicBezTo>
                      <a:pt x="10949" y="777"/>
                      <a:pt x="10769" y="1569"/>
                      <a:pt x="10172" y="2494"/>
                    </a:cubicBezTo>
                    <a:cubicBezTo>
                      <a:pt x="9918" y="2872"/>
                      <a:pt x="9672" y="2983"/>
                      <a:pt x="9470" y="2983"/>
                    </a:cubicBezTo>
                    <a:cubicBezTo>
                      <a:pt x="9187" y="2983"/>
                      <a:pt x="8992" y="2763"/>
                      <a:pt x="8992" y="2763"/>
                    </a:cubicBezTo>
                    <a:lnTo>
                      <a:pt x="8992" y="2763"/>
                    </a:lnTo>
                    <a:cubicBezTo>
                      <a:pt x="8992" y="2764"/>
                      <a:pt x="9291" y="3376"/>
                      <a:pt x="9127" y="4272"/>
                    </a:cubicBezTo>
                    <a:cubicBezTo>
                      <a:pt x="9056" y="4630"/>
                      <a:pt x="8861" y="4739"/>
                      <a:pt x="8650" y="4739"/>
                    </a:cubicBezTo>
                    <a:cubicBezTo>
                      <a:pt x="8324" y="4739"/>
                      <a:pt x="7962" y="4481"/>
                      <a:pt x="7962" y="4481"/>
                    </a:cubicBezTo>
                    <a:lnTo>
                      <a:pt x="7962" y="4481"/>
                    </a:lnTo>
                    <a:cubicBezTo>
                      <a:pt x="7962" y="4481"/>
                      <a:pt x="9664" y="7408"/>
                      <a:pt x="7992" y="7588"/>
                    </a:cubicBezTo>
                    <a:cubicBezTo>
                      <a:pt x="7959" y="7591"/>
                      <a:pt x="7928" y="7593"/>
                      <a:pt x="7898" y="7593"/>
                    </a:cubicBezTo>
                    <a:cubicBezTo>
                      <a:pt x="6356" y="7593"/>
                      <a:pt x="7304" y="3183"/>
                      <a:pt x="7304" y="3181"/>
                    </a:cubicBezTo>
                    <a:lnTo>
                      <a:pt x="7304" y="3181"/>
                    </a:lnTo>
                    <a:cubicBezTo>
                      <a:pt x="7304" y="3182"/>
                      <a:pt x="6973" y="3977"/>
                      <a:pt x="6438" y="3977"/>
                    </a:cubicBezTo>
                    <a:cubicBezTo>
                      <a:pt x="6302" y="3977"/>
                      <a:pt x="6151" y="3925"/>
                      <a:pt x="5990" y="3794"/>
                    </a:cubicBezTo>
                    <a:cubicBezTo>
                      <a:pt x="5214" y="3167"/>
                      <a:pt x="5437" y="1674"/>
                      <a:pt x="5438" y="1673"/>
                    </a:cubicBezTo>
                    <a:lnTo>
                      <a:pt x="5438" y="1673"/>
                    </a:lnTo>
                    <a:cubicBezTo>
                      <a:pt x="5255" y="2325"/>
                      <a:pt x="5004" y="2560"/>
                      <a:pt x="4737" y="2560"/>
                    </a:cubicBezTo>
                    <a:cubicBezTo>
                      <a:pt x="4044" y="2560"/>
                      <a:pt x="3242" y="971"/>
                      <a:pt x="3242" y="971"/>
                    </a:cubicBezTo>
                    <a:cubicBezTo>
                      <a:pt x="3066" y="1370"/>
                      <a:pt x="2786" y="1522"/>
                      <a:pt x="2464" y="1522"/>
                    </a:cubicBezTo>
                    <a:cubicBezTo>
                      <a:pt x="1571" y="1522"/>
                      <a:pt x="346" y="359"/>
                      <a:pt x="62" y="77"/>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2" name="Google Shape;742;p11"/>
              <p:cNvGrpSpPr/>
              <p:nvPr/>
            </p:nvGrpSpPr>
            <p:grpSpPr>
              <a:xfrm>
                <a:off x="4719681" y="3910588"/>
                <a:ext cx="1387935" cy="1436330"/>
                <a:chOff x="4719681" y="3910588"/>
                <a:chExt cx="1387935" cy="1436330"/>
              </a:xfrm>
            </p:grpSpPr>
            <p:sp>
              <p:nvSpPr>
                <p:cNvPr id="743" name="Google Shape;743;p11"/>
                <p:cNvSpPr/>
                <p:nvPr/>
              </p:nvSpPr>
              <p:spPr>
                <a:xfrm>
                  <a:off x="4719681" y="3910588"/>
                  <a:ext cx="1189651" cy="1436330"/>
                </a:xfrm>
                <a:custGeom>
                  <a:avLst/>
                  <a:gdLst/>
                  <a:ahLst/>
                  <a:cxnLst/>
                  <a:rect l="l" t="t" r="r" b="b"/>
                  <a:pathLst>
                    <a:path w="22763" h="27483" extrusionOk="0">
                      <a:moveTo>
                        <a:pt x="3809" y="0"/>
                      </a:moveTo>
                      <a:lnTo>
                        <a:pt x="3809" y="15"/>
                      </a:lnTo>
                      <a:cubicBezTo>
                        <a:pt x="3809" y="15"/>
                        <a:pt x="5795" y="3047"/>
                        <a:pt x="4033" y="3376"/>
                      </a:cubicBezTo>
                      <a:cubicBezTo>
                        <a:pt x="4033" y="3376"/>
                        <a:pt x="6647" y="5571"/>
                        <a:pt x="4212" y="5676"/>
                      </a:cubicBezTo>
                      <a:cubicBezTo>
                        <a:pt x="4212" y="5676"/>
                        <a:pt x="5721" y="5795"/>
                        <a:pt x="6169" y="6706"/>
                      </a:cubicBezTo>
                      <a:cubicBezTo>
                        <a:pt x="6617" y="7602"/>
                        <a:pt x="5258" y="7856"/>
                        <a:pt x="5258" y="7856"/>
                      </a:cubicBezTo>
                      <a:cubicBezTo>
                        <a:pt x="5258" y="7856"/>
                        <a:pt x="9947" y="7916"/>
                        <a:pt x="9410" y="9499"/>
                      </a:cubicBezTo>
                      <a:cubicBezTo>
                        <a:pt x="9269" y="9907"/>
                        <a:pt x="9003" y="10059"/>
                        <a:pt x="8685" y="10059"/>
                      </a:cubicBezTo>
                      <a:cubicBezTo>
                        <a:pt x="7759" y="10059"/>
                        <a:pt x="6393" y="8768"/>
                        <a:pt x="6393" y="8767"/>
                      </a:cubicBezTo>
                      <a:lnTo>
                        <a:pt x="6393" y="8767"/>
                      </a:lnTo>
                      <a:cubicBezTo>
                        <a:pt x="6393" y="8768"/>
                        <a:pt x="6824" y="9859"/>
                        <a:pt x="5981" y="9859"/>
                      </a:cubicBezTo>
                      <a:cubicBezTo>
                        <a:pt x="5965" y="9859"/>
                        <a:pt x="5947" y="9859"/>
                        <a:pt x="5930" y="9858"/>
                      </a:cubicBezTo>
                      <a:cubicBezTo>
                        <a:pt x="5019" y="9813"/>
                        <a:pt x="4496" y="9395"/>
                        <a:pt x="4496" y="9395"/>
                      </a:cubicBezTo>
                      <a:lnTo>
                        <a:pt x="4496" y="9395"/>
                      </a:lnTo>
                      <a:cubicBezTo>
                        <a:pt x="4496" y="9395"/>
                        <a:pt x="5004" y="10082"/>
                        <a:pt x="3973" y="10470"/>
                      </a:cubicBezTo>
                      <a:cubicBezTo>
                        <a:pt x="2943" y="10858"/>
                        <a:pt x="2121" y="10858"/>
                        <a:pt x="2121" y="10858"/>
                      </a:cubicBezTo>
                      <a:cubicBezTo>
                        <a:pt x="2121" y="10858"/>
                        <a:pt x="4720" y="11366"/>
                        <a:pt x="4048" y="12606"/>
                      </a:cubicBezTo>
                      <a:cubicBezTo>
                        <a:pt x="4048" y="12606"/>
                        <a:pt x="6393" y="12845"/>
                        <a:pt x="5153" y="14144"/>
                      </a:cubicBezTo>
                      <a:cubicBezTo>
                        <a:pt x="5153" y="14144"/>
                        <a:pt x="6546" y="13493"/>
                        <a:pt x="7175" y="13493"/>
                      </a:cubicBezTo>
                      <a:cubicBezTo>
                        <a:pt x="7469" y="13493"/>
                        <a:pt x="7596" y="13636"/>
                        <a:pt x="7334" y="14055"/>
                      </a:cubicBezTo>
                      <a:cubicBezTo>
                        <a:pt x="7334" y="14055"/>
                        <a:pt x="8304" y="13769"/>
                        <a:pt x="9187" y="13769"/>
                      </a:cubicBezTo>
                      <a:cubicBezTo>
                        <a:pt x="9919" y="13769"/>
                        <a:pt x="10591" y="13965"/>
                        <a:pt x="10605" y="14682"/>
                      </a:cubicBezTo>
                      <a:cubicBezTo>
                        <a:pt x="10611" y="15358"/>
                        <a:pt x="9947" y="15553"/>
                        <a:pt x="9178" y="15553"/>
                      </a:cubicBezTo>
                      <a:cubicBezTo>
                        <a:pt x="8129" y="15553"/>
                        <a:pt x="6886" y="15190"/>
                        <a:pt x="6886" y="15190"/>
                      </a:cubicBezTo>
                      <a:lnTo>
                        <a:pt x="6886" y="15190"/>
                      </a:lnTo>
                      <a:cubicBezTo>
                        <a:pt x="6886" y="15190"/>
                        <a:pt x="7901" y="15683"/>
                        <a:pt x="7737" y="15922"/>
                      </a:cubicBezTo>
                      <a:cubicBezTo>
                        <a:pt x="7709" y="15971"/>
                        <a:pt x="7536" y="15990"/>
                        <a:pt x="7278" y="15990"/>
                      </a:cubicBezTo>
                      <a:cubicBezTo>
                        <a:pt x="6277" y="15990"/>
                        <a:pt x="4003" y="15698"/>
                        <a:pt x="4003" y="15698"/>
                      </a:cubicBezTo>
                      <a:lnTo>
                        <a:pt x="4003" y="15698"/>
                      </a:lnTo>
                      <a:cubicBezTo>
                        <a:pt x="4003" y="15698"/>
                        <a:pt x="4780" y="16116"/>
                        <a:pt x="4123" y="16594"/>
                      </a:cubicBezTo>
                      <a:cubicBezTo>
                        <a:pt x="3465" y="17087"/>
                        <a:pt x="1748" y="17445"/>
                        <a:pt x="1748" y="17445"/>
                      </a:cubicBezTo>
                      <a:cubicBezTo>
                        <a:pt x="1748" y="17445"/>
                        <a:pt x="2315" y="17550"/>
                        <a:pt x="2061" y="17848"/>
                      </a:cubicBezTo>
                      <a:cubicBezTo>
                        <a:pt x="1822" y="18132"/>
                        <a:pt x="986" y="18595"/>
                        <a:pt x="986" y="18595"/>
                      </a:cubicBezTo>
                      <a:cubicBezTo>
                        <a:pt x="986" y="18595"/>
                        <a:pt x="1370" y="18507"/>
                        <a:pt x="1705" y="18507"/>
                      </a:cubicBezTo>
                      <a:cubicBezTo>
                        <a:pt x="2073" y="18507"/>
                        <a:pt x="2382" y="18613"/>
                        <a:pt x="2061" y="19058"/>
                      </a:cubicBezTo>
                      <a:cubicBezTo>
                        <a:pt x="1464" y="19910"/>
                        <a:pt x="0" y="20432"/>
                        <a:pt x="0" y="20432"/>
                      </a:cubicBezTo>
                      <a:cubicBezTo>
                        <a:pt x="0" y="20432"/>
                        <a:pt x="11" y="20432"/>
                        <a:pt x="31" y="20432"/>
                      </a:cubicBezTo>
                      <a:cubicBezTo>
                        <a:pt x="293" y="20432"/>
                        <a:pt x="2135" y="20445"/>
                        <a:pt x="2315" y="20806"/>
                      </a:cubicBezTo>
                      <a:cubicBezTo>
                        <a:pt x="2509" y="21194"/>
                        <a:pt x="2032" y="21553"/>
                        <a:pt x="2032" y="21553"/>
                      </a:cubicBezTo>
                      <a:cubicBezTo>
                        <a:pt x="2032" y="21553"/>
                        <a:pt x="3088" y="21320"/>
                        <a:pt x="3926" y="21320"/>
                      </a:cubicBezTo>
                      <a:cubicBezTo>
                        <a:pt x="4619" y="21320"/>
                        <a:pt x="5164" y="21479"/>
                        <a:pt x="4839" y="22060"/>
                      </a:cubicBezTo>
                      <a:cubicBezTo>
                        <a:pt x="4839" y="22060"/>
                        <a:pt x="6406" y="21404"/>
                        <a:pt x="7215" y="21404"/>
                      </a:cubicBezTo>
                      <a:cubicBezTo>
                        <a:pt x="7550" y="21404"/>
                        <a:pt x="7754" y="21517"/>
                        <a:pt x="7662" y="21836"/>
                      </a:cubicBezTo>
                      <a:cubicBezTo>
                        <a:pt x="7662" y="21836"/>
                        <a:pt x="9061" y="20420"/>
                        <a:pt x="10140" y="20420"/>
                      </a:cubicBezTo>
                      <a:cubicBezTo>
                        <a:pt x="10449" y="20420"/>
                        <a:pt x="10732" y="20536"/>
                        <a:pt x="10948" y="20836"/>
                      </a:cubicBezTo>
                      <a:cubicBezTo>
                        <a:pt x="11934" y="22180"/>
                        <a:pt x="9066" y="23001"/>
                        <a:pt x="9066" y="23001"/>
                      </a:cubicBezTo>
                      <a:cubicBezTo>
                        <a:pt x="9066" y="23001"/>
                        <a:pt x="9036" y="24525"/>
                        <a:pt x="6438" y="24704"/>
                      </a:cubicBezTo>
                      <a:cubicBezTo>
                        <a:pt x="6438" y="24704"/>
                        <a:pt x="10515" y="25062"/>
                        <a:pt x="9679" y="26138"/>
                      </a:cubicBezTo>
                      <a:cubicBezTo>
                        <a:pt x="9679" y="26138"/>
                        <a:pt x="10691" y="25990"/>
                        <a:pt x="11778" y="25990"/>
                      </a:cubicBezTo>
                      <a:cubicBezTo>
                        <a:pt x="13228" y="25990"/>
                        <a:pt x="14812" y="26253"/>
                        <a:pt x="14309" y="27482"/>
                      </a:cubicBezTo>
                      <a:lnTo>
                        <a:pt x="16176" y="26750"/>
                      </a:lnTo>
                      <a:lnTo>
                        <a:pt x="15907" y="27452"/>
                      </a:lnTo>
                      <a:lnTo>
                        <a:pt x="19297" y="25301"/>
                      </a:lnTo>
                      <a:lnTo>
                        <a:pt x="18745" y="26093"/>
                      </a:lnTo>
                      <a:lnTo>
                        <a:pt x="22762" y="23778"/>
                      </a:lnTo>
                      <a:lnTo>
                        <a:pt x="3809"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11"/>
                <p:cNvSpPr/>
                <p:nvPr/>
              </p:nvSpPr>
              <p:spPr>
                <a:xfrm>
                  <a:off x="5010835" y="4029223"/>
                  <a:ext cx="976525" cy="1220904"/>
                </a:xfrm>
                <a:custGeom>
                  <a:avLst/>
                  <a:gdLst/>
                  <a:ahLst/>
                  <a:cxnLst/>
                  <a:rect l="l" t="t" r="r" b="b"/>
                  <a:pathLst>
                    <a:path w="18685" h="23361" extrusionOk="0">
                      <a:moveTo>
                        <a:pt x="180" y="0"/>
                      </a:moveTo>
                      <a:lnTo>
                        <a:pt x="0" y="135"/>
                      </a:lnTo>
                      <a:lnTo>
                        <a:pt x="18297" y="23360"/>
                      </a:lnTo>
                      <a:lnTo>
                        <a:pt x="18685" y="23031"/>
                      </a:lnTo>
                      <a:lnTo>
                        <a:pt x="18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745" name="Google Shape;745;p11"/>
                <p:cNvGrpSpPr/>
                <p:nvPr/>
              </p:nvGrpSpPr>
              <p:grpSpPr>
                <a:xfrm>
                  <a:off x="4959305" y="4124446"/>
                  <a:ext cx="1148312" cy="1094429"/>
                  <a:chOff x="11860675" y="4981025"/>
                  <a:chExt cx="549300" cy="523525"/>
                </a:xfrm>
              </p:grpSpPr>
              <p:sp>
                <p:nvSpPr>
                  <p:cNvPr id="746" name="Google Shape;746;p11"/>
                  <p:cNvSpPr/>
                  <p:nvPr/>
                </p:nvSpPr>
                <p:spPr>
                  <a:xfrm>
                    <a:off x="12020875" y="5415275"/>
                    <a:ext cx="258025" cy="83300"/>
                  </a:xfrm>
                  <a:custGeom>
                    <a:avLst/>
                    <a:gdLst/>
                    <a:ahLst/>
                    <a:cxnLst/>
                    <a:rect l="l" t="t" r="r" b="b"/>
                    <a:pathLst>
                      <a:path w="10321" h="3332" fill="none" extrusionOk="0">
                        <a:moveTo>
                          <a:pt x="10321" y="509"/>
                        </a:moveTo>
                        <a:cubicBezTo>
                          <a:pt x="10321" y="509"/>
                          <a:pt x="3988" y="1"/>
                          <a:pt x="0" y="333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11"/>
                  <p:cNvSpPr/>
                  <p:nvPr/>
                </p:nvSpPr>
                <p:spPr>
                  <a:xfrm>
                    <a:off x="12023100" y="5439550"/>
                    <a:ext cx="123625" cy="9375"/>
                  </a:xfrm>
                  <a:custGeom>
                    <a:avLst/>
                    <a:gdLst/>
                    <a:ahLst/>
                    <a:cxnLst/>
                    <a:rect l="l" t="t" r="r" b="b"/>
                    <a:pathLst>
                      <a:path w="4945" h="375" fill="none" extrusionOk="0">
                        <a:moveTo>
                          <a:pt x="1" y="374"/>
                        </a:moveTo>
                        <a:lnTo>
                          <a:pt x="4944"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11"/>
                  <p:cNvSpPr/>
                  <p:nvPr/>
                </p:nvSpPr>
                <p:spPr>
                  <a:xfrm>
                    <a:off x="12052975" y="5451500"/>
                    <a:ext cx="53050" cy="53050"/>
                  </a:xfrm>
                  <a:custGeom>
                    <a:avLst/>
                    <a:gdLst/>
                    <a:ahLst/>
                    <a:cxnLst/>
                    <a:rect l="l" t="t" r="r" b="b"/>
                    <a:pathLst>
                      <a:path w="2122" h="2122" fill="none" extrusionOk="0">
                        <a:moveTo>
                          <a:pt x="2121" y="1"/>
                        </a:moveTo>
                        <a:cubicBezTo>
                          <a:pt x="2121" y="1"/>
                          <a:pt x="314" y="1479"/>
                          <a:pt x="0" y="2122"/>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11"/>
                  <p:cNvSpPr/>
                  <p:nvPr/>
                </p:nvSpPr>
                <p:spPr>
                  <a:xfrm>
                    <a:off x="12066800" y="5366375"/>
                    <a:ext cx="166550" cy="4500"/>
                  </a:xfrm>
                  <a:custGeom>
                    <a:avLst/>
                    <a:gdLst/>
                    <a:ahLst/>
                    <a:cxnLst/>
                    <a:rect l="l" t="t" r="r" b="b"/>
                    <a:pathLst>
                      <a:path w="6662" h="180" fill="none" extrusionOk="0">
                        <a:moveTo>
                          <a:pt x="0" y="0"/>
                        </a:moveTo>
                        <a:lnTo>
                          <a:pt x="6661" y="18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11"/>
                  <p:cNvSpPr/>
                  <p:nvPr/>
                </p:nvSpPr>
                <p:spPr>
                  <a:xfrm>
                    <a:off x="11860675" y="5278625"/>
                    <a:ext cx="342425" cy="83300"/>
                  </a:xfrm>
                  <a:custGeom>
                    <a:avLst/>
                    <a:gdLst/>
                    <a:ahLst/>
                    <a:cxnLst/>
                    <a:rect l="l" t="t" r="r" b="b"/>
                    <a:pathLst>
                      <a:path w="13697" h="3332" fill="none" extrusionOk="0">
                        <a:moveTo>
                          <a:pt x="13697" y="2181"/>
                        </a:moveTo>
                        <a:cubicBezTo>
                          <a:pt x="13697" y="2181"/>
                          <a:pt x="6348" y="0"/>
                          <a:pt x="1" y="333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11"/>
                  <p:cNvSpPr/>
                  <p:nvPr/>
                </p:nvSpPr>
                <p:spPr>
                  <a:xfrm>
                    <a:off x="11868525" y="5317450"/>
                    <a:ext cx="87400" cy="14600"/>
                  </a:xfrm>
                  <a:custGeom>
                    <a:avLst/>
                    <a:gdLst/>
                    <a:ahLst/>
                    <a:cxnLst/>
                    <a:rect l="l" t="t" r="r" b="b"/>
                    <a:pathLst>
                      <a:path w="3496" h="584" fill="none" extrusionOk="0">
                        <a:moveTo>
                          <a:pt x="0" y="1"/>
                        </a:moveTo>
                        <a:cubicBezTo>
                          <a:pt x="0" y="1"/>
                          <a:pt x="2494" y="583"/>
                          <a:pt x="3495" y="389"/>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11"/>
                  <p:cNvSpPr/>
                  <p:nvPr/>
                </p:nvSpPr>
                <p:spPr>
                  <a:xfrm>
                    <a:off x="11953275" y="5315600"/>
                    <a:ext cx="107200" cy="58275"/>
                  </a:xfrm>
                  <a:custGeom>
                    <a:avLst/>
                    <a:gdLst/>
                    <a:ahLst/>
                    <a:cxnLst/>
                    <a:rect l="l" t="t" r="r" b="b"/>
                    <a:pathLst>
                      <a:path w="4288" h="2331" fill="none" extrusionOk="0">
                        <a:moveTo>
                          <a:pt x="1" y="2330"/>
                        </a:moveTo>
                        <a:cubicBezTo>
                          <a:pt x="1" y="2330"/>
                          <a:pt x="2346" y="553"/>
                          <a:pt x="4287"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11"/>
                  <p:cNvSpPr/>
                  <p:nvPr/>
                </p:nvSpPr>
                <p:spPr>
                  <a:xfrm>
                    <a:off x="12062300" y="5245775"/>
                    <a:ext cx="84800" cy="17200"/>
                  </a:xfrm>
                  <a:custGeom>
                    <a:avLst/>
                    <a:gdLst/>
                    <a:ahLst/>
                    <a:cxnLst/>
                    <a:rect l="l" t="t" r="r" b="b"/>
                    <a:pathLst>
                      <a:path w="3392" h="688" fill="none" extrusionOk="0">
                        <a:moveTo>
                          <a:pt x="1" y="0"/>
                        </a:moveTo>
                        <a:lnTo>
                          <a:pt x="3391" y="68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11"/>
                  <p:cNvSpPr/>
                  <p:nvPr/>
                </p:nvSpPr>
                <p:spPr>
                  <a:xfrm>
                    <a:off x="12057825" y="5253600"/>
                    <a:ext cx="42975" cy="20200"/>
                  </a:xfrm>
                  <a:custGeom>
                    <a:avLst/>
                    <a:gdLst/>
                    <a:ahLst/>
                    <a:cxnLst/>
                    <a:rect l="l" t="t" r="r" b="b"/>
                    <a:pathLst>
                      <a:path w="1719" h="808" fill="none" extrusionOk="0">
                        <a:moveTo>
                          <a:pt x="1" y="807"/>
                        </a:moveTo>
                        <a:lnTo>
                          <a:pt x="1718"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11"/>
                  <p:cNvSpPr/>
                  <p:nvPr/>
                </p:nvSpPr>
                <p:spPr>
                  <a:xfrm>
                    <a:off x="11897650" y="5153900"/>
                    <a:ext cx="191200" cy="35875"/>
                  </a:xfrm>
                  <a:custGeom>
                    <a:avLst/>
                    <a:gdLst/>
                    <a:ahLst/>
                    <a:cxnLst/>
                    <a:rect l="l" t="t" r="r" b="b"/>
                    <a:pathLst>
                      <a:path w="7648" h="1435" fill="none" extrusionOk="0">
                        <a:moveTo>
                          <a:pt x="0" y="1"/>
                        </a:moveTo>
                        <a:lnTo>
                          <a:pt x="7647" y="14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11"/>
                  <p:cNvSpPr/>
                  <p:nvPr/>
                </p:nvSpPr>
                <p:spPr>
                  <a:xfrm>
                    <a:off x="11938725" y="5170700"/>
                    <a:ext cx="49300" cy="17225"/>
                  </a:xfrm>
                  <a:custGeom>
                    <a:avLst/>
                    <a:gdLst/>
                    <a:ahLst/>
                    <a:cxnLst/>
                    <a:rect l="l" t="t" r="r" b="b"/>
                    <a:pathLst>
                      <a:path w="1972" h="689" fill="none" extrusionOk="0">
                        <a:moveTo>
                          <a:pt x="0" y="688"/>
                        </a:moveTo>
                        <a:lnTo>
                          <a:pt x="1972"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11"/>
                  <p:cNvSpPr/>
                  <p:nvPr/>
                </p:nvSpPr>
                <p:spPr>
                  <a:xfrm>
                    <a:off x="11896900" y="5001575"/>
                    <a:ext cx="72075" cy="38100"/>
                  </a:xfrm>
                  <a:custGeom>
                    <a:avLst/>
                    <a:gdLst/>
                    <a:ahLst/>
                    <a:cxnLst/>
                    <a:rect l="l" t="t" r="r" b="b"/>
                    <a:pathLst>
                      <a:path w="2883" h="1524" fill="none" extrusionOk="0">
                        <a:moveTo>
                          <a:pt x="0" y="0"/>
                        </a:moveTo>
                        <a:lnTo>
                          <a:pt x="2883" y="1523"/>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8" name="Google Shape;758;p11"/>
                  <p:cNvSpPr/>
                  <p:nvPr/>
                </p:nvSpPr>
                <p:spPr>
                  <a:xfrm>
                    <a:off x="11909600" y="5019850"/>
                    <a:ext cx="21300" cy="4900"/>
                  </a:xfrm>
                  <a:custGeom>
                    <a:avLst/>
                    <a:gdLst/>
                    <a:ahLst/>
                    <a:cxnLst/>
                    <a:rect l="l" t="t" r="r" b="b"/>
                    <a:pathLst>
                      <a:path w="852" h="196" fill="none" extrusionOk="0">
                        <a:moveTo>
                          <a:pt x="0" y="195"/>
                        </a:moveTo>
                        <a:lnTo>
                          <a:pt x="85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9" name="Google Shape;759;p11"/>
                  <p:cNvSpPr/>
                  <p:nvPr/>
                </p:nvSpPr>
                <p:spPr>
                  <a:xfrm>
                    <a:off x="12283725" y="5195350"/>
                    <a:ext cx="126250" cy="236025"/>
                  </a:xfrm>
                  <a:custGeom>
                    <a:avLst/>
                    <a:gdLst/>
                    <a:ahLst/>
                    <a:cxnLst/>
                    <a:rect l="l" t="t" r="r" b="b"/>
                    <a:pathLst>
                      <a:path w="5050" h="9441" fill="none" extrusionOk="0">
                        <a:moveTo>
                          <a:pt x="1" y="9440"/>
                        </a:moveTo>
                        <a:cubicBezTo>
                          <a:pt x="1" y="9440"/>
                          <a:pt x="912" y="3152"/>
                          <a:pt x="504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0" name="Google Shape;760;p11"/>
                  <p:cNvSpPr/>
                  <p:nvPr/>
                </p:nvSpPr>
                <p:spPr>
                  <a:xfrm>
                    <a:off x="12324425" y="5186775"/>
                    <a:ext cx="36625" cy="118375"/>
                  </a:xfrm>
                  <a:custGeom>
                    <a:avLst/>
                    <a:gdLst/>
                    <a:ahLst/>
                    <a:cxnLst/>
                    <a:rect l="l" t="t" r="r" b="b"/>
                    <a:pathLst>
                      <a:path w="1465" h="4735" fill="none" extrusionOk="0">
                        <a:moveTo>
                          <a:pt x="1465" y="0"/>
                        </a:moveTo>
                        <a:lnTo>
                          <a:pt x="1" y="473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1" name="Google Shape;761;p11"/>
                  <p:cNvSpPr/>
                  <p:nvPr/>
                </p:nvSpPr>
                <p:spPr>
                  <a:xfrm>
                    <a:off x="12344975" y="5227850"/>
                    <a:ext cx="63875" cy="39975"/>
                  </a:xfrm>
                  <a:custGeom>
                    <a:avLst/>
                    <a:gdLst/>
                    <a:ahLst/>
                    <a:cxnLst/>
                    <a:rect l="l" t="t" r="r" b="b"/>
                    <a:pathLst>
                      <a:path w="2555" h="1599" fill="none" extrusionOk="0">
                        <a:moveTo>
                          <a:pt x="0" y="1598"/>
                        </a:moveTo>
                        <a:cubicBezTo>
                          <a:pt x="0" y="1598"/>
                          <a:pt x="1852" y="179"/>
                          <a:pt x="2554"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2" name="Google Shape;762;p11"/>
                  <p:cNvSpPr/>
                  <p:nvPr/>
                </p:nvSpPr>
                <p:spPr>
                  <a:xfrm>
                    <a:off x="12251625" y="5228600"/>
                    <a:ext cx="32875" cy="162825"/>
                  </a:xfrm>
                  <a:custGeom>
                    <a:avLst/>
                    <a:gdLst/>
                    <a:ahLst/>
                    <a:cxnLst/>
                    <a:rect l="l" t="t" r="r" b="b"/>
                    <a:pathLst>
                      <a:path w="1315" h="6513" fill="none" extrusionOk="0">
                        <a:moveTo>
                          <a:pt x="1315" y="0"/>
                        </a:moveTo>
                        <a:lnTo>
                          <a:pt x="0" y="651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3" name="Google Shape;763;p11"/>
                  <p:cNvSpPr/>
                  <p:nvPr/>
                </p:nvSpPr>
                <p:spPr>
                  <a:xfrm>
                    <a:off x="12199350" y="5013500"/>
                    <a:ext cx="116525" cy="327125"/>
                  </a:xfrm>
                  <a:custGeom>
                    <a:avLst/>
                    <a:gdLst/>
                    <a:ahLst/>
                    <a:cxnLst/>
                    <a:rect l="l" t="t" r="r" b="b"/>
                    <a:pathLst>
                      <a:path w="4661" h="13085" fill="none" extrusionOk="0">
                        <a:moveTo>
                          <a:pt x="478" y="13085"/>
                        </a:moveTo>
                        <a:cubicBezTo>
                          <a:pt x="478" y="13085"/>
                          <a:pt x="0" y="5423"/>
                          <a:pt x="466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4" name="Google Shape;764;p11"/>
                  <p:cNvSpPr/>
                  <p:nvPr/>
                </p:nvSpPr>
                <p:spPr>
                  <a:xfrm>
                    <a:off x="12260575" y="5010900"/>
                    <a:ext cx="10850" cy="87400"/>
                  </a:xfrm>
                  <a:custGeom>
                    <a:avLst/>
                    <a:gdLst/>
                    <a:ahLst/>
                    <a:cxnLst/>
                    <a:rect l="l" t="t" r="r" b="b"/>
                    <a:pathLst>
                      <a:path w="434" h="3496" fill="none" extrusionOk="0">
                        <a:moveTo>
                          <a:pt x="404" y="0"/>
                        </a:moveTo>
                        <a:cubicBezTo>
                          <a:pt x="404" y="0"/>
                          <a:pt x="434" y="2554"/>
                          <a:pt x="1" y="349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5" name="Google Shape;765;p11"/>
                  <p:cNvSpPr/>
                  <p:nvPr/>
                </p:nvSpPr>
                <p:spPr>
                  <a:xfrm>
                    <a:off x="12226225" y="5106125"/>
                    <a:ext cx="80675" cy="91125"/>
                  </a:xfrm>
                  <a:custGeom>
                    <a:avLst/>
                    <a:gdLst/>
                    <a:ahLst/>
                    <a:cxnLst/>
                    <a:rect l="l" t="t" r="r" b="b"/>
                    <a:pathLst>
                      <a:path w="3227" h="3645" fill="none" extrusionOk="0">
                        <a:moveTo>
                          <a:pt x="3227" y="0"/>
                        </a:moveTo>
                        <a:cubicBezTo>
                          <a:pt x="3227" y="0"/>
                          <a:pt x="972" y="1882"/>
                          <a:pt x="1" y="3644"/>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6" name="Google Shape;766;p11"/>
                  <p:cNvSpPr/>
                  <p:nvPr/>
                </p:nvSpPr>
                <p:spPr>
                  <a:xfrm>
                    <a:off x="12166125" y="5196850"/>
                    <a:ext cx="1500" cy="86650"/>
                  </a:xfrm>
                  <a:custGeom>
                    <a:avLst/>
                    <a:gdLst/>
                    <a:ahLst/>
                    <a:cxnLst/>
                    <a:rect l="l" t="t" r="r" b="b"/>
                    <a:pathLst>
                      <a:path w="60" h="3466" fill="none" extrusionOk="0">
                        <a:moveTo>
                          <a:pt x="60" y="0"/>
                        </a:moveTo>
                        <a:lnTo>
                          <a:pt x="0" y="3466"/>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7" name="Google Shape;767;p11"/>
                  <p:cNvSpPr/>
                  <p:nvPr/>
                </p:nvSpPr>
                <p:spPr>
                  <a:xfrm>
                    <a:off x="12167225" y="5199100"/>
                    <a:ext cx="29150" cy="37350"/>
                  </a:xfrm>
                  <a:custGeom>
                    <a:avLst/>
                    <a:gdLst/>
                    <a:ahLst/>
                    <a:cxnLst/>
                    <a:rect l="l" t="t" r="r" b="b"/>
                    <a:pathLst>
                      <a:path w="1166" h="1494" fill="none" extrusionOk="0">
                        <a:moveTo>
                          <a:pt x="1166" y="0"/>
                        </a:moveTo>
                        <a:lnTo>
                          <a:pt x="1" y="149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11"/>
                  <p:cNvSpPr/>
                  <p:nvPr/>
                </p:nvSpPr>
                <p:spPr>
                  <a:xfrm>
                    <a:off x="12093675" y="4998575"/>
                    <a:ext cx="7875" cy="194200"/>
                  </a:xfrm>
                  <a:custGeom>
                    <a:avLst/>
                    <a:gdLst/>
                    <a:ahLst/>
                    <a:cxnLst/>
                    <a:rect l="l" t="t" r="r" b="b"/>
                    <a:pathLst>
                      <a:path w="315" h="7768" fill="none" extrusionOk="0">
                        <a:moveTo>
                          <a:pt x="314" y="1"/>
                        </a:moveTo>
                        <a:lnTo>
                          <a:pt x="0" y="77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9" name="Google Shape;769;p11"/>
                  <p:cNvSpPr/>
                  <p:nvPr/>
                </p:nvSpPr>
                <p:spPr>
                  <a:xfrm>
                    <a:off x="12097775" y="5046375"/>
                    <a:ext cx="27650" cy="43700"/>
                  </a:xfrm>
                  <a:custGeom>
                    <a:avLst/>
                    <a:gdLst/>
                    <a:ahLst/>
                    <a:cxnLst/>
                    <a:rect l="l" t="t" r="r" b="b"/>
                    <a:pathLst>
                      <a:path w="1106" h="1748" fill="none" extrusionOk="0">
                        <a:moveTo>
                          <a:pt x="1106" y="0"/>
                        </a:moveTo>
                        <a:lnTo>
                          <a:pt x="1" y="1748"/>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0" name="Google Shape;770;p11"/>
                  <p:cNvSpPr/>
                  <p:nvPr/>
                </p:nvSpPr>
                <p:spPr>
                  <a:xfrm>
                    <a:off x="11967100" y="4981025"/>
                    <a:ext cx="20925" cy="79175"/>
                  </a:xfrm>
                  <a:custGeom>
                    <a:avLst/>
                    <a:gdLst/>
                    <a:ahLst/>
                    <a:cxnLst/>
                    <a:rect l="l" t="t" r="r" b="b"/>
                    <a:pathLst>
                      <a:path w="837" h="3167" fill="none" extrusionOk="0">
                        <a:moveTo>
                          <a:pt x="0" y="1"/>
                        </a:moveTo>
                        <a:lnTo>
                          <a:pt x="837" y="3167"/>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1" name="Google Shape;771;p11"/>
                  <p:cNvSpPr/>
                  <p:nvPr/>
                </p:nvSpPr>
                <p:spPr>
                  <a:xfrm>
                    <a:off x="11977175" y="4998575"/>
                    <a:ext cx="9350" cy="19825"/>
                  </a:xfrm>
                  <a:custGeom>
                    <a:avLst/>
                    <a:gdLst/>
                    <a:ahLst/>
                    <a:cxnLst/>
                    <a:rect l="l" t="t" r="r" b="b"/>
                    <a:pathLst>
                      <a:path w="374" h="793" fill="none" extrusionOk="0">
                        <a:moveTo>
                          <a:pt x="374" y="1"/>
                        </a:moveTo>
                        <a:lnTo>
                          <a:pt x="1" y="7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713275" y="445025"/>
            <a:ext cx="7717500" cy="740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accent3"/>
              </a:buClr>
              <a:buSzPts val="3600"/>
              <a:buFont typeface="Calistoga"/>
              <a:buNone/>
              <a:defRPr sz="3600">
                <a:solidFill>
                  <a:schemeClr val="accent3"/>
                </a:solidFill>
                <a:latin typeface="Calistoga"/>
                <a:ea typeface="Calistoga"/>
                <a:cs typeface="Calistoga"/>
                <a:sym typeface="Calistoga"/>
              </a:defRPr>
            </a:lvl1pPr>
            <a:lvl2pPr lvl="1">
              <a:spcBef>
                <a:spcPts val="0"/>
              </a:spcBef>
              <a:spcAft>
                <a:spcPts val="0"/>
              </a:spcAft>
              <a:buClr>
                <a:schemeClr val="accent3"/>
              </a:buClr>
              <a:buSzPts val="3600"/>
              <a:buFont typeface="Calistoga"/>
              <a:buNone/>
              <a:defRPr sz="3600">
                <a:solidFill>
                  <a:schemeClr val="accent3"/>
                </a:solidFill>
                <a:latin typeface="Calistoga"/>
                <a:ea typeface="Calistoga"/>
                <a:cs typeface="Calistoga"/>
                <a:sym typeface="Calistoga"/>
              </a:defRPr>
            </a:lvl2pPr>
            <a:lvl3pPr lvl="2">
              <a:spcBef>
                <a:spcPts val="0"/>
              </a:spcBef>
              <a:spcAft>
                <a:spcPts val="0"/>
              </a:spcAft>
              <a:buClr>
                <a:schemeClr val="accent3"/>
              </a:buClr>
              <a:buSzPts val="3600"/>
              <a:buFont typeface="Calistoga"/>
              <a:buNone/>
              <a:defRPr sz="3600">
                <a:solidFill>
                  <a:schemeClr val="accent3"/>
                </a:solidFill>
                <a:latin typeface="Calistoga"/>
                <a:ea typeface="Calistoga"/>
                <a:cs typeface="Calistoga"/>
                <a:sym typeface="Calistoga"/>
              </a:defRPr>
            </a:lvl3pPr>
            <a:lvl4pPr lvl="3">
              <a:spcBef>
                <a:spcPts val="0"/>
              </a:spcBef>
              <a:spcAft>
                <a:spcPts val="0"/>
              </a:spcAft>
              <a:buClr>
                <a:schemeClr val="accent3"/>
              </a:buClr>
              <a:buSzPts val="3600"/>
              <a:buFont typeface="Calistoga"/>
              <a:buNone/>
              <a:defRPr sz="3600">
                <a:solidFill>
                  <a:schemeClr val="accent3"/>
                </a:solidFill>
                <a:latin typeface="Calistoga"/>
                <a:ea typeface="Calistoga"/>
                <a:cs typeface="Calistoga"/>
                <a:sym typeface="Calistoga"/>
              </a:defRPr>
            </a:lvl4pPr>
            <a:lvl5pPr lvl="4">
              <a:spcBef>
                <a:spcPts val="0"/>
              </a:spcBef>
              <a:spcAft>
                <a:spcPts val="0"/>
              </a:spcAft>
              <a:buClr>
                <a:schemeClr val="accent3"/>
              </a:buClr>
              <a:buSzPts val="3600"/>
              <a:buFont typeface="Calistoga"/>
              <a:buNone/>
              <a:defRPr sz="3600">
                <a:solidFill>
                  <a:schemeClr val="accent3"/>
                </a:solidFill>
                <a:latin typeface="Calistoga"/>
                <a:ea typeface="Calistoga"/>
                <a:cs typeface="Calistoga"/>
                <a:sym typeface="Calistoga"/>
              </a:defRPr>
            </a:lvl5pPr>
            <a:lvl6pPr lvl="5">
              <a:spcBef>
                <a:spcPts val="0"/>
              </a:spcBef>
              <a:spcAft>
                <a:spcPts val="0"/>
              </a:spcAft>
              <a:buClr>
                <a:schemeClr val="accent3"/>
              </a:buClr>
              <a:buSzPts val="3600"/>
              <a:buFont typeface="Calistoga"/>
              <a:buNone/>
              <a:defRPr sz="3600">
                <a:solidFill>
                  <a:schemeClr val="accent3"/>
                </a:solidFill>
                <a:latin typeface="Calistoga"/>
                <a:ea typeface="Calistoga"/>
                <a:cs typeface="Calistoga"/>
                <a:sym typeface="Calistoga"/>
              </a:defRPr>
            </a:lvl6pPr>
            <a:lvl7pPr lvl="6">
              <a:spcBef>
                <a:spcPts val="0"/>
              </a:spcBef>
              <a:spcAft>
                <a:spcPts val="0"/>
              </a:spcAft>
              <a:buClr>
                <a:schemeClr val="accent3"/>
              </a:buClr>
              <a:buSzPts val="3600"/>
              <a:buFont typeface="Calistoga"/>
              <a:buNone/>
              <a:defRPr sz="3600">
                <a:solidFill>
                  <a:schemeClr val="accent3"/>
                </a:solidFill>
                <a:latin typeface="Calistoga"/>
                <a:ea typeface="Calistoga"/>
                <a:cs typeface="Calistoga"/>
                <a:sym typeface="Calistoga"/>
              </a:defRPr>
            </a:lvl7pPr>
            <a:lvl8pPr lvl="7">
              <a:spcBef>
                <a:spcPts val="0"/>
              </a:spcBef>
              <a:spcAft>
                <a:spcPts val="0"/>
              </a:spcAft>
              <a:buClr>
                <a:schemeClr val="accent3"/>
              </a:buClr>
              <a:buSzPts val="3600"/>
              <a:buFont typeface="Calistoga"/>
              <a:buNone/>
              <a:defRPr sz="3600">
                <a:solidFill>
                  <a:schemeClr val="accent3"/>
                </a:solidFill>
                <a:latin typeface="Calistoga"/>
                <a:ea typeface="Calistoga"/>
                <a:cs typeface="Calistoga"/>
                <a:sym typeface="Calistoga"/>
              </a:defRPr>
            </a:lvl8pPr>
            <a:lvl9pPr lvl="8">
              <a:spcBef>
                <a:spcPts val="0"/>
              </a:spcBef>
              <a:spcAft>
                <a:spcPts val="0"/>
              </a:spcAft>
              <a:buClr>
                <a:schemeClr val="accent3"/>
              </a:buClr>
              <a:buSzPts val="3600"/>
              <a:buFont typeface="Calistoga"/>
              <a:buNone/>
              <a:defRPr sz="3600">
                <a:solidFill>
                  <a:schemeClr val="accent3"/>
                </a:solidFill>
                <a:latin typeface="Calistoga"/>
                <a:ea typeface="Calistoga"/>
                <a:cs typeface="Calistoga"/>
                <a:sym typeface="Calistoga"/>
              </a:defRPr>
            </a:lvl9pPr>
          </a:lstStyle>
          <a:p>
            <a:endParaRPr/>
          </a:p>
        </p:txBody>
      </p:sp>
      <p:sp>
        <p:nvSpPr>
          <p:cNvPr id="7" name="Google Shape;7;p1"/>
          <p:cNvSpPr txBox="1">
            <a:spLocks noGrp="1"/>
          </p:cNvSpPr>
          <p:nvPr>
            <p:ph type="body" idx="1"/>
          </p:nvPr>
        </p:nvSpPr>
        <p:spPr>
          <a:xfrm>
            <a:off x="713275" y="1152475"/>
            <a:ext cx="7717500" cy="3416400"/>
          </a:xfrm>
          <a:prstGeom prst="rect">
            <a:avLst/>
          </a:prstGeom>
          <a:noFill/>
          <a:ln>
            <a:noFill/>
          </a:ln>
        </p:spPr>
        <p:txBody>
          <a:bodyPr spcFirstLastPara="1" wrap="square" lIns="91425" tIns="91425" rIns="91425" bIns="91425" anchor="t" anchorCtr="0">
            <a:noAutofit/>
          </a:bodyPr>
          <a:lstStyle>
            <a:lvl1pPr marL="457200" lvl="0" indent="-317500">
              <a:lnSpc>
                <a:spcPct val="100000"/>
              </a:lnSpc>
              <a:spcBef>
                <a:spcPts val="0"/>
              </a:spcBef>
              <a:spcAft>
                <a:spcPts val="0"/>
              </a:spcAft>
              <a:buClr>
                <a:schemeClr val="dk1"/>
              </a:buClr>
              <a:buSzPts val="1400"/>
              <a:buFont typeface="Anek Malayalam"/>
              <a:buChar char="●"/>
              <a:defRPr>
                <a:solidFill>
                  <a:schemeClr val="dk1"/>
                </a:solidFill>
                <a:latin typeface="Anek Malayalam"/>
                <a:ea typeface="Anek Malayalam"/>
                <a:cs typeface="Anek Malayalam"/>
                <a:sym typeface="Anek Malayalam"/>
              </a:defRPr>
            </a:lvl1pPr>
            <a:lvl2pPr marL="914400" lvl="1" indent="-317500">
              <a:lnSpc>
                <a:spcPct val="100000"/>
              </a:lnSpc>
              <a:spcBef>
                <a:spcPts val="0"/>
              </a:spcBef>
              <a:spcAft>
                <a:spcPts val="0"/>
              </a:spcAft>
              <a:buClr>
                <a:schemeClr val="dk1"/>
              </a:buClr>
              <a:buSzPts val="1400"/>
              <a:buFont typeface="Anek Malayalam"/>
              <a:buChar char="○"/>
              <a:defRPr>
                <a:solidFill>
                  <a:schemeClr val="dk1"/>
                </a:solidFill>
                <a:latin typeface="Anek Malayalam"/>
                <a:ea typeface="Anek Malayalam"/>
                <a:cs typeface="Anek Malayalam"/>
                <a:sym typeface="Anek Malayalam"/>
              </a:defRPr>
            </a:lvl2pPr>
            <a:lvl3pPr marL="1371600" lvl="2" indent="-317500">
              <a:lnSpc>
                <a:spcPct val="100000"/>
              </a:lnSpc>
              <a:spcBef>
                <a:spcPts val="0"/>
              </a:spcBef>
              <a:spcAft>
                <a:spcPts val="0"/>
              </a:spcAft>
              <a:buClr>
                <a:schemeClr val="dk1"/>
              </a:buClr>
              <a:buSzPts val="1400"/>
              <a:buFont typeface="Anek Malayalam"/>
              <a:buChar char="■"/>
              <a:defRPr>
                <a:solidFill>
                  <a:schemeClr val="dk1"/>
                </a:solidFill>
                <a:latin typeface="Anek Malayalam"/>
                <a:ea typeface="Anek Malayalam"/>
                <a:cs typeface="Anek Malayalam"/>
                <a:sym typeface="Anek Malayalam"/>
              </a:defRPr>
            </a:lvl3pPr>
            <a:lvl4pPr marL="1828800" lvl="3" indent="-317500">
              <a:lnSpc>
                <a:spcPct val="100000"/>
              </a:lnSpc>
              <a:spcBef>
                <a:spcPts val="0"/>
              </a:spcBef>
              <a:spcAft>
                <a:spcPts val="0"/>
              </a:spcAft>
              <a:buClr>
                <a:schemeClr val="dk1"/>
              </a:buClr>
              <a:buSzPts val="1400"/>
              <a:buFont typeface="Anek Malayalam"/>
              <a:buChar char="●"/>
              <a:defRPr>
                <a:solidFill>
                  <a:schemeClr val="dk1"/>
                </a:solidFill>
                <a:latin typeface="Anek Malayalam"/>
                <a:ea typeface="Anek Malayalam"/>
                <a:cs typeface="Anek Malayalam"/>
                <a:sym typeface="Anek Malayalam"/>
              </a:defRPr>
            </a:lvl4pPr>
            <a:lvl5pPr marL="2286000" lvl="4" indent="-317500">
              <a:lnSpc>
                <a:spcPct val="100000"/>
              </a:lnSpc>
              <a:spcBef>
                <a:spcPts val="0"/>
              </a:spcBef>
              <a:spcAft>
                <a:spcPts val="0"/>
              </a:spcAft>
              <a:buClr>
                <a:schemeClr val="dk1"/>
              </a:buClr>
              <a:buSzPts val="1400"/>
              <a:buFont typeface="Anek Malayalam"/>
              <a:buChar char="○"/>
              <a:defRPr>
                <a:solidFill>
                  <a:schemeClr val="dk1"/>
                </a:solidFill>
                <a:latin typeface="Anek Malayalam"/>
                <a:ea typeface="Anek Malayalam"/>
                <a:cs typeface="Anek Malayalam"/>
                <a:sym typeface="Anek Malayalam"/>
              </a:defRPr>
            </a:lvl5pPr>
            <a:lvl6pPr marL="2743200" lvl="5" indent="-317500">
              <a:lnSpc>
                <a:spcPct val="100000"/>
              </a:lnSpc>
              <a:spcBef>
                <a:spcPts val="0"/>
              </a:spcBef>
              <a:spcAft>
                <a:spcPts val="0"/>
              </a:spcAft>
              <a:buClr>
                <a:schemeClr val="dk1"/>
              </a:buClr>
              <a:buSzPts val="1400"/>
              <a:buFont typeface="Anek Malayalam"/>
              <a:buChar char="■"/>
              <a:defRPr>
                <a:solidFill>
                  <a:schemeClr val="dk1"/>
                </a:solidFill>
                <a:latin typeface="Anek Malayalam"/>
                <a:ea typeface="Anek Malayalam"/>
                <a:cs typeface="Anek Malayalam"/>
                <a:sym typeface="Anek Malayalam"/>
              </a:defRPr>
            </a:lvl6pPr>
            <a:lvl7pPr marL="3200400" lvl="6" indent="-317500">
              <a:lnSpc>
                <a:spcPct val="100000"/>
              </a:lnSpc>
              <a:spcBef>
                <a:spcPts val="0"/>
              </a:spcBef>
              <a:spcAft>
                <a:spcPts val="0"/>
              </a:spcAft>
              <a:buClr>
                <a:schemeClr val="dk1"/>
              </a:buClr>
              <a:buSzPts val="1400"/>
              <a:buFont typeface="Anek Malayalam"/>
              <a:buChar char="●"/>
              <a:defRPr>
                <a:solidFill>
                  <a:schemeClr val="dk1"/>
                </a:solidFill>
                <a:latin typeface="Anek Malayalam"/>
                <a:ea typeface="Anek Malayalam"/>
                <a:cs typeface="Anek Malayalam"/>
                <a:sym typeface="Anek Malayalam"/>
              </a:defRPr>
            </a:lvl7pPr>
            <a:lvl8pPr marL="3657600" lvl="7" indent="-317500">
              <a:lnSpc>
                <a:spcPct val="100000"/>
              </a:lnSpc>
              <a:spcBef>
                <a:spcPts val="0"/>
              </a:spcBef>
              <a:spcAft>
                <a:spcPts val="0"/>
              </a:spcAft>
              <a:buClr>
                <a:schemeClr val="dk1"/>
              </a:buClr>
              <a:buSzPts val="1400"/>
              <a:buFont typeface="Anek Malayalam"/>
              <a:buChar char="○"/>
              <a:defRPr>
                <a:solidFill>
                  <a:schemeClr val="dk1"/>
                </a:solidFill>
                <a:latin typeface="Anek Malayalam"/>
                <a:ea typeface="Anek Malayalam"/>
                <a:cs typeface="Anek Malayalam"/>
                <a:sym typeface="Anek Malayalam"/>
              </a:defRPr>
            </a:lvl8pPr>
            <a:lvl9pPr marL="4114800" lvl="8" indent="-317500">
              <a:lnSpc>
                <a:spcPct val="100000"/>
              </a:lnSpc>
              <a:spcBef>
                <a:spcPts val="0"/>
              </a:spcBef>
              <a:spcAft>
                <a:spcPts val="0"/>
              </a:spcAft>
              <a:buClr>
                <a:schemeClr val="dk1"/>
              </a:buClr>
              <a:buSzPts val="1400"/>
              <a:buFont typeface="Anek Malayalam"/>
              <a:buChar char="■"/>
              <a:defRPr>
                <a:solidFill>
                  <a:schemeClr val="dk1"/>
                </a:solidFill>
                <a:latin typeface="Anek Malayalam"/>
                <a:ea typeface="Anek Malayalam"/>
                <a:cs typeface="Anek Malayalam"/>
                <a:sym typeface="Anek Malayalam"/>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0.xml"/><Relationship Id="rId5" Type="http://schemas.openxmlformats.org/officeDocument/2006/relationships/image" Target="../media/image21.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slideLayout" Target="../slideLayouts/slideLayout1.xml"/><Relationship Id="rId7" Type="http://schemas.openxmlformats.org/officeDocument/2006/relationships/image" Target="../media/image24.png"/><Relationship Id="rId12" Type="http://schemas.openxmlformats.org/officeDocument/2006/relationships/image" Target="../media/image29.png"/><Relationship Id="rId2" Type="http://schemas.microsoft.com/office/2007/relationships/media" Target="../media/media1.mp3"/><Relationship Id="rId1" Type="http://schemas.openxmlformats.org/officeDocument/2006/relationships/audio" Target="NULL" TargetMode="Externa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notesSlide" Target="../notesSlides/notesSlide22.xml"/><Relationship Id="rId9" Type="http://schemas.openxmlformats.org/officeDocument/2006/relationships/image" Target="../media/image26.png"/></Relationships>
</file>

<file path=ppt/slides/_rels/slide2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18" Type="http://schemas.openxmlformats.org/officeDocument/2006/relationships/image" Target="../media/image39.emf"/><Relationship Id="rId3" Type="http://schemas.microsoft.com/office/2007/relationships/media" Target="../media/media3.mp3"/><Relationship Id="rId21" Type="http://schemas.openxmlformats.org/officeDocument/2006/relationships/image" Target="../media/image28.png"/><Relationship Id="rId7" Type="http://schemas.openxmlformats.org/officeDocument/2006/relationships/audio" Target="../media/audio1.wav"/><Relationship Id="rId12" Type="http://schemas.openxmlformats.org/officeDocument/2006/relationships/image" Target="../media/image34.png"/><Relationship Id="rId17" Type="http://schemas.openxmlformats.org/officeDocument/2006/relationships/image" Target="../media/image38.png"/><Relationship Id="rId2" Type="http://schemas.openxmlformats.org/officeDocument/2006/relationships/audio" Target="../media/media2.wav"/><Relationship Id="rId16" Type="http://schemas.openxmlformats.org/officeDocument/2006/relationships/image" Target="../media/image37.png"/><Relationship Id="rId20" Type="http://schemas.openxmlformats.org/officeDocument/2006/relationships/image" Target="../media/image40.png"/><Relationship Id="rId1" Type="http://schemas.microsoft.com/office/2007/relationships/media" Target="../media/media2.wav"/><Relationship Id="rId6" Type="http://schemas.openxmlformats.org/officeDocument/2006/relationships/notesSlide" Target="../notesSlides/notesSlide23.xml"/><Relationship Id="rId11" Type="http://schemas.openxmlformats.org/officeDocument/2006/relationships/image" Target="../media/image33.png"/><Relationship Id="rId5" Type="http://schemas.openxmlformats.org/officeDocument/2006/relationships/slideLayout" Target="../slideLayouts/slideLayout12.xml"/><Relationship Id="rId15" Type="http://schemas.openxmlformats.org/officeDocument/2006/relationships/image" Target="../media/image23.png"/><Relationship Id="rId10" Type="http://schemas.openxmlformats.org/officeDocument/2006/relationships/image" Target="../media/image22.png"/><Relationship Id="rId19" Type="http://schemas.openxmlformats.org/officeDocument/2006/relationships/image" Target="../media/image26.png"/><Relationship Id="rId4" Type="http://schemas.openxmlformats.org/officeDocument/2006/relationships/audio" Target="../media/media3.mp3"/><Relationship Id="rId9" Type="http://schemas.openxmlformats.org/officeDocument/2006/relationships/image" Target="../media/image32.png"/><Relationship Id="rId14" Type="http://schemas.openxmlformats.org/officeDocument/2006/relationships/image" Target="../media/image36.png"/></Relationships>
</file>

<file path=ppt/slides/_rels/slide28.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42.png"/><Relationship Id="rId18" Type="http://schemas.openxmlformats.org/officeDocument/2006/relationships/image" Target="../media/image40.png"/><Relationship Id="rId3" Type="http://schemas.microsoft.com/office/2007/relationships/media" Target="../media/media3.mp3"/><Relationship Id="rId7" Type="http://schemas.openxmlformats.org/officeDocument/2006/relationships/image" Target="../media/image31.png"/><Relationship Id="rId12" Type="http://schemas.openxmlformats.org/officeDocument/2006/relationships/image" Target="../media/image41.png"/><Relationship Id="rId17" Type="http://schemas.openxmlformats.org/officeDocument/2006/relationships/image" Target="../media/image38.png"/><Relationship Id="rId2" Type="http://schemas.openxmlformats.org/officeDocument/2006/relationships/audio" Target="../media/media2.wav"/><Relationship Id="rId16" Type="http://schemas.openxmlformats.org/officeDocument/2006/relationships/image" Target="../media/image26.png"/><Relationship Id="rId1" Type="http://schemas.microsoft.com/office/2007/relationships/media" Target="../media/media2.wav"/><Relationship Id="rId6" Type="http://schemas.openxmlformats.org/officeDocument/2006/relationships/audio" Target="../media/audio1.wav"/><Relationship Id="rId11" Type="http://schemas.openxmlformats.org/officeDocument/2006/relationships/image" Target="../media/image34.png"/><Relationship Id="rId5" Type="http://schemas.openxmlformats.org/officeDocument/2006/relationships/slideLayout" Target="../slideLayouts/slideLayout12.xml"/><Relationship Id="rId15" Type="http://schemas.openxmlformats.org/officeDocument/2006/relationships/image" Target="../media/image39.emf"/><Relationship Id="rId10" Type="http://schemas.openxmlformats.org/officeDocument/2006/relationships/image" Target="../media/image33.png"/><Relationship Id="rId19" Type="http://schemas.openxmlformats.org/officeDocument/2006/relationships/image" Target="../media/image28.png"/><Relationship Id="rId4" Type="http://schemas.openxmlformats.org/officeDocument/2006/relationships/audio" Target="../media/media3.mp3"/><Relationship Id="rId9" Type="http://schemas.openxmlformats.org/officeDocument/2006/relationships/image" Target="../media/image22.png"/><Relationship Id="rId14" Type="http://schemas.openxmlformats.org/officeDocument/2006/relationships/image" Target="../media/image37.png"/></Relationships>
</file>

<file path=ppt/slides/_rels/slide29.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8.png"/><Relationship Id="rId18" Type="http://schemas.openxmlformats.org/officeDocument/2006/relationships/image" Target="../media/image40.png"/><Relationship Id="rId3" Type="http://schemas.microsoft.com/office/2007/relationships/media" Target="../media/media3.mp3"/><Relationship Id="rId7" Type="http://schemas.openxmlformats.org/officeDocument/2006/relationships/image" Target="../media/image31.png"/><Relationship Id="rId12" Type="http://schemas.openxmlformats.org/officeDocument/2006/relationships/image" Target="../media/image41.png"/><Relationship Id="rId17" Type="http://schemas.openxmlformats.org/officeDocument/2006/relationships/image" Target="../media/image26.png"/><Relationship Id="rId2" Type="http://schemas.openxmlformats.org/officeDocument/2006/relationships/audio" Target="../media/media2.wav"/><Relationship Id="rId16" Type="http://schemas.openxmlformats.org/officeDocument/2006/relationships/image" Target="../media/image39.emf"/><Relationship Id="rId1" Type="http://schemas.microsoft.com/office/2007/relationships/media" Target="../media/media2.wav"/><Relationship Id="rId6" Type="http://schemas.openxmlformats.org/officeDocument/2006/relationships/audio" Target="../media/audio1.wav"/><Relationship Id="rId11" Type="http://schemas.openxmlformats.org/officeDocument/2006/relationships/image" Target="../media/image34.png"/><Relationship Id="rId5" Type="http://schemas.openxmlformats.org/officeDocument/2006/relationships/slideLayout" Target="../slideLayouts/slideLayout12.xml"/><Relationship Id="rId15" Type="http://schemas.openxmlformats.org/officeDocument/2006/relationships/image" Target="../media/image37.png"/><Relationship Id="rId10" Type="http://schemas.openxmlformats.org/officeDocument/2006/relationships/image" Target="../media/image42.png"/><Relationship Id="rId19" Type="http://schemas.openxmlformats.org/officeDocument/2006/relationships/image" Target="../media/image28.png"/><Relationship Id="rId4" Type="http://schemas.openxmlformats.org/officeDocument/2006/relationships/audio" Target="../media/media3.mp3"/><Relationship Id="rId9" Type="http://schemas.openxmlformats.org/officeDocument/2006/relationships/image" Target="../media/image22.png"/><Relationship Id="rId14" Type="http://schemas.openxmlformats.org/officeDocument/2006/relationships/image" Target="../media/image43.png"/></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3.xml"/><Relationship Id="rId7" Type="http://schemas.microsoft.com/office/2007/relationships/hdphoto" Target="../media/hdphoto2.wdp"/><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18" Type="http://schemas.openxmlformats.org/officeDocument/2006/relationships/image" Target="../media/image38.png"/><Relationship Id="rId3" Type="http://schemas.microsoft.com/office/2007/relationships/media" Target="../media/media3.mp3"/><Relationship Id="rId7" Type="http://schemas.openxmlformats.org/officeDocument/2006/relationships/audio" Target="../media/audio1.wav"/><Relationship Id="rId12" Type="http://schemas.openxmlformats.org/officeDocument/2006/relationships/image" Target="../media/image41.png"/><Relationship Id="rId17" Type="http://schemas.openxmlformats.org/officeDocument/2006/relationships/image" Target="../media/image26.png"/><Relationship Id="rId2" Type="http://schemas.openxmlformats.org/officeDocument/2006/relationships/audio" Target="../media/media2.wav"/><Relationship Id="rId16" Type="http://schemas.openxmlformats.org/officeDocument/2006/relationships/image" Target="../media/image39.emf"/><Relationship Id="rId20" Type="http://schemas.openxmlformats.org/officeDocument/2006/relationships/image" Target="../media/image28.png"/><Relationship Id="rId1" Type="http://schemas.microsoft.com/office/2007/relationships/media" Target="../media/media2.wav"/><Relationship Id="rId6" Type="http://schemas.openxmlformats.org/officeDocument/2006/relationships/notesSlide" Target="../notesSlides/notesSlide24.xml"/><Relationship Id="rId11" Type="http://schemas.openxmlformats.org/officeDocument/2006/relationships/image" Target="../media/image33.png"/><Relationship Id="rId5" Type="http://schemas.openxmlformats.org/officeDocument/2006/relationships/slideLayout" Target="../slideLayouts/slideLayout12.xml"/><Relationship Id="rId15" Type="http://schemas.openxmlformats.org/officeDocument/2006/relationships/image" Target="../media/image37.png"/><Relationship Id="rId10" Type="http://schemas.openxmlformats.org/officeDocument/2006/relationships/image" Target="../media/image22.png"/><Relationship Id="rId19" Type="http://schemas.openxmlformats.org/officeDocument/2006/relationships/image" Target="../media/image40.png"/><Relationship Id="rId4" Type="http://schemas.openxmlformats.org/officeDocument/2006/relationships/audio" Target="../media/media3.mp3"/><Relationship Id="rId9" Type="http://schemas.openxmlformats.org/officeDocument/2006/relationships/image" Target="../media/image32.png"/><Relationship Id="rId14" Type="http://schemas.openxmlformats.org/officeDocument/2006/relationships/image" Target="../media/image4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4.png"/><Relationship Id="rId4" Type="http://schemas.microsoft.com/office/2007/relationships/hdphoto" Target="../media/hdphoto3.wdp"/></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48"/>
        <p:cNvGrpSpPr/>
        <p:nvPr/>
      </p:nvGrpSpPr>
      <p:grpSpPr>
        <a:xfrm>
          <a:off x="0" y="0"/>
          <a:ext cx="0" cy="0"/>
          <a:chOff x="0" y="0"/>
          <a:chExt cx="0" cy="0"/>
        </a:xfrm>
      </p:grpSpPr>
      <p:grpSp>
        <p:nvGrpSpPr>
          <p:cNvPr id="949" name="Google Shape;949;p17"/>
          <p:cNvGrpSpPr/>
          <p:nvPr/>
        </p:nvGrpSpPr>
        <p:grpSpPr>
          <a:xfrm>
            <a:off x="-2143410" y="574832"/>
            <a:ext cx="6571428" cy="5502297"/>
            <a:chOff x="-1039430" y="996696"/>
            <a:chExt cx="6571428" cy="5502297"/>
          </a:xfrm>
        </p:grpSpPr>
        <p:grpSp>
          <p:nvGrpSpPr>
            <p:cNvPr id="950" name="Google Shape;950;p17"/>
            <p:cNvGrpSpPr/>
            <p:nvPr/>
          </p:nvGrpSpPr>
          <p:grpSpPr>
            <a:xfrm rot="10800000" flipH="1">
              <a:off x="-1039430" y="2495730"/>
              <a:ext cx="1828898" cy="1709472"/>
              <a:chOff x="111611" y="-1197780"/>
              <a:chExt cx="2936103" cy="2743056"/>
            </a:xfrm>
          </p:grpSpPr>
          <p:grpSp>
            <p:nvGrpSpPr>
              <p:cNvPr id="951" name="Google Shape;951;p17"/>
              <p:cNvGrpSpPr/>
              <p:nvPr/>
            </p:nvGrpSpPr>
            <p:grpSpPr>
              <a:xfrm>
                <a:off x="111611" y="-1197780"/>
                <a:ext cx="2936103" cy="2743056"/>
                <a:chOff x="111611" y="-1197780"/>
                <a:chExt cx="2936103" cy="2743056"/>
              </a:xfrm>
            </p:grpSpPr>
            <p:sp>
              <p:nvSpPr>
                <p:cNvPr id="952" name="Google Shape;952;p17"/>
                <p:cNvSpPr/>
                <p:nvPr/>
              </p:nvSpPr>
              <p:spPr>
                <a:xfrm rot="-9591901">
                  <a:off x="385002" y="-788247"/>
                  <a:ext cx="1995046" cy="1942613"/>
                </a:xfrm>
                <a:custGeom>
                  <a:avLst/>
                  <a:gdLst/>
                  <a:ahLst/>
                  <a:cxnLst/>
                  <a:rect l="l" t="t" r="r" b="b"/>
                  <a:pathLst>
                    <a:path w="24466" h="23823" extrusionOk="0">
                      <a:moveTo>
                        <a:pt x="1" y="0"/>
                      </a:moveTo>
                      <a:lnTo>
                        <a:pt x="1" y="15"/>
                      </a:lnTo>
                      <a:cubicBezTo>
                        <a:pt x="1" y="15"/>
                        <a:pt x="22" y="37"/>
                        <a:pt x="62" y="77"/>
                      </a:cubicBezTo>
                      <a:lnTo>
                        <a:pt x="62" y="77"/>
                      </a:lnTo>
                      <a:lnTo>
                        <a:pt x="1" y="0"/>
                      </a:lnTo>
                      <a:close/>
                      <a:moveTo>
                        <a:pt x="62" y="77"/>
                      </a:moveTo>
                      <a:lnTo>
                        <a:pt x="18969" y="23823"/>
                      </a:lnTo>
                      <a:lnTo>
                        <a:pt x="22136" y="20417"/>
                      </a:lnTo>
                      <a:lnTo>
                        <a:pt x="21240" y="20776"/>
                      </a:lnTo>
                      <a:lnTo>
                        <a:pt x="21240" y="20776"/>
                      </a:lnTo>
                      <a:lnTo>
                        <a:pt x="24077" y="17953"/>
                      </a:lnTo>
                      <a:lnTo>
                        <a:pt x="23331" y="18058"/>
                      </a:lnTo>
                      <a:lnTo>
                        <a:pt x="23331" y="18058"/>
                      </a:lnTo>
                      <a:lnTo>
                        <a:pt x="24466" y="16400"/>
                      </a:lnTo>
                      <a:lnTo>
                        <a:pt x="24466" y="16400"/>
                      </a:lnTo>
                      <a:cubicBezTo>
                        <a:pt x="24383" y="16414"/>
                        <a:pt x="24307" y="16420"/>
                        <a:pt x="24235" y="16420"/>
                      </a:cubicBezTo>
                      <a:cubicBezTo>
                        <a:pt x="22322" y="16420"/>
                        <a:pt x="24182" y="11591"/>
                        <a:pt x="24182" y="11590"/>
                      </a:cubicBezTo>
                      <a:lnTo>
                        <a:pt x="24182" y="11590"/>
                      </a:lnTo>
                      <a:cubicBezTo>
                        <a:pt x="24104" y="11626"/>
                        <a:pt x="24033" y="11642"/>
                        <a:pt x="23968" y="11642"/>
                      </a:cubicBezTo>
                      <a:cubicBezTo>
                        <a:pt x="23026" y="11642"/>
                        <a:pt x="23510" y="8097"/>
                        <a:pt x="23510" y="8095"/>
                      </a:cubicBezTo>
                      <a:lnTo>
                        <a:pt x="23510" y="8095"/>
                      </a:lnTo>
                      <a:cubicBezTo>
                        <a:pt x="22919" y="10108"/>
                        <a:pt x="21833" y="10302"/>
                        <a:pt x="21435" y="10302"/>
                      </a:cubicBezTo>
                      <a:cubicBezTo>
                        <a:pt x="21340" y="10302"/>
                        <a:pt x="21284" y="10291"/>
                        <a:pt x="21284" y="10291"/>
                      </a:cubicBezTo>
                      <a:cubicBezTo>
                        <a:pt x="21284" y="10291"/>
                        <a:pt x="20344" y="11977"/>
                        <a:pt x="19409" y="11977"/>
                      </a:cubicBezTo>
                      <a:cubicBezTo>
                        <a:pt x="19183" y="11977"/>
                        <a:pt x="18957" y="11879"/>
                        <a:pt x="18745" y="11635"/>
                      </a:cubicBezTo>
                      <a:cubicBezTo>
                        <a:pt x="17640" y="10396"/>
                        <a:pt x="20448" y="8663"/>
                        <a:pt x="20448" y="8663"/>
                      </a:cubicBezTo>
                      <a:lnTo>
                        <a:pt x="20448" y="8663"/>
                      </a:lnTo>
                      <a:cubicBezTo>
                        <a:pt x="20433" y="8664"/>
                        <a:pt x="20418" y="8664"/>
                        <a:pt x="20404" y="8664"/>
                      </a:cubicBezTo>
                      <a:cubicBezTo>
                        <a:pt x="19350" y="8664"/>
                        <a:pt x="21284" y="5960"/>
                        <a:pt x="21284" y="5960"/>
                      </a:cubicBezTo>
                      <a:lnTo>
                        <a:pt x="21284" y="5960"/>
                      </a:lnTo>
                      <a:cubicBezTo>
                        <a:pt x="21199" y="5985"/>
                        <a:pt x="21125" y="5996"/>
                        <a:pt x="21060" y="5996"/>
                      </a:cubicBezTo>
                      <a:cubicBezTo>
                        <a:pt x="20045" y="5996"/>
                        <a:pt x="21404" y="3107"/>
                        <a:pt x="21404" y="3107"/>
                      </a:cubicBezTo>
                      <a:lnTo>
                        <a:pt x="21404" y="3107"/>
                      </a:lnTo>
                      <a:cubicBezTo>
                        <a:pt x="21404" y="3107"/>
                        <a:pt x="21162" y="3309"/>
                        <a:pt x="20897" y="3309"/>
                      </a:cubicBezTo>
                      <a:cubicBezTo>
                        <a:pt x="20801" y="3309"/>
                        <a:pt x="20703" y="3283"/>
                        <a:pt x="20612" y="3211"/>
                      </a:cubicBezTo>
                      <a:cubicBezTo>
                        <a:pt x="20299" y="2928"/>
                        <a:pt x="20791" y="867"/>
                        <a:pt x="20792" y="866"/>
                      </a:cubicBezTo>
                      <a:lnTo>
                        <a:pt x="20792" y="866"/>
                      </a:lnTo>
                      <a:cubicBezTo>
                        <a:pt x="20791" y="867"/>
                        <a:pt x="19940" y="2181"/>
                        <a:pt x="18969" y="2569"/>
                      </a:cubicBezTo>
                      <a:cubicBezTo>
                        <a:pt x="18858" y="2615"/>
                        <a:pt x="18769" y="2636"/>
                        <a:pt x="18700" y="2636"/>
                      </a:cubicBezTo>
                      <a:cubicBezTo>
                        <a:pt x="18164" y="2636"/>
                        <a:pt x="18760" y="1419"/>
                        <a:pt x="18760" y="1419"/>
                      </a:cubicBezTo>
                      <a:lnTo>
                        <a:pt x="18760" y="1419"/>
                      </a:lnTo>
                      <a:cubicBezTo>
                        <a:pt x="18760" y="1419"/>
                        <a:pt x="18118" y="2121"/>
                        <a:pt x="17789" y="2300"/>
                      </a:cubicBezTo>
                      <a:cubicBezTo>
                        <a:pt x="17746" y="2324"/>
                        <a:pt x="17708" y="2335"/>
                        <a:pt x="17675" y="2335"/>
                      </a:cubicBezTo>
                      <a:cubicBezTo>
                        <a:pt x="17465" y="2335"/>
                        <a:pt x="17476" y="1897"/>
                        <a:pt x="17476" y="1897"/>
                      </a:cubicBezTo>
                      <a:lnTo>
                        <a:pt x="17476" y="1897"/>
                      </a:lnTo>
                      <a:cubicBezTo>
                        <a:pt x="17476" y="1897"/>
                        <a:pt x="16744" y="3495"/>
                        <a:pt x="16117" y="4033"/>
                      </a:cubicBezTo>
                      <a:cubicBezTo>
                        <a:pt x="15967" y="4157"/>
                        <a:pt x="15841" y="4205"/>
                        <a:pt x="15735" y="4205"/>
                      </a:cubicBezTo>
                      <a:cubicBezTo>
                        <a:pt x="15395" y="4205"/>
                        <a:pt x="15265" y="3719"/>
                        <a:pt x="15265" y="3719"/>
                      </a:cubicBezTo>
                      <a:cubicBezTo>
                        <a:pt x="15265" y="3719"/>
                        <a:pt x="14892" y="7319"/>
                        <a:pt x="14638" y="7408"/>
                      </a:cubicBezTo>
                      <a:cubicBezTo>
                        <a:pt x="14630" y="7411"/>
                        <a:pt x="14621" y="7412"/>
                        <a:pt x="14613" y="7412"/>
                      </a:cubicBezTo>
                      <a:cubicBezTo>
                        <a:pt x="14367" y="7412"/>
                        <a:pt x="14115" y="6393"/>
                        <a:pt x="14115" y="6393"/>
                      </a:cubicBezTo>
                      <a:lnTo>
                        <a:pt x="14115" y="6393"/>
                      </a:lnTo>
                      <a:cubicBezTo>
                        <a:pt x="14115" y="6394"/>
                        <a:pt x="14305" y="9930"/>
                        <a:pt x="12993" y="9930"/>
                      </a:cubicBezTo>
                      <a:cubicBezTo>
                        <a:pt x="12928" y="9930"/>
                        <a:pt x="12859" y="9921"/>
                        <a:pt x="12786" y="9903"/>
                      </a:cubicBezTo>
                      <a:cubicBezTo>
                        <a:pt x="11233" y="9514"/>
                        <a:pt x="12890" y="6572"/>
                        <a:pt x="12890" y="6572"/>
                      </a:cubicBezTo>
                      <a:lnTo>
                        <a:pt x="12890" y="6572"/>
                      </a:lnTo>
                      <a:cubicBezTo>
                        <a:pt x="12762" y="6617"/>
                        <a:pt x="12660" y="6637"/>
                        <a:pt x="12582" y="6637"/>
                      </a:cubicBezTo>
                      <a:cubicBezTo>
                        <a:pt x="11771" y="6637"/>
                        <a:pt x="13473" y="4451"/>
                        <a:pt x="13473" y="4451"/>
                      </a:cubicBezTo>
                      <a:lnTo>
                        <a:pt x="13473" y="4451"/>
                      </a:lnTo>
                      <a:cubicBezTo>
                        <a:pt x="13222" y="4601"/>
                        <a:pt x="13020" y="4663"/>
                        <a:pt x="12858" y="4663"/>
                      </a:cubicBezTo>
                      <a:cubicBezTo>
                        <a:pt x="12031" y="4663"/>
                        <a:pt x="12218" y="3047"/>
                        <a:pt x="12218" y="3047"/>
                      </a:cubicBezTo>
                      <a:lnTo>
                        <a:pt x="12218" y="3047"/>
                      </a:lnTo>
                      <a:cubicBezTo>
                        <a:pt x="12128" y="3072"/>
                        <a:pt x="12044" y="3083"/>
                        <a:pt x="11965" y="3083"/>
                      </a:cubicBezTo>
                      <a:cubicBezTo>
                        <a:pt x="10858" y="3083"/>
                        <a:pt x="10949" y="778"/>
                        <a:pt x="10949" y="777"/>
                      </a:cubicBezTo>
                      <a:lnTo>
                        <a:pt x="10949" y="777"/>
                      </a:lnTo>
                      <a:cubicBezTo>
                        <a:pt x="10949" y="777"/>
                        <a:pt x="10769" y="1569"/>
                        <a:pt x="10172" y="2494"/>
                      </a:cubicBezTo>
                      <a:cubicBezTo>
                        <a:pt x="9918" y="2872"/>
                        <a:pt x="9672" y="2983"/>
                        <a:pt x="9470" y="2983"/>
                      </a:cubicBezTo>
                      <a:cubicBezTo>
                        <a:pt x="9187" y="2983"/>
                        <a:pt x="8992" y="2763"/>
                        <a:pt x="8992" y="2763"/>
                      </a:cubicBezTo>
                      <a:lnTo>
                        <a:pt x="8992" y="2763"/>
                      </a:lnTo>
                      <a:cubicBezTo>
                        <a:pt x="8992" y="2764"/>
                        <a:pt x="9291" y="3376"/>
                        <a:pt x="9127" y="4272"/>
                      </a:cubicBezTo>
                      <a:cubicBezTo>
                        <a:pt x="9056" y="4630"/>
                        <a:pt x="8861" y="4739"/>
                        <a:pt x="8650" y="4739"/>
                      </a:cubicBezTo>
                      <a:cubicBezTo>
                        <a:pt x="8324" y="4739"/>
                        <a:pt x="7962" y="4481"/>
                        <a:pt x="7962" y="4481"/>
                      </a:cubicBezTo>
                      <a:lnTo>
                        <a:pt x="7962" y="4481"/>
                      </a:lnTo>
                      <a:cubicBezTo>
                        <a:pt x="7962" y="4481"/>
                        <a:pt x="9664" y="7408"/>
                        <a:pt x="7992" y="7588"/>
                      </a:cubicBezTo>
                      <a:cubicBezTo>
                        <a:pt x="7959" y="7591"/>
                        <a:pt x="7928" y="7593"/>
                        <a:pt x="7898" y="7593"/>
                      </a:cubicBezTo>
                      <a:cubicBezTo>
                        <a:pt x="6356" y="7593"/>
                        <a:pt x="7304" y="3183"/>
                        <a:pt x="7304" y="3181"/>
                      </a:cubicBezTo>
                      <a:lnTo>
                        <a:pt x="7304" y="3181"/>
                      </a:lnTo>
                      <a:cubicBezTo>
                        <a:pt x="7304" y="3182"/>
                        <a:pt x="6973" y="3977"/>
                        <a:pt x="6438" y="3977"/>
                      </a:cubicBezTo>
                      <a:cubicBezTo>
                        <a:pt x="6302" y="3977"/>
                        <a:pt x="6151" y="3925"/>
                        <a:pt x="5990" y="3794"/>
                      </a:cubicBezTo>
                      <a:cubicBezTo>
                        <a:pt x="5214" y="3167"/>
                        <a:pt x="5437" y="1674"/>
                        <a:pt x="5438" y="1673"/>
                      </a:cubicBezTo>
                      <a:lnTo>
                        <a:pt x="5438" y="1673"/>
                      </a:lnTo>
                      <a:cubicBezTo>
                        <a:pt x="5255" y="2325"/>
                        <a:pt x="5004" y="2560"/>
                        <a:pt x="4737" y="2560"/>
                      </a:cubicBezTo>
                      <a:cubicBezTo>
                        <a:pt x="4044" y="2560"/>
                        <a:pt x="3242" y="971"/>
                        <a:pt x="3242" y="971"/>
                      </a:cubicBezTo>
                      <a:cubicBezTo>
                        <a:pt x="3066" y="1370"/>
                        <a:pt x="2786" y="1522"/>
                        <a:pt x="2464" y="1522"/>
                      </a:cubicBezTo>
                      <a:cubicBezTo>
                        <a:pt x="1571" y="1522"/>
                        <a:pt x="346" y="359"/>
                        <a:pt x="62" y="77"/>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3" name="Google Shape;953;p17"/>
                <p:cNvSpPr/>
                <p:nvPr/>
              </p:nvSpPr>
              <p:spPr>
                <a:xfrm rot="-9591901">
                  <a:off x="862533" y="-946783"/>
                  <a:ext cx="1856177" cy="2241063"/>
                </a:xfrm>
                <a:custGeom>
                  <a:avLst/>
                  <a:gdLst/>
                  <a:ahLst/>
                  <a:cxnLst/>
                  <a:rect l="l" t="t" r="r" b="b"/>
                  <a:pathLst>
                    <a:path w="22763" h="27483" extrusionOk="0">
                      <a:moveTo>
                        <a:pt x="3809" y="0"/>
                      </a:moveTo>
                      <a:lnTo>
                        <a:pt x="3809" y="15"/>
                      </a:lnTo>
                      <a:cubicBezTo>
                        <a:pt x="3809" y="15"/>
                        <a:pt x="5795" y="3047"/>
                        <a:pt x="4033" y="3376"/>
                      </a:cubicBezTo>
                      <a:cubicBezTo>
                        <a:pt x="4033" y="3376"/>
                        <a:pt x="6647" y="5571"/>
                        <a:pt x="4212" y="5676"/>
                      </a:cubicBezTo>
                      <a:cubicBezTo>
                        <a:pt x="4212" y="5676"/>
                        <a:pt x="5721" y="5795"/>
                        <a:pt x="6169" y="6706"/>
                      </a:cubicBezTo>
                      <a:cubicBezTo>
                        <a:pt x="6617" y="7602"/>
                        <a:pt x="5258" y="7856"/>
                        <a:pt x="5258" y="7856"/>
                      </a:cubicBezTo>
                      <a:cubicBezTo>
                        <a:pt x="5258" y="7856"/>
                        <a:pt x="9947" y="7916"/>
                        <a:pt x="9410" y="9499"/>
                      </a:cubicBezTo>
                      <a:cubicBezTo>
                        <a:pt x="9269" y="9907"/>
                        <a:pt x="9003" y="10059"/>
                        <a:pt x="8685" y="10059"/>
                      </a:cubicBezTo>
                      <a:cubicBezTo>
                        <a:pt x="7759" y="10059"/>
                        <a:pt x="6393" y="8768"/>
                        <a:pt x="6393" y="8767"/>
                      </a:cubicBezTo>
                      <a:lnTo>
                        <a:pt x="6393" y="8767"/>
                      </a:lnTo>
                      <a:cubicBezTo>
                        <a:pt x="6393" y="8768"/>
                        <a:pt x="6824" y="9859"/>
                        <a:pt x="5981" y="9859"/>
                      </a:cubicBezTo>
                      <a:cubicBezTo>
                        <a:pt x="5965" y="9859"/>
                        <a:pt x="5947" y="9859"/>
                        <a:pt x="5930" y="9858"/>
                      </a:cubicBezTo>
                      <a:cubicBezTo>
                        <a:pt x="5019" y="9813"/>
                        <a:pt x="4496" y="9395"/>
                        <a:pt x="4496" y="9395"/>
                      </a:cubicBezTo>
                      <a:lnTo>
                        <a:pt x="4496" y="9395"/>
                      </a:lnTo>
                      <a:cubicBezTo>
                        <a:pt x="4496" y="9395"/>
                        <a:pt x="5004" y="10082"/>
                        <a:pt x="3973" y="10470"/>
                      </a:cubicBezTo>
                      <a:cubicBezTo>
                        <a:pt x="2943" y="10858"/>
                        <a:pt x="2121" y="10858"/>
                        <a:pt x="2121" y="10858"/>
                      </a:cubicBezTo>
                      <a:cubicBezTo>
                        <a:pt x="2121" y="10858"/>
                        <a:pt x="4720" y="11366"/>
                        <a:pt x="4048" y="12606"/>
                      </a:cubicBezTo>
                      <a:cubicBezTo>
                        <a:pt x="4048" y="12606"/>
                        <a:pt x="6393" y="12845"/>
                        <a:pt x="5153" y="14144"/>
                      </a:cubicBezTo>
                      <a:cubicBezTo>
                        <a:pt x="5153" y="14144"/>
                        <a:pt x="6546" y="13493"/>
                        <a:pt x="7175" y="13493"/>
                      </a:cubicBezTo>
                      <a:cubicBezTo>
                        <a:pt x="7469" y="13493"/>
                        <a:pt x="7596" y="13636"/>
                        <a:pt x="7334" y="14055"/>
                      </a:cubicBezTo>
                      <a:cubicBezTo>
                        <a:pt x="7334" y="14055"/>
                        <a:pt x="8304" y="13769"/>
                        <a:pt x="9187" y="13769"/>
                      </a:cubicBezTo>
                      <a:cubicBezTo>
                        <a:pt x="9919" y="13769"/>
                        <a:pt x="10591" y="13965"/>
                        <a:pt x="10605" y="14682"/>
                      </a:cubicBezTo>
                      <a:cubicBezTo>
                        <a:pt x="10611" y="15358"/>
                        <a:pt x="9947" y="15553"/>
                        <a:pt x="9178" y="15553"/>
                      </a:cubicBezTo>
                      <a:cubicBezTo>
                        <a:pt x="8129" y="15553"/>
                        <a:pt x="6886" y="15190"/>
                        <a:pt x="6886" y="15190"/>
                      </a:cubicBezTo>
                      <a:lnTo>
                        <a:pt x="6886" y="15190"/>
                      </a:lnTo>
                      <a:cubicBezTo>
                        <a:pt x="6886" y="15190"/>
                        <a:pt x="7901" y="15683"/>
                        <a:pt x="7737" y="15922"/>
                      </a:cubicBezTo>
                      <a:cubicBezTo>
                        <a:pt x="7709" y="15971"/>
                        <a:pt x="7536" y="15990"/>
                        <a:pt x="7278" y="15990"/>
                      </a:cubicBezTo>
                      <a:cubicBezTo>
                        <a:pt x="6277" y="15990"/>
                        <a:pt x="4003" y="15698"/>
                        <a:pt x="4003" y="15698"/>
                      </a:cubicBezTo>
                      <a:lnTo>
                        <a:pt x="4003" y="15698"/>
                      </a:lnTo>
                      <a:cubicBezTo>
                        <a:pt x="4003" y="15698"/>
                        <a:pt x="4780" y="16116"/>
                        <a:pt x="4123" y="16594"/>
                      </a:cubicBezTo>
                      <a:cubicBezTo>
                        <a:pt x="3465" y="17087"/>
                        <a:pt x="1748" y="17445"/>
                        <a:pt x="1748" y="17445"/>
                      </a:cubicBezTo>
                      <a:cubicBezTo>
                        <a:pt x="1748" y="17445"/>
                        <a:pt x="2315" y="17550"/>
                        <a:pt x="2061" y="17848"/>
                      </a:cubicBezTo>
                      <a:cubicBezTo>
                        <a:pt x="1822" y="18132"/>
                        <a:pt x="986" y="18595"/>
                        <a:pt x="986" y="18595"/>
                      </a:cubicBezTo>
                      <a:cubicBezTo>
                        <a:pt x="986" y="18595"/>
                        <a:pt x="1370" y="18507"/>
                        <a:pt x="1705" y="18507"/>
                      </a:cubicBezTo>
                      <a:cubicBezTo>
                        <a:pt x="2073" y="18507"/>
                        <a:pt x="2382" y="18613"/>
                        <a:pt x="2061" y="19058"/>
                      </a:cubicBezTo>
                      <a:cubicBezTo>
                        <a:pt x="1464" y="19910"/>
                        <a:pt x="0" y="20432"/>
                        <a:pt x="0" y="20432"/>
                      </a:cubicBezTo>
                      <a:cubicBezTo>
                        <a:pt x="0" y="20432"/>
                        <a:pt x="11" y="20432"/>
                        <a:pt x="31" y="20432"/>
                      </a:cubicBezTo>
                      <a:cubicBezTo>
                        <a:pt x="293" y="20432"/>
                        <a:pt x="2135" y="20445"/>
                        <a:pt x="2315" y="20806"/>
                      </a:cubicBezTo>
                      <a:cubicBezTo>
                        <a:pt x="2509" y="21194"/>
                        <a:pt x="2032" y="21553"/>
                        <a:pt x="2032" y="21553"/>
                      </a:cubicBezTo>
                      <a:cubicBezTo>
                        <a:pt x="2032" y="21553"/>
                        <a:pt x="3088" y="21320"/>
                        <a:pt x="3926" y="21320"/>
                      </a:cubicBezTo>
                      <a:cubicBezTo>
                        <a:pt x="4619" y="21320"/>
                        <a:pt x="5164" y="21479"/>
                        <a:pt x="4839" y="22060"/>
                      </a:cubicBezTo>
                      <a:cubicBezTo>
                        <a:pt x="4839" y="22060"/>
                        <a:pt x="6406" y="21404"/>
                        <a:pt x="7215" y="21404"/>
                      </a:cubicBezTo>
                      <a:cubicBezTo>
                        <a:pt x="7550" y="21404"/>
                        <a:pt x="7754" y="21517"/>
                        <a:pt x="7662" y="21836"/>
                      </a:cubicBezTo>
                      <a:cubicBezTo>
                        <a:pt x="7662" y="21836"/>
                        <a:pt x="9061" y="20420"/>
                        <a:pt x="10140" y="20420"/>
                      </a:cubicBezTo>
                      <a:cubicBezTo>
                        <a:pt x="10449" y="20420"/>
                        <a:pt x="10732" y="20536"/>
                        <a:pt x="10948" y="20836"/>
                      </a:cubicBezTo>
                      <a:cubicBezTo>
                        <a:pt x="11934" y="22180"/>
                        <a:pt x="9066" y="23001"/>
                        <a:pt x="9066" y="23001"/>
                      </a:cubicBezTo>
                      <a:cubicBezTo>
                        <a:pt x="9066" y="23001"/>
                        <a:pt x="9036" y="24525"/>
                        <a:pt x="6438" y="24704"/>
                      </a:cubicBezTo>
                      <a:cubicBezTo>
                        <a:pt x="6438" y="24704"/>
                        <a:pt x="10515" y="25062"/>
                        <a:pt x="9679" y="26138"/>
                      </a:cubicBezTo>
                      <a:cubicBezTo>
                        <a:pt x="9679" y="26138"/>
                        <a:pt x="10691" y="25990"/>
                        <a:pt x="11778" y="25990"/>
                      </a:cubicBezTo>
                      <a:cubicBezTo>
                        <a:pt x="13228" y="25990"/>
                        <a:pt x="14812" y="26253"/>
                        <a:pt x="14309" y="27482"/>
                      </a:cubicBezTo>
                      <a:lnTo>
                        <a:pt x="16176" y="26750"/>
                      </a:lnTo>
                      <a:lnTo>
                        <a:pt x="15907" y="27452"/>
                      </a:lnTo>
                      <a:lnTo>
                        <a:pt x="19297" y="25301"/>
                      </a:lnTo>
                      <a:lnTo>
                        <a:pt x="18745" y="26093"/>
                      </a:lnTo>
                      <a:lnTo>
                        <a:pt x="22762" y="23778"/>
                      </a:lnTo>
                      <a:lnTo>
                        <a:pt x="3809"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54" name="Google Shape;954;p17"/>
              <p:cNvSpPr/>
              <p:nvPr/>
            </p:nvSpPr>
            <p:spPr>
              <a:xfrm rot="-9591901">
                <a:off x="764262" y="-893866"/>
                <a:ext cx="1523642" cy="1904940"/>
              </a:xfrm>
              <a:custGeom>
                <a:avLst/>
                <a:gdLst/>
                <a:ahLst/>
                <a:cxnLst/>
                <a:rect l="l" t="t" r="r" b="b"/>
                <a:pathLst>
                  <a:path w="18685" h="23361" extrusionOk="0">
                    <a:moveTo>
                      <a:pt x="180" y="0"/>
                    </a:moveTo>
                    <a:lnTo>
                      <a:pt x="0" y="135"/>
                    </a:lnTo>
                    <a:lnTo>
                      <a:pt x="18297" y="23360"/>
                    </a:lnTo>
                    <a:lnTo>
                      <a:pt x="18685" y="23031"/>
                    </a:lnTo>
                    <a:lnTo>
                      <a:pt x="18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55" name="Google Shape;955;p17"/>
              <p:cNvGrpSpPr/>
              <p:nvPr/>
            </p:nvGrpSpPr>
            <p:grpSpPr>
              <a:xfrm rot="-9591901">
                <a:off x="596733" y="-860550"/>
                <a:ext cx="1791676" cy="1707605"/>
                <a:chOff x="11860675" y="4981025"/>
                <a:chExt cx="549300" cy="523525"/>
              </a:xfrm>
            </p:grpSpPr>
            <p:sp>
              <p:nvSpPr>
                <p:cNvPr id="956" name="Google Shape;956;p17"/>
                <p:cNvSpPr/>
                <p:nvPr/>
              </p:nvSpPr>
              <p:spPr>
                <a:xfrm>
                  <a:off x="12020875" y="5415275"/>
                  <a:ext cx="258025" cy="83300"/>
                </a:xfrm>
                <a:custGeom>
                  <a:avLst/>
                  <a:gdLst/>
                  <a:ahLst/>
                  <a:cxnLst/>
                  <a:rect l="l" t="t" r="r" b="b"/>
                  <a:pathLst>
                    <a:path w="10321" h="3332" fill="none" extrusionOk="0">
                      <a:moveTo>
                        <a:pt x="10321" y="509"/>
                      </a:moveTo>
                      <a:cubicBezTo>
                        <a:pt x="10321" y="509"/>
                        <a:pt x="3988" y="1"/>
                        <a:pt x="0" y="3332"/>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7" name="Google Shape;957;p17"/>
                <p:cNvSpPr/>
                <p:nvPr/>
              </p:nvSpPr>
              <p:spPr>
                <a:xfrm>
                  <a:off x="12023100" y="5439550"/>
                  <a:ext cx="123625" cy="9375"/>
                </a:xfrm>
                <a:custGeom>
                  <a:avLst/>
                  <a:gdLst/>
                  <a:ahLst/>
                  <a:cxnLst/>
                  <a:rect l="l" t="t" r="r" b="b"/>
                  <a:pathLst>
                    <a:path w="4945" h="375" fill="none" extrusionOk="0">
                      <a:moveTo>
                        <a:pt x="1" y="374"/>
                      </a:moveTo>
                      <a:lnTo>
                        <a:pt x="4944" y="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958;p17"/>
                <p:cNvSpPr/>
                <p:nvPr/>
              </p:nvSpPr>
              <p:spPr>
                <a:xfrm>
                  <a:off x="12052975" y="5451500"/>
                  <a:ext cx="53050" cy="53050"/>
                </a:xfrm>
                <a:custGeom>
                  <a:avLst/>
                  <a:gdLst/>
                  <a:ahLst/>
                  <a:cxnLst/>
                  <a:rect l="l" t="t" r="r" b="b"/>
                  <a:pathLst>
                    <a:path w="2122" h="2122" fill="none" extrusionOk="0">
                      <a:moveTo>
                        <a:pt x="2121" y="1"/>
                      </a:moveTo>
                      <a:cubicBezTo>
                        <a:pt x="2121" y="1"/>
                        <a:pt x="314" y="1479"/>
                        <a:pt x="0" y="2122"/>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p17"/>
                <p:cNvSpPr/>
                <p:nvPr/>
              </p:nvSpPr>
              <p:spPr>
                <a:xfrm>
                  <a:off x="12066800" y="5366375"/>
                  <a:ext cx="166550" cy="4500"/>
                </a:xfrm>
                <a:custGeom>
                  <a:avLst/>
                  <a:gdLst/>
                  <a:ahLst/>
                  <a:cxnLst/>
                  <a:rect l="l" t="t" r="r" b="b"/>
                  <a:pathLst>
                    <a:path w="6662" h="180" fill="none" extrusionOk="0">
                      <a:moveTo>
                        <a:pt x="0" y="0"/>
                      </a:moveTo>
                      <a:lnTo>
                        <a:pt x="6661" y="180"/>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p17"/>
                <p:cNvSpPr/>
                <p:nvPr/>
              </p:nvSpPr>
              <p:spPr>
                <a:xfrm>
                  <a:off x="11860675" y="5278625"/>
                  <a:ext cx="342425" cy="83300"/>
                </a:xfrm>
                <a:custGeom>
                  <a:avLst/>
                  <a:gdLst/>
                  <a:ahLst/>
                  <a:cxnLst/>
                  <a:rect l="l" t="t" r="r" b="b"/>
                  <a:pathLst>
                    <a:path w="13697" h="3332" fill="none" extrusionOk="0">
                      <a:moveTo>
                        <a:pt x="13697" y="2181"/>
                      </a:moveTo>
                      <a:cubicBezTo>
                        <a:pt x="13697" y="2181"/>
                        <a:pt x="6348" y="0"/>
                        <a:pt x="1" y="333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1" name="Google Shape;961;p17"/>
                <p:cNvSpPr/>
                <p:nvPr/>
              </p:nvSpPr>
              <p:spPr>
                <a:xfrm>
                  <a:off x="11868525" y="5317450"/>
                  <a:ext cx="87400" cy="14600"/>
                </a:xfrm>
                <a:custGeom>
                  <a:avLst/>
                  <a:gdLst/>
                  <a:ahLst/>
                  <a:cxnLst/>
                  <a:rect l="l" t="t" r="r" b="b"/>
                  <a:pathLst>
                    <a:path w="3496" h="584" fill="none" extrusionOk="0">
                      <a:moveTo>
                        <a:pt x="0" y="1"/>
                      </a:moveTo>
                      <a:cubicBezTo>
                        <a:pt x="0" y="1"/>
                        <a:pt x="2494" y="583"/>
                        <a:pt x="3495" y="389"/>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2" name="Google Shape;962;p17"/>
                <p:cNvSpPr/>
                <p:nvPr/>
              </p:nvSpPr>
              <p:spPr>
                <a:xfrm>
                  <a:off x="11953275" y="5315600"/>
                  <a:ext cx="107200" cy="58275"/>
                </a:xfrm>
                <a:custGeom>
                  <a:avLst/>
                  <a:gdLst/>
                  <a:ahLst/>
                  <a:cxnLst/>
                  <a:rect l="l" t="t" r="r" b="b"/>
                  <a:pathLst>
                    <a:path w="4288" h="2331" fill="none" extrusionOk="0">
                      <a:moveTo>
                        <a:pt x="1" y="2330"/>
                      </a:moveTo>
                      <a:cubicBezTo>
                        <a:pt x="1" y="2330"/>
                        <a:pt x="2346" y="553"/>
                        <a:pt x="4287" y="0"/>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3" name="Google Shape;963;p17"/>
                <p:cNvSpPr/>
                <p:nvPr/>
              </p:nvSpPr>
              <p:spPr>
                <a:xfrm>
                  <a:off x="12062300" y="5245775"/>
                  <a:ext cx="84800" cy="17200"/>
                </a:xfrm>
                <a:custGeom>
                  <a:avLst/>
                  <a:gdLst/>
                  <a:ahLst/>
                  <a:cxnLst/>
                  <a:rect l="l" t="t" r="r" b="b"/>
                  <a:pathLst>
                    <a:path w="3392" h="688" fill="none" extrusionOk="0">
                      <a:moveTo>
                        <a:pt x="1" y="0"/>
                      </a:moveTo>
                      <a:lnTo>
                        <a:pt x="3391" y="687"/>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4" name="Google Shape;964;p17"/>
                <p:cNvSpPr/>
                <p:nvPr/>
              </p:nvSpPr>
              <p:spPr>
                <a:xfrm>
                  <a:off x="12057825" y="5253600"/>
                  <a:ext cx="42975" cy="20200"/>
                </a:xfrm>
                <a:custGeom>
                  <a:avLst/>
                  <a:gdLst/>
                  <a:ahLst/>
                  <a:cxnLst/>
                  <a:rect l="l" t="t" r="r" b="b"/>
                  <a:pathLst>
                    <a:path w="1719" h="808" fill="none" extrusionOk="0">
                      <a:moveTo>
                        <a:pt x="1" y="807"/>
                      </a:moveTo>
                      <a:lnTo>
                        <a:pt x="1718" y="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5" name="Google Shape;965;p17"/>
                <p:cNvSpPr/>
                <p:nvPr/>
              </p:nvSpPr>
              <p:spPr>
                <a:xfrm>
                  <a:off x="11897650" y="5153900"/>
                  <a:ext cx="191200" cy="35875"/>
                </a:xfrm>
                <a:custGeom>
                  <a:avLst/>
                  <a:gdLst/>
                  <a:ahLst/>
                  <a:cxnLst/>
                  <a:rect l="l" t="t" r="r" b="b"/>
                  <a:pathLst>
                    <a:path w="7648" h="1435" fill="none" extrusionOk="0">
                      <a:moveTo>
                        <a:pt x="0" y="1"/>
                      </a:moveTo>
                      <a:lnTo>
                        <a:pt x="7647" y="1435"/>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p17"/>
                <p:cNvSpPr/>
                <p:nvPr/>
              </p:nvSpPr>
              <p:spPr>
                <a:xfrm>
                  <a:off x="11938725" y="5170700"/>
                  <a:ext cx="49300" cy="17225"/>
                </a:xfrm>
                <a:custGeom>
                  <a:avLst/>
                  <a:gdLst/>
                  <a:ahLst/>
                  <a:cxnLst/>
                  <a:rect l="l" t="t" r="r" b="b"/>
                  <a:pathLst>
                    <a:path w="1972" h="689" fill="none" extrusionOk="0">
                      <a:moveTo>
                        <a:pt x="0" y="688"/>
                      </a:moveTo>
                      <a:lnTo>
                        <a:pt x="1972" y="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7" name="Google Shape;967;p17"/>
                <p:cNvSpPr/>
                <p:nvPr/>
              </p:nvSpPr>
              <p:spPr>
                <a:xfrm>
                  <a:off x="11896900" y="5001575"/>
                  <a:ext cx="72075" cy="38100"/>
                </a:xfrm>
                <a:custGeom>
                  <a:avLst/>
                  <a:gdLst/>
                  <a:ahLst/>
                  <a:cxnLst/>
                  <a:rect l="l" t="t" r="r" b="b"/>
                  <a:pathLst>
                    <a:path w="2883" h="1524" fill="none" extrusionOk="0">
                      <a:moveTo>
                        <a:pt x="0" y="0"/>
                      </a:moveTo>
                      <a:lnTo>
                        <a:pt x="2883" y="1523"/>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p17"/>
                <p:cNvSpPr/>
                <p:nvPr/>
              </p:nvSpPr>
              <p:spPr>
                <a:xfrm>
                  <a:off x="11909600" y="5019850"/>
                  <a:ext cx="21300" cy="4900"/>
                </a:xfrm>
                <a:custGeom>
                  <a:avLst/>
                  <a:gdLst/>
                  <a:ahLst/>
                  <a:cxnLst/>
                  <a:rect l="l" t="t" r="r" b="b"/>
                  <a:pathLst>
                    <a:path w="852" h="196" fill="none" extrusionOk="0">
                      <a:moveTo>
                        <a:pt x="0" y="195"/>
                      </a:moveTo>
                      <a:lnTo>
                        <a:pt x="851" y="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9" name="Google Shape;969;p17"/>
                <p:cNvSpPr/>
                <p:nvPr/>
              </p:nvSpPr>
              <p:spPr>
                <a:xfrm>
                  <a:off x="12283725" y="5195350"/>
                  <a:ext cx="126250" cy="236025"/>
                </a:xfrm>
                <a:custGeom>
                  <a:avLst/>
                  <a:gdLst/>
                  <a:ahLst/>
                  <a:cxnLst/>
                  <a:rect l="l" t="t" r="r" b="b"/>
                  <a:pathLst>
                    <a:path w="5050" h="9441" fill="none" extrusionOk="0">
                      <a:moveTo>
                        <a:pt x="1" y="9440"/>
                      </a:moveTo>
                      <a:cubicBezTo>
                        <a:pt x="1" y="9440"/>
                        <a:pt x="912" y="3152"/>
                        <a:pt x="504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0" name="Google Shape;970;p17"/>
                <p:cNvSpPr/>
                <p:nvPr/>
              </p:nvSpPr>
              <p:spPr>
                <a:xfrm>
                  <a:off x="12324425" y="5186775"/>
                  <a:ext cx="36625" cy="118375"/>
                </a:xfrm>
                <a:custGeom>
                  <a:avLst/>
                  <a:gdLst/>
                  <a:ahLst/>
                  <a:cxnLst/>
                  <a:rect l="l" t="t" r="r" b="b"/>
                  <a:pathLst>
                    <a:path w="1465" h="4735" fill="none" extrusionOk="0">
                      <a:moveTo>
                        <a:pt x="1465" y="0"/>
                      </a:moveTo>
                      <a:lnTo>
                        <a:pt x="1" y="4735"/>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1" name="Google Shape;971;p17"/>
                <p:cNvSpPr/>
                <p:nvPr/>
              </p:nvSpPr>
              <p:spPr>
                <a:xfrm>
                  <a:off x="12344975" y="5227850"/>
                  <a:ext cx="63875" cy="39975"/>
                </a:xfrm>
                <a:custGeom>
                  <a:avLst/>
                  <a:gdLst/>
                  <a:ahLst/>
                  <a:cxnLst/>
                  <a:rect l="l" t="t" r="r" b="b"/>
                  <a:pathLst>
                    <a:path w="2555" h="1599" fill="none" extrusionOk="0">
                      <a:moveTo>
                        <a:pt x="0" y="1598"/>
                      </a:moveTo>
                      <a:cubicBezTo>
                        <a:pt x="0" y="1598"/>
                        <a:pt x="1852" y="179"/>
                        <a:pt x="2554" y="0"/>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2" name="Google Shape;972;p17"/>
                <p:cNvSpPr/>
                <p:nvPr/>
              </p:nvSpPr>
              <p:spPr>
                <a:xfrm>
                  <a:off x="12251625" y="5228600"/>
                  <a:ext cx="32875" cy="162825"/>
                </a:xfrm>
                <a:custGeom>
                  <a:avLst/>
                  <a:gdLst/>
                  <a:ahLst/>
                  <a:cxnLst/>
                  <a:rect l="l" t="t" r="r" b="b"/>
                  <a:pathLst>
                    <a:path w="1315" h="6513" fill="none" extrusionOk="0">
                      <a:moveTo>
                        <a:pt x="1315" y="0"/>
                      </a:moveTo>
                      <a:lnTo>
                        <a:pt x="0" y="6512"/>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3" name="Google Shape;973;p17"/>
                <p:cNvSpPr/>
                <p:nvPr/>
              </p:nvSpPr>
              <p:spPr>
                <a:xfrm>
                  <a:off x="12199350" y="5013500"/>
                  <a:ext cx="116525" cy="327125"/>
                </a:xfrm>
                <a:custGeom>
                  <a:avLst/>
                  <a:gdLst/>
                  <a:ahLst/>
                  <a:cxnLst/>
                  <a:rect l="l" t="t" r="r" b="b"/>
                  <a:pathLst>
                    <a:path w="4661" h="13085" fill="none" extrusionOk="0">
                      <a:moveTo>
                        <a:pt x="478" y="13085"/>
                      </a:moveTo>
                      <a:cubicBezTo>
                        <a:pt x="478" y="13085"/>
                        <a:pt x="0" y="5423"/>
                        <a:pt x="4660"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4" name="Google Shape;974;p17"/>
                <p:cNvSpPr/>
                <p:nvPr/>
              </p:nvSpPr>
              <p:spPr>
                <a:xfrm>
                  <a:off x="12260575" y="5010900"/>
                  <a:ext cx="10850" cy="87400"/>
                </a:xfrm>
                <a:custGeom>
                  <a:avLst/>
                  <a:gdLst/>
                  <a:ahLst/>
                  <a:cxnLst/>
                  <a:rect l="l" t="t" r="r" b="b"/>
                  <a:pathLst>
                    <a:path w="434" h="3496" fill="none" extrusionOk="0">
                      <a:moveTo>
                        <a:pt x="404" y="0"/>
                      </a:moveTo>
                      <a:cubicBezTo>
                        <a:pt x="404" y="0"/>
                        <a:pt x="434" y="2554"/>
                        <a:pt x="1" y="3495"/>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5" name="Google Shape;975;p17"/>
                <p:cNvSpPr/>
                <p:nvPr/>
              </p:nvSpPr>
              <p:spPr>
                <a:xfrm>
                  <a:off x="12226225" y="5106125"/>
                  <a:ext cx="80675" cy="91125"/>
                </a:xfrm>
                <a:custGeom>
                  <a:avLst/>
                  <a:gdLst/>
                  <a:ahLst/>
                  <a:cxnLst/>
                  <a:rect l="l" t="t" r="r" b="b"/>
                  <a:pathLst>
                    <a:path w="3227" h="3645" fill="none" extrusionOk="0">
                      <a:moveTo>
                        <a:pt x="3227" y="0"/>
                      </a:moveTo>
                      <a:cubicBezTo>
                        <a:pt x="3227" y="0"/>
                        <a:pt x="972" y="1882"/>
                        <a:pt x="1" y="3644"/>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6" name="Google Shape;976;p17"/>
                <p:cNvSpPr/>
                <p:nvPr/>
              </p:nvSpPr>
              <p:spPr>
                <a:xfrm>
                  <a:off x="12166125" y="5196850"/>
                  <a:ext cx="1500" cy="86650"/>
                </a:xfrm>
                <a:custGeom>
                  <a:avLst/>
                  <a:gdLst/>
                  <a:ahLst/>
                  <a:cxnLst/>
                  <a:rect l="l" t="t" r="r" b="b"/>
                  <a:pathLst>
                    <a:path w="60" h="3466" fill="none" extrusionOk="0">
                      <a:moveTo>
                        <a:pt x="60" y="0"/>
                      </a:moveTo>
                      <a:lnTo>
                        <a:pt x="0" y="3466"/>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7" name="Google Shape;977;p17"/>
                <p:cNvSpPr/>
                <p:nvPr/>
              </p:nvSpPr>
              <p:spPr>
                <a:xfrm>
                  <a:off x="12167225" y="5199100"/>
                  <a:ext cx="29150" cy="37350"/>
                </a:xfrm>
                <a:custGeom>
                  <a:avLst/>
                  <a:gdLst/>
                  <a:ahLst/>
                  <a:cxnLst/>
                  <a:rect l="l" t="t" r="r" b="b"/>
                  <a:pathLst>
                    <a:path w="1166" h="1494" fill="none" extrusionOk="0">
                      <a:moveTo>
                        <a:pt x="1166" y="0"/>
                      </a:moveTo>
                      <a:lnTo>
                        <a:pt x="1" y="1494"/>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8" name="Google Shape;978;p17"/>
                <p:cNvSpPr/>
                <p:nvPr/>
              </p:nvSpPr>
              <p:spPr>
                <a:xfrm>
                  <a:off x="12093675" y="4998575"/>
                  <a:ext cx="7875" cy="194200"/>
                </a:xfrm>
                <a:custGeom>
                  <a:avLst/>
                  <a:gdLst/>
                  <a:ahLst/>
                  <a:cxnLst/>
                  <a:rect l="l" t="t" r="r" b="b"/>
                  <a:pathLst>
                    <a:path w="315" h="7768" fill="none" extrusionOk="0">
                      <a:moveTo>
                        <a:pt x="314" y="1"/>
                      </a:moveTo>
                      <a:lnTo>
                        <a:pt x="0" y="7767"/>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9" name="Google Shape;979;p17"/>
                <p:cNvSpPr/>
                <p:nvPr/>
              </p:nvSpPr>
              <p:spPr>
                <a:xfrm>
                  <a:off x="12097775" y="5046375"/>
                  <a:ext cx="27650" cy="43700"/>
                </a:xfrm>
                <a:custGeom>
                  <a:avLst/>
                  <a:gdLst/>
                  <a:ahLst/>
                  <a:cxnLst/>
                  <a:rect l="l" t="t" r="r" b="b"/>
                  <a:pathLst>
                    <a:path w="1106" h="1748" fill="none" extrusionOk="0">
                      <a:moveTo>
                        <a:pt x="1106" y="0"/>
                      </a:moveTo>
                      <a:lnTo>
                        <a:pt x="1" y="1748"/>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0" name="Google Shape;980;p17"/>
                <p:cNvSpPr/>
                <p:nvPr/>
              </p:nvSpPr>
              <p:spPr>
                <a:xfrm>
                  <a:off x="11967100" y="4981025"/>
                  <a:ext cx="20925" cy="79175"/>
                </a:xfrm>
                <a:custGeom>
                  <a:avLst/>
                  <a:gdLst/>
                  <a:ahLst/>
                  <a:cxnLst/>
                  <a:rect l="l" t="t" r="r" b="b"/>
                  <a:pathLst>
                    <a:path w="837" h="3167" fill="none" extrusionOk="0">
                      <a:moveTo>
                        <a:pt x="0" y="1"/>
                      </a:moveTo>
                      <a:lnTo>
                        <a:pt x="837" y="3167"/>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1" name="Google Shape;981;p17"/>
                <p:cNvSpPr/>
                <p:nvPr/>
              </p:nvSpPr>
              <p:spPr>
                <a:xfrm>
                  <a:off x="11977175" y="4998575"/>
                  <a:ext cx="9350" cy="19825"/>
                </a:xfrm>
                <a:custGeom>
                  <a:avLst/>
                  <a:gdLst/>
                  <a:ahLst/>
                  <a:cxnLst/>
                  <a:rect l="l" t="t" r="r" b="b"/>
                  <a:pathLst>
                    <a:path w="374" h="793" fill="none" extrusionOk="0">
                      <a:moveTo>
                        <a:pt x="374" y="1"/>
                      </a:moveTo>
                      <a:lnTo>
                        <a:pt x="1" y="792"/>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982" name="Google Shape;982;p17"/>
            <p:cNvGrpSpPr/>
            <p:nvPr/>
          </p:nvGrpSpPr>
          <p:grpSpPr>
            <a:xfrm>
              <a:off x="530465" y="3148597"/>
              <a:ext cx="1687402" cy="1463028"/>
              <a:chOff x="2647150" y="5312975"/>
              <a:chExt cx="684850" cy="599700"/>
            </a:xfrm>
          </p:grpSpPr>
          <p:sp>
            <p:nvSpPr>
              <p:cNvPr id="983" name="Google Shape;983;p17"/>
              <p:cNvSpPr/>
              <p:nvPr/>
            </p:nvSpPr>
            <p:spPr>
              <a:xfrm>
                <a:off x="2647150" y="5499675"/>
                <a:ext cx="684850" cy="413000"/>
              </a:xfrm>
              <a:custGeom>
                <a:avLst/>
                <a:gdLst/>
                <a:ahLst/>
                <a:cxnLst/>
                <a:rect l="l" t="t" r="r" b="b"/>
                <a:pathLst>
                  <a:path w="27394" h="16520" extrusionOk="0">
                    <a:moveTo>
                      <a:pt x="8009" y="1"/>
                    </a:moveTo>
                    <a:cubicBezTo>
                      <a:pt x="6594" y="1"/>
                      <a:pt x="4962" y="549"/>
                      <a:pt x="3511" y="2420"/>
                    </a:cubicBezTo>
                    <a:cubicBezTo>
                      <a:pt x="1" y="6946"/>
                      <a:pt x="1554" y="11680"/>
                      <a:pt x="4661" y="12890"/>
                    </a:cubicBezTo>
                    <a:cubicBezTo>
                      <a:pt x="4691" y="12890"/>
                      <a:pt x="4706" y="12905"/>
                      <a:pt x="4735" y="12905"/>
                    </a:cubicBezTo>
                    <a:cubicBezTo>
                      <a:pt x="5658" y="14712"/>
                      <a:pt x="7406" y="15804"/>
                      <a:pt x="9582" y="15804"/>
                    </a:cubicBezTo>
                    <a:cubicBezTo>
                      <a:pt x="9942" y="15804"/>
                      <a:pt x="10313" y="15774"/>
                      <a:pt x="10695" y="15713"/>
                    </a:cubicBezTo>
                    <a:cubicBezTo>
                      <a:pt x="11800" y="16430"/>
                      <a:pt x="13025" y="16520"/>
                      <a:pt x="13667" y="16520"/>
                    </a:cubicBezTo>
                    <a:lnTo>
                      <a:pt x="13697" y="16520"/>
                    </a:lnTo>
                    <a:cubicBezTo>
                      <a:pt x="14354" y="16520"/>
                      <a:pt x="15594" y="16430"/>
                      <a:pt x="16699" y="15713"/>
                    </a:cubicBezTo>
                    <a:cubicBezTo>
                      <a:pt x="17089" y="15778"/>
                      <a:pt x="17469" y="15809"/>
                      <a:pt x="17836" y="15809"/>
                    </a:cubicBezTo>
                    <a:cubicBezTo>
                      <a:pt x="20013" y="15809"/>
                      <a:pt x="21753" y="14707"/>
                      <a:pt x="22673" y="12905"/>
                    </a:cubicBezTo>
                    <a:cubicBezTo>
                      <a:pt x="22688" y="12905"/>
                      <a:pt x="22718" y="12890"/>
                      <a:pt x="22733" y="12890"/>
                    </a:cubicBezTo>
                    <a:cubicBezTo>
                      <a:pt x="25840" y="11680"/>
                      <a:pt x="27393" y="6946"/>
                      <a:pt x="23883" y="2420"/>
                    </a:cubicBezTo>
                    <a:cubicBezTo>
                      <a:pt x="22432" y="549"/>
                      <a:pt x="20800" y="1"/>
                      <a:pt x="19385" y="1"/>
                    </a:cubicBezTo>
                    <a:cubicBezTo>
                      <a:pt x="17376" y="1"/>
                      <a:pt x="15803" y="1106"/>
                      <a:pt x="15803" y="1106"/>
                    </a:cubicBezTo>
                    <a:lnTo>
                      <a:pt x="15788" y="1195"/>
                    </a:lnTo>
                    <a:cubicBezTo>
                      <a:pt x="14563" y="1210"/>
                      <a:pt x="13697" y="1479"/>
                      <a:pt x="13697" y="1479"/>
                    </a:cubicBezTo>
                    <a:lnTo>
                      <a:pt x="13712" y="1494"/>
                    </a:lnTo>
                    <a:lnTo>
                      <a:pt x="13697" y="1494"/>
                    </a:lnTo>
                    <a:lnTo>
                      <a:pt x="13697" y="1479"/>
                    </a:lnTo>
                    <a:cubicBezTo>
                      <a:pt x="13697" y="1479"/>
                      <a:pt x="12831" y="1210"/>
                      <a:pt x="11606" y="1195"/>
                    </a:cubicBezTo>
                    <a:lnTo>
                      <a:pt x="11591" y="1106"/>
                    </a:lnTo>
                    <a:cubicBezTo>
                      <a:pt x="11591" y="1106"/>
                      <a:pt x="10018" y="1"/>
                      <a:pt x="800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4" name="Google Shape;984;p17"/>
              <p:cNvSpPr/>
              <p:nvPr/>
            </p:nvSpPr>
            <p:spPr>
              <a:xfrm>
                <a:off x="2677775" y="5527300"/>
                <a:ext cx="622475" cy="364475"/>
              </a:xfrm>
              <a:custGeom>
                <a:avLst/>
                <a:gdLst/>
                <a:ahLst/>
                <a:cxnLst/>
                <a:rect l="l" t="t" r="r" b="b"/>
                <a:pathLst>
                  <a:path w="24899" h="14579" fill="none" extrusionOk="0">
                    <a:moveTo>
                      <a:pt x="21508" y="11785"/>
                    </a:moveTo>
                    <a:cubicBezTo>
                      <a:pt x="21508" y="11785"/>
                      <a:pt x="24899" y="703"/>
                      <a:pt x="14578" y="1"/>
                    </a:cubicBezTo>
                    <a:moveTo>
                      <a:pt x="3376" y="11785"/>
                    </a:moveTo>
                    <a:cubicBezTo>
                      <a:pt x="3376" y="11785"/>
                      <a:pt x="1" y="703"/>
                      <a:pt x="10306" y="1"/>
                    </a:cubicBezTo>
                    <a:moveTo>
                      <a:pt x="9574" y="14578"/>
                    </a:moveTo>
                    <a:cubicBezTo>
                      <a:pt x="6572" y="14279"/>
                      <a:pt x="5706" y="3197"/>
                      <a:pt x="12427" y="314"/>
                    </a:cubicBezTo>
                    <a:moveTo>
                      <a:pt x="15325" y="14578"/>
                    </a:moveTo>
                    <a:cubicBezTo>
                      <a:pt x="18312" y="14279"/>
                      <a:pt x="19193" y="3197"/>
                      <a:pt x="12472" y="314"/>
                    </a:cubicBezTo>
                  </a:path>
                </a:pathLst>
              </a:custGeom>
              <a:noFill/>
              <a:ln w="19050" cap="rnd"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5" name="Google Shape;985;p17"/>
              <p:cNvSpPr/>
              <p:nvPr/>
            </p:nvSpPr>
            <p:spPr>
              <a:xfrm>
                <a:off x="2700550" y="5509000"/>
                <a:ext cx="585500" cy="361850"/>
              </a:xfrm>
              <a:custGeom>
                <a:avLst/>
                <a:gdLst/>
                <a:ahLst/>
                <a:cxnLst/>
                <a:rect l="l" t="t" r="r" b="b"/>
                <a:pathLst>
                  <a:path w="23420" h="14474" extrusionOk="0">
                    <a:moveTo>
                      <a:pt x="18282" y="1"/>
                    </a:moveTo>
                    <a:cubicBezTo>
                      <a:pt x="18237" y="1"/>
                      <a:pt x="18192" y="46"/>
                      <a:pt x="18192" y="76"/>
                    </a:cubicBezTo>
                    <a:cubicBezTo>
                      <a:pt x="18192" y="120"/>
                      <a:pt x="18237" y="165"/>
                      <a:pt x="18282" y="165"/>
                    </a:cubicBezTo>
                    <a:cubicBezTo>
                      <a:pt x="18312" y="165"/>
                      <a:pt x="18357" y="120"/>
                      <a:pt x="18357" y="76"/>
                    </a:cubicBezTo>
                    <a:cubicBezTo>
                      <a:pt x="18357" y="46"/>
                      <a:pt x="18312" y="1"/>
                      <a:pt x="18282" y="1"/>
                    </a:cubicBezTo>
                    <a:close/>
                    <a:moveTo>
                      <a:pt x="3988" y="1046"/>
                    </a:moveTo>
                    <a:cubicBezTo>
                      <a:pt x="3944" y="1046"/>
                      <a:pt x="3899" y="1091"/>
                      <a:pt x="3899" y="1136"/>
                    </a:cubicBezTo>
                    <a:cubicBezTo>
                      <a:pt x="3899" y="1196"/>
                      <a:pt x="3944" y="1241"/>
                      <a:pt x="3988" y="1241"/>
                    </a:cubicBezTo>
                    <a:cubicBezTo>
                      <a:pt x="4048" y="1241"/>
                      <a:pt x="4093" y="1196"/>
                      <a:pt x="4093" y="1136"/>
                    </a:cubicBezTo>
                    <a:cubicBezTo>
                      <a:pt x="4093" y="1091"/>
                      <a:pt x="4048" y="1046"/>
                      <a:pt x="3988" y="1046"/>
                    </a:cubicBezTo>
                    <a:close/>
                    <a:moveTo>
                      <a:pt x="15041" y="1554"/>
                    </a:moveTo>
                    <a:cubicBezTo>
                      <a:pt x="14951" y="1554"/>
                      <a:pt x="14877" y="1614"/>
                      <a:pt x="14877" y="1718"/>
                    </a:cubicBezTo>
                    <a:cubicBezTo>
                      <a:pt x="14877" y="1793"/>
                      <a:pt x="14951" y="1883"/>
                      <a:pt x="15041" y="1883"/>
                    </a:cubicBezTo>
                    <a:cubicBezTo>
                      <a:pt x="15116" y="1883"/>
                      <a:pt x="15205" y="1808"/>
                      <a:pt x="15205" y="1718"/>
                    </a:cubicBezTo>
                    <a:cubicBezTo>
                      <a:pt x="15205" y="1629"/>
                      <a:pt x="15116" y="1554"/>
                      <a:pt x="15041" y="1554"/>
                    </a:cubicBezTo>
                    <a:close/>
                    <a:moveTo>
                      <a:pt x="6005" y="2316"/>
                    </a:moveTo>
                    <a:cubicBezTo>
                      <a:pt x="5826" y="2316"/>
                      <a:pt x="5661" y="2406"/>
                      <a:pt x="5661" y="2525"/>
                    </a:cubicBezTo>
                    <a:cubicBezTo>
                      <a:pt x="5661" y="2644"/>
                      <a:pt x="5826" y="2734"/>
                      <a:pt x="6005" y="2734"/>
                    </a:cubicBezTo>
                    <a:cubicBezTo>
                      <a:pt x="6199" y="2734"/>
                      <a:pt x="6348" y="2644"/>
                      <a:pt x="6348" y="2525"/>
                    </a:cubicBezTo>
                    <a:cubicBezTo>
                      <a:pt x="6348" y="2406"/>
                      <a:pt x="6199" y="2316"/>
                      <a:pt x="6005" y="2316"/>
                    </a:cubicBezTo>
                    <a:close/>
                    <a:moveTo>
                      <a:pt x="18088" y="2615"/>
                    </a:moveTo>
                    <a:cubicBezTo>
                      <a:pt x="18028" y="2615"/>
                      <a:pt x="17968" y="2674"/>
                      <a:pt x="17968" y="2734"/>
                    </a:cubicBezTo>
                    <a:cubicBezTo>
                      <a:pt x="17968" y="2779"/>
                      <a:pt x="18028" y="2839"/>
                      <a:pt x="18088" y="2839"/>
                    </a:cubicBezTo>
                    <a:cubicBezTo>
                      <a:pt x="18148" y="2839"/>
                      <a:pt x="18192" y="2779"/>
                      <a:pt x="18192" y="2734"/>
                    </a:cubicBezTo>
                    <a:cubicBezTo>
                      <a:pt x="18192" y="2659"/>
                      <a:pt x="18148" y="2615"/>
                      <a:pt x="18088" y="2615"/>
                    </a:cubicBezTo>
                    <a:close/>
                    <a:moveTo>
                      <a:pt x="1972" y="2525"/>
                    </a:moveTo>
                    <a:cubicBezTo>
                      <a:pt x="1853" y="2525"/>
                      <a:pt x="1763" y="2615"/>
                      <a:pt x="1763" y="2749"/>
                    </a:cubicBezTo>
                    <a:cubicBezTo>
                      <a:pt x="1763" y="2869"/>
                      <a:pt x="1853" y="2958"/>
                      <a:pt x="1972" y="2958"/>
                    </a:cubicBezTo>
                    <a:cubicBezTo>
                      <a:pt x="2107" y="2958"/>
                      <a:pt x="2196" y="2869"/>
                      <a:pt x="2196" y="2749"/>
                    </a:cubicBezTo>
                    <a:cubicBezTo>
                      <a:pt x="2196" y="2615"/>
                      <a:pt x="2107" y="2525"/>
                      <a:pt x="1972" y="2525"/>
                    </a:cubicBezTo>
                    <a:close/>
                    <a:moveTo>
                      <a:pt x="9948" y="3063"/>
                    </a:moveTo>
                    <a:cubicBezTo>
                      <a:pt x="9903" y="3063"/>
                      <a:pt x="9858" y="3108"/>
                      <a:pt x="9858" y="3152"/>
                    </a:cubicBezTo>
                    <a:cubicBezTo>
                      <a:pt x="9858" y="3212"/>
                      <a:pt x="9903" y="3257"/>
                      <a:pt x="9948" y="3257"/>
                    </a:cubicBezTo>
                    <a:cubicBezTo>
                      <a:pt x="10008" y="3257"/>
                      <a:pt x="10052" y="3212"/>
                      <a:pt x="10052" y="3152"/>
                    </a:cubicBezTo>
                    <a:cubicBezTo>
                      <a:pt x="10052" y="3108"/>
                      <a:pt x="10008" y="3063"/>
                      <a:pt x="9948" y="3063"/>
                    </a:cubicBezTo>
                    <a:close/>
                    <a:moveTo>
                      <a:pt x="3899" y="3989"/>
                    </a:moveTo>
                    <a:cubicBezTo>
                      <a:pt x="3809" y="3989"/>
                      <a:pt x="3750" y="4063"/>
                      <a:pt x="3750" y="4138"/>
                    </a:cubicBezTo>
                    <a:cubicBezTo>
                      <a:pt x="3750" y="4228"/>
                      <a:pt x="3809" y="4302"/>
                      <a:pt x="3899" y="4302"/>
                    </a:cubicBezTo>
                    <a:cubicBezTo>
                      <a:pt x="3988" y="4302"/>
                      <a:pt x="4048" y="4228"/>
                      <a:pt x="4048" y="4138"/>
                    </a:cubicBezTo>
                    <a:cubicBezTo>
                      <a:pt x="4048" y="4063"/>
                      <a:pt x="3988" y="3989"/>
                      <a:pt x="3899" y="3989"/>
                    </a:cubicBezTo>
                    <a:close/>
                    <a:moveTo>
                      <a:pt x="21762" y="3959"/>
                    </a:moveTo>
                    <a:cubicBezTo>
                      <a:pt x="21613" y="3959"/>
                      <a:pt x="21508" y="4078"/>
                      <a:pt x="21508" y="4228"/>
                    </a:cubicBezTo>
                    <a:cubicBezTo>
                      <a:pt x="21508" y="4377"/>
                      <a:pt x="21613" y="4482"/>
                      <a:pt x="21762" y="4482"/>
                    </a:cubicBezTo>
                    <a:cubicBezTo>
                      <a:pt x="21911" y="4482"/>
                      <a:pt x="22016" y="4377"/>
                      <a:pt x="22016" y="4228"/>
                    </a:cubicBezTo>
                    <a:cubicBezTo>
                      <a:pt x="22016" y="4078"/>
                      <a:pt x="21911" y="3959"/>
                      <a:pt x="21762" y="3959"/>
                    </a:cubicBezTo>
                    <a:close/>
                    <a:moveTo>
                      <a:pt x="1629" y="4870"/>
                    </a:moveTo>
                    <a:cubicBezTo>
                      <a:pt x="1599" y="4870"/>
                      <a:pt x="1569" y="4900"/>
                      <a:pt x="1569" y="4945"/>
                    </a:cubicBezTo>
                    <a:cubicBezTo>
                      <a:pt x="1569" y="4974"/>
                      <a:pt x="1599" y="5004"/>
                      <a:pt x="1629" y="5004"/>
                    </a:cubicBezTo>
                    <a:cubicBezTo>
                      <a:pt x="1673" y="5004"/>
                      <a:pt x="1703" y="4974"/>
                      <a:pt x="1703" y="4945"/>
                    </a:cubicBezTo>
                    <a:cubicBezTo>
                      <a:pt x="1703" y="4900"/>
                      <a:pt x="1673" y="4870"/>
                      <a:pt x="1629" y="4870"/>
                    </a:cubicBezTo>
                    <a:close/>
                    <a:moveTo>
                      <a:pt x="6139" y="4870"/>
                    </a:moveTo>
                    <a:cubicBezTo>
                      <a:pt x="6050" y="4870"/>
                      <a:pt x="6005" y="4930"/>
                      <a:pt x="6005" y="5004"/>
                    </a:cubicBezTo>
                    <a:cubicBezTo>
                      <a:pt x="6005" y="5094"/>
                      <a:pt x="6065" y="5139"/>
                      <a:pt x="6139" y="5139"/>
                    </a:cubicBezTo>
                    <a:cubicBezTo>
                      <a:pt x="6214" y="5139"/>
                      <a:pt x="6274" y="5079"/>
                      <a:pt x="6274" y="5004"/>
                    </a:cubicBezTo>
                    <a:cubicBezTo>
                      <a:pt x="6274" y="4930"/>
                      <a:pt x="6214" y="4870"/>
                      <a:pt x="6139" y="4870"/>
                    </a:cubicBezTo>
                    <a:close/>
                    <a:moveTo>
                      <a:pt x="284" y="5542"/>
                    </a:moveTo>
                    <a:cubicBezTo>
                      <a:pt x="120" y="5542"/>
                      <a:pt x="1" y="5662"/>
                      <a:pt x="1" y="5826"/>
                    </a:cubicBezTo>
                    <a:cubicBezTo>
                      <a:pt x="1" y="5990"/>
                      <a:pt x="120" y="6125"/>
                      <a:pt x="284" y="6125"/>
                    </a:cubicBezTo>
                    <a:cubicBezTo>
                      <a:pt x="449" y="6125"/>
                      <a:pt x="583" y="5990"/>
                      <a:pt x="583" y="5826"/>
                    </a:cubicBezTo>
                    <a:cubicBezTo>
                      <a:pt x="583" y="5676"/>
                      <a:pt x="449" y="5542"/>
                      <a:pt x="284" y="5542"/>
                    </a:cubicBezTo>
                    <a:close/>
                    <a:moveTo>
                      <a:pt x="9634" y="5542"/>
                    </a:moveTo>
                    <a:cubicBezTo>
                      <a:pt x="9261" y="5542"/>
                      <a:pt x="8962" y="5841"/>
                      <a:pt x="8962" y="6214"/>
                    </a:cubicBezTo>
                    <a:cubicBezTo>
                      <a:pt x="8962" y="6588"/>
                      <a:pt x="9261" y="6886"/>
                      <a:pt x="9634" y="6886"/>
                    </a:cubicBezTo>
                    <a:cubicBezTo>
                      <a:pt x="10008" y="6886"/>
                      <a:pt x="10306" y="6588"/>
                      <a:pt x="10306" y="6214"/>
                    </a:cubicBezTo>
                    <a:cubicBezTo>
                      <a:pt x="10306" y="5841"/>
                      <a:pt x="10008" y="5542"/>
                      <a:pt x="9634" y="5542"/>
                    </a:cubicBezTo>
                    <a:close/>
                    <a:moveTo>
                      <a:pt x="23300" y="7543"/>
                    </a:moveTo>
                    <a:cubicBezTo>
                      <a:pt x="23226" y="7543"/>
                      <a:pt x="23181" y="7603"/>
                      <a:pt x="23181" y="7678"/>
                    </a:cubicBezTo>
                    <a:cubicBezTo>
                      <a:pt x="23181" y="7738"/>
                      <a:pt x="23226" y="7797"/>
                      <a:pt x="23300" y="7797"/>
                    </a:cubicBezTo>
                    <a:cubicBezTo>
                      <a:pt x="23360" y="7797"/>
                      <a:pt x="23420" y="7738"/>
                      <a:pt x="23420" y="7678"/>
                    </a:cubicBezTo>
                    <a:cubicBezTo>
                      <a:pt x="23420" y="7603"/>
                      <a:pt x="23360" y="7543"/>
                      <a:pt x="23300" y="7543"/>
                    </a:cubicBezTo>
                    <a:close/>
                    <a:moveTo>
                      <a:pt x="18655" y="7021"/>
                    </a:moveTo>
                    <a:cubicBezTo>
                      <a:pt x="18282" y="7021"/>
                      <a:pt x="17968" y="7304"/>
                      <a:pt x="17968" y="7648"/>
                    </a:cubicBezTo>
                    <a:cubicBezTo>
                      <a:pt x="17968" y="7992"/>
                      <a:pt x="18282" y="8260"/>
                      <a:pt x="18655" y="8260"/>
                    </a:cubicBezTo>
                    <a:cubicBezTo>
                      <a:pt x="19044" y="8260"/>
                      <a:pt x="19342" y="7992"/>
                      <a:pt x="19342" y="7648"/>
                    </a:cubicBezTo>
                    <a:cubicBezTo>
                      <a:pt x="19342" y="7304"/>
                      <a:pt x="19029" y="7021"/>
                      <a:pt x="18655" y="7021"/>
                    </a:cubicBezTo>
                    <a:close/>
                    <a:moveTo>
                      <a:pt x="22285" y="8260"/>
                    </a:moveTo>
                    <a:cubicBezTo>
                      <a:pt x="22195" y="8260"/>
                      <a:pt x="22135" y="8335"/>
                      <a:pt x="22135" y="8410"/>
                    </a:cubicBezTo>
                    <a:cubicBezTo>
                      <a:pt x="22135" y="8499"/>
                      <a:pt x="22195" y="8559"/>
                      <a:pt x="22285" y="8559"/>
                    </a:cubicBezTo>
                    <a:cubicBezTo>
                      <a:pt x="22360" y="8559"/>
                      <a:pt x="22434" y="8499"/>
                      <a:pt x="22434" y="8410"/>
                    </a:cubicBezTo>
                    <a:cubicBezTo>
                      <a:pt x="22434" y="8335"/>
                      <a:pt x="22360" y="8260"/>
                      <a:pt x="22285" y="8260"/>
                    </a:cubicBezTo>
                    <a:close/>
                    <a:moveTo>
                      <a:pt x="225" y="8783"/>
                    </a:moveTo>
                    <a:cubicBezTo>
                      <a:pt x="165" y="8783"/>
                      <a:pt x="120" y="8828"/>
                      <a:pt x="120" y="8873"/>
                    </a:cubicBezTo>
                    <a:cubicBezTo>
                      <a:pt x="120" y="8932"/>
                      <a:pt x="165" y="8977"/>
                      <a:pt x="225" y="8977"/>
                    </a:cubicBezTo>
                    <a:cubicBezTo>
                      <a:pt x="269" y="8977"/>
                      <a:pt x="314" y="8932"/>
                      <a:pt x="314" y="8873"/>
                    </a:cubicBezTo>
                    <a:cubicBezTo>
                      <a:pt x="314" y="8828"/>
                      <a:pt x="269" y="8783"/>
                      <a:pt x="225" y="8783"/>
                    </a:cubicBezTo>
                    <a:close/>
                    <a:moveTo>
                      <a:pt x="8290" y="8783"/>
                    </a:moveTo>
                    <a:cubicBezTo>
                      <a:pt x="8230" y="8783"/>
                      <a:pt x="8200" y="8828"/>
                      <a:pt x="8200" y="8873"/>
                    </a:cubicBezTo>
                    <a:cubicBezTo>
                      <a:pt x="8200" y="8932"/>
                      <a:pt x="8230" y="8977"/>
                      <a:pt x="8290" y="8977"/>
                    </a:cubicBezTo>
                    <a:cubicBezTo>
                      <a:pt x="8350" y="8977"/>
                      <a:pt x="8380" y="8932"/>
                      <a:pt x="8380" y="8873"/>
                    </a:cubicBezTo>
                    <a:cubicBezTo>
                      <a:pt x="8380" y="8828"/>
                      <a:pt x="8350" y="8783"/>
                      <a:pt x="8290" y="8783"/>
                    </a:cubicBezTo>
                    <a:close/>
                    <a:moveTo>
                      <a:pt x="15265" y="8260"/>
                    </a:moveTo>
                    <a:cubicBezTo>
                      <a:pt x="15041" y="8260"/>
                      <a:pt x="14877" y="8440"/>
                      <a:pt x="14877" y="8649"/>
                    </a:cubicBezTo>
                    <a:cubicBezTo>
                      <a:pt x="14877" y="8858"/>
                      <a:pt x="15041" y="9022"/>
                      <a:pt x="15265" y="9022"/>
                    </a:cubicBezTo>
                    <a:cubicBezTo>
                      <a:pt x="15474" y="9022"/>
                      <a:pt x="15638" y="8858"/>
                      <a:pt x="15638" y="8649"/>
                    </a:cubicBezTo>
                    <a:cubicBezTo>
                      <a:pt x="15638" y="8440"/>
                      <a:pt x="15474" y="8260"/>
                      <a:pt x="15265" y="8260"/>
                    </a:cubicBezTo>
                    <a:close/>
                    <a:moveTo>
                      <a:pt x="4915" y="9022"/>
                    </a:moveTo>
                    <a:cubicBezTo>
                      <a:pt x="4825" y="9022"/>
                      <a:pt x="4780" y="9097"/>
                      <a:pt x="4780" y="9171"/>
                    </a:cubicBezTo>
                    <a:cubicBezTo>
                      <a:pt x="4780" y="9246"/>
                      <a:pt x="4840" y="9306"/>
                      <a:pt x="4915" y="9306"/>
                    </a:cubicBezTo>
                    <a:cubicBezTo>
                      <a:pt x="4989" y="9306"/>
                      <a:pt x="5049" y="9231"/>
                      <a:pt x="5049" y="9171"/>
                    </a:cubicBezTo>
                    <a:cubicBezTo>
                      <a:pt x="5049" y="9097"/>
                      <a:pt x="4989" y="9037"/>
                      <a:pt x="4915" y="9022"/>
                    </a:cubicBezTo>
                    <a:close/>
                    <a:moveTo>
                      <a:pt x="4287" y="10710"/>
                    </a:moveTo>
                    <a:cubicBezTo>
                      <a:pt x="4242" y="10710"/>
                      <a:pt x="4198" y="10755"/>
                      <a:pt x="4198" y="10799"/>
                    </a:cubicBezTo>
                    <a:cubicBezTo>
                      <a:pt x="4198" y="10844"/>
                      <a:pt x="4242" y="10874"/>
                      <a:pt x="4287" y="10874"/>
                    </a:cubicBezTo>
                    <a:cubicBezTo>
                      <a:pt x="4317" y="10874"/>
                      <a:pt x="4362" y="10844"/>
                      <a:pt x="4362" y="10799"/>
                    </a:cubicBezTo>
                    <a:cubicBezTo>
                      <a:pt x="4362" y="10755"/>
                      <a:pt x="4332" y="10710"/>
                      <a:pt x="4287" y="10710"/>
                    </a:cubicBezTo>
                    <a:close/>
                    <a:moveTo>
                      <a:pt x="3525" y="11546"/>
                    </a:moveTo>
                    <a:cubicBezTo>
                      <a:pt x="3227" y="11546"/>
                      <a:pt x="2973" y="11785"/>
                      <a:pt x="2973" y="12084"/>
                    </a:cubicBezTo>
                    <a:cubicBezTo>
                      <a:pt x="2973" y="12398"/>
                      <a:pt x="3227" y="12637"/>
                      <a:pt x="3525" y="12637"/>
                    </a:cubicBezTo>
                    <a:cubicBezTo>
                      <a:pt x="3824" y="12637"/>
                      <a:pt x="4078" y="12398"/>
                      <a:pt x="4078" y="12084"/>
                    </a:cubicBezTo>
                    <a:cubicBezTo>
                      <a:pt x="4078" y="11785"/>
                      <a:pt x="3824" y="11546"/>
                      <a:pt x="3525" y="11546"/>
                    </a:cubicBezTo>
                    <a:close/>
                    <a:moveTo>
                      <a:pt x="17597" y="14143"/>
                    </a:moveTo>
                    <a:cubicBezTo>
                      <a:pt x="17591" y="14143"/>
                      <a:pt x="17586" y="14144"/>
                      <a:pt x="17580" y="14145"/>
                    </a:cubicBezTo>
                    <a:cubicBezTo>
                      <a:pt x="17490" y="14145"/>
                      <a:pt x="17416" y="14235"/>
                      <a:pt x="17416" y="14309"/>
                    </a:cubicBezTo>
                    <a:cubicBezTo>
                      <a:pt x="17416" y="14399"/>
                      <a:pt x="17476" y="14474"/>
                      <a:pt x="17580" y="14474"/>
                    </a:cubicBezTo>
                    <a:cubicBezTo>
                      <a:pt x="17655" y="14474"/>
                      <a:pt x="17744" y="14414"/>
                      <a:pt x="17744" y="14309"/>
                    </a:cubicBezTo>
                    <a:cubicBezTo>
                      <a:pt x="17744" y="14226"/>
                      <a:pt x="17668" y="14143"/>
                      <a:pt x="17597" y="14143"/>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6" name="Google Shape;986;p17"/>
              <p:cNvSpPr/>
              <p:nvPr/>
            </p:nvSpPr>
            <p:spPr>
              <a:xfrm>
                <a:off x="2942150" y="5312975"/>
                <a:ext cx="216575" cy="239375"/>
              </a:xfrm>
              <a:custGeom>
                <a:avLst/>
                <a:gdLst/>
                <a:ahLst/>
                <a:cxnLst/>
                <a:rect l="l" t="t" r="r" b="b"/>
                <a:pathLst>
                  <a:path w="8663" h="9575" extrusionOk="0">
                    <a:moveTo>
                      <a:pt x="7065" y="1"/>
                    </a:moveTo>
                    <a:cubicBezTo>
                      <a:pt x="5571" y="150"/>
                      <a:pt x="5198" y="3182"/>
                      <a:pt x="5153" y="3540"/>
                    </a:cubicBezTo>
                    <a:cubicBezTo>
                      <a:pt x="5182" y="3283"/>
                      <a:pt x="5265" y="1753"/>
                      <a:pt x="4329" y="1753"/>
                    </a:cubicBezTo>
                    <a:cubicBezTo>
                      <a:pt x="4287" y="1753"/>
                      <a:pt x="4243" y="1757"/>
                      <a:pt x="4197" y="1763"/>
                    </a:cubicBezTo>
                    <a:cubicBezTo>
                      <a:pt x="3017" y="1927"/>
                      <a:pt x="4048" y="4885"/>
                      <a:pt x="4048" y="4885"/>
                    </a:cubicBezTo>
                    <a:cubicBezTo>
                      <a:pt x="4048" y="4885"/>
                      <a:pt x="3264" y="3545"/>
                      <a:pt x="2374" y="3545"/>
                    </a:cubicBezTo>
                    <a:cubicBezTo>
                      <a:pt x="2193" y="3545"/>
                      <a:pt x="2007" y="3600"/>
                      <a:pt x="1822" y="3734"/>
                    </a:cubicBezTo>
                    <a:cubicBezTo>
                      <a:pt x="0" y="5064"/>
                      <a:pt x="2061" y="8887"/>
                      <a:pt x="2300" y="9306"/>
                    </a:cubicBezTo>
                    <a:cubicBezTo>
                      <a:pt x="2315" y="9335"/>
                      <a:pt x="2330" y="9350"/>
                      <a:pt x="2330" y="9350"/>
                    </a:cubicBezTo>
                    <a:cubicBezTo>
                      <a:pt x="2823" y="9507"/>
                      <a:pt x="3335" y="9575"/>
                      <a:pt x="3835" y="9575"/>
                    </a:cubicBezTo>
                    <a:cubicBezTo>
                      <a:pt x="5714" y="9575"/>
                      <a:pt x="7435" y="8627"/>
                      <a:pt x="7423" y="7931"/>
                    </a:cubicBezTo>
                    <a:cubicBezTo>
                      <a:pt x="7409" y="7121"/>
                      <a:pt x="6650" y="7095"/>
                      <a:pt x="6552" y="7095"/>
                    </a:cubicBezTo>
                    <a:cubicBezTo>
                      <a:pt x="6546" y="7095"/>
                      <a:pt x="6542" y="7095"/>
                      <a:pt x="6542" y="7095"/>
                    </a:cubicBezTo>
                    <a:cubicBezTo>
                      <a:pt x="6542" y="7095"/>
                      <a:pt x="8663" y="6378"/>
                      <a:pt x="8140" y="5258"/>
                    </a:cubicBezTo>
                    <a:cubicBezTo>
                      <a:pt x="7891" y="4738"/>
                      <a:pt x="7553" y="4599"/>
                      <a:pt x="7263" y="4599"/>
                    </a:cubicBezTo>
                    <a:cubicBezTo>
                      <a:pt x="7011" y="4599"/>
                      <a:pt x="6796" y="4705"/>
                      <a:pt x="6710" y="4757"/>
                    </a:cubicBezTo>
                    <a:lnTo>
                      <a:pt x="6710" y="4757"/>
                    </a:lnTo>
                    <a:cubicBezTo>
                      <a:pt x="6961" y="4578"/>
                      <a:pt x="8303" y="3492"/>
                      <a:pt x="8050" y="2973"/>
                    </a:cubicBezTo>
                    <a:cubicBezTo>
                      <a:pt x="7944" y="2748"/>
                      <a:pt x="7742" y="2680"/>
                      <a:pt x="7536" y="2680"/>
                    </a:cubicBezTo>
                    <a:cubicBezTo>
                      <a:pt x="7222" y="2680"/>
                      <a:pt x="6900" y="2838"/>
                      <a:pt x="6900" y="2838"/>
                    </a:cubicBezTo>
                    <a:cubicBezTo>
                      <a:pt x="6900" y="2838"/>
                      <a:pt x="8319" y="404"/>
                      <a:pt x="7438" y="45"/>
                    </a:cubicBezTo>
                    <a:cubicBezTo>
                      <a:pt x="7334" y="1"/>
                      <a:pt x="7214" y="1"/>
                      <a:pt x="706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7" name="Google Shape;987;p17"/>
              <p:cNvSpPr/>
              <p:nvPr/>
            </p:nvSpPr>
            <p:spPr>
              <a:xfrm>
                <a:off x="2942150" y="5312975"/>
                <a:ext cx="185225" cy="232650"/>
              </a:xfrm>
              <a:custGeom>
                <a:avLst/>
                <a:gdLst/>
                <a:ahLst/>
                <a:cxnLst/>
                <a:rect l="l" t="t" r="r" b="b"/>
                <a:pathLst>
                  <a:path w="7409" h="9306" extrusionOk="0">
                    <a:moveTo>
                      <a:pt x="7035" y="1"/>
                    </a:moveTo>
                    <a:cubicBezTo>
                      <a:pt x="5541" y="150"/>
                      <a:pt x="5168" y="3182"/>
                      <a:pt x="5123" y="3540"/>
                    </a:cubicBezTo>
                    <a:cubicBezTo>
                      <a:pt x="5152" y="3283"/>
                      <a:pt x="5249" y="1753"/>
                      <a:pt x="4301" y="1753"/>
                    </a:cubicBezTo>
                    <a:cubicBezTo>
                      <a:pt x="4259" y="1753"/>
                      <a:pt x="4214" y="1757"/>
                      <a:pt x="4167" y="1763"/>
                    </a:cubicBezTo>
                    <a:cubicBezTo>
                      <a:pt x="2987" y="1927"/>
                      <a:pt x="4018" y="4885"/>
                      <a:pt x="4018" y="4885"/>
                    </a:cubicBezTo>
                    <a:cubicBezTo>
                      <a:pt x="4018" y="4885"/>
                      <a:pt x="3235" y="3545"/>
                      <a:pt x="2344" y="3545"/>
                    </a:cubicBezTo>
                    <a:cubicBezTo>
                      <a:pt x="2163" y="3545"/>
                      <a:pt x="1977" y="3600"/>
                      <a:pt x="1792" y="3734"/>
                    </a:cubicBezTo>
                    <a:cubicBezTo>
                      <a:pt x="0" y="5064"/>
                      <a:pt x="2061" y="8887"/>
                      <a:pt x="2300" y="9306"/>
                    </a:cubicBezTo>
                    <a:lnTo>
                      <a:pt x="2554" y="9052"/>
                    </a:lnTo>
                    <a:cubicBezTo>
                      <a:pt x="2554" y="9052"/>
                      <a:pt x="6019" y="4377"/>
                      <a:pt x="7408" y="45"/>
                    </a:cubicBezTo>
                    <a:cubicBezTo>
                      <a:pt x="7304" y="1"/>
                      <a:pt x="7184" y="1"/>
                      <a:pt x="703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8" name="Google Shape;988;p17"/>
              <p:cNvSpPr/>
              <p:nvPr/>
            </p:nvSpPr>
            <p:spPr>
              <a:xfrm>
                <a:off x="2775225" y="5366225"/>
                <a:ext cx="236400" cy="203525"/>
              </a:xfrm>
              <a:custGeom>
                <a:avLst/>
                <a:gdLst/>
                <a:ahLst/>
                <a:cxnLst/>
                <a:rect l="l" t="t" r="r" b="b"/>
                <a:pathLst>
                  <a:path w="9456" h="8141" extrusionOk="0">
                    <a:moveTo>
                      <a:pt x="1364" y="1"/>
                    </a:moveTo>
                    <a:cubicBezTo>
                      <a:pt x="1253" y="1"/>
                      <a:pt x="1142" y="17"/>
                      <a:pt x="1031" y="51"/>
                    </a:cubicBezTo>
                    <a:cubicBezTo>
                      <a:pt x="882" y="96"/>
                      <a:pt x="777" y="156"/>
                      <a:pt x="703" y="230"/>
                    </a:cubicBezTo>
                    <a:cubicBezTo>
                      <a:pt x="1" y="888"/>
                      <a:pt x="2241" y="2605"/>
                      <a:pt x="2241" y="2605"/>
                    </a:cubicBezTo>
                    <a:cubicBezTo>
                      <a:pt x="2241" y="2605"/>
                      <a:pt x="2217" y="2604"/>
                      <a:pt x="2175" y="2604"/>
                    </a:cubicBezTo>
                    <a:cubicBezTo>
                      <a:pt x="1958" y="2604"/>
                      <a:pt x="1276" y="2646"/>
                      <a:pt x="1226" y="3173"/>
                    </a:cubicBezTo>
                    <a:cubicBezTo>
                      <a:pt x="1166" y="3770"/>
                      <a:pt x="3063" y="4293"/>
                      <a:pt x="3182" y="4323"/>
                    </a:cubicBezTo>
                    <a:cubicBezTo>
                      <a:pt x="3160" y="4319"/>
                      <a:pt x="3084" y="4307"/>
                      <a:pt x="2980" y="4307"/>
                    </a:cubicBezTo>
                    <a:cubicBezTo>
                      <a:pt x="2651" y="4307"/>
                      <a:pt x="2048" y="4428"/>
                      <a:pt x="2002" y="5324"/>
                    </a:cubicBezTo>
                    <a:cubicBezTo>
                      <a:pt x="1940" y="6363"/>
                      <a:pt x="3504" y="6447"/>
                      <a:pt x="4012" y="6447"/>
                    </a:cubicBezTo>
                    <a:cubicBezTo>
                      <a:pt x="4109" y="6447"/>
                      <a:pt x="4168" y="6444"/>
                      <a:pt x="4168" y="6444"/>
                    </a:cubicBezTo>
                    <a:lnTo>
                      <a:pt x="4168" y="6444"/>
                    </a:lnTo>
                    <a:cubicBezTo>
                      <a:pt x="4168" y="6444"/>
                      <a:pt x="3346" y="6713"/>
                      <a:pt x="3660" y="7534"/>
                    </a:cubicBezTo>
                    <a:cubicBezTo>
                      <a:pt x="3802" y="7907"/>
                      <a:pt x="4500" y="8141"/>
                      <a:pt x="5399" y="8141"/>
                    </a:cubicBezTo>
                    <a:cubicBezTo>
                      <a:pt x="6483" y="8141"/>
                      <a:pt x="7858" y="7800"/>
                      <a:pt x="8903" y="6952"/>
                    </a:cubicBezTo>
                    <a:lnTo>
                      <a:pt x="8903" y="6907"/>
                    </a:lnTo>
                    <a:cubicBezTo>
                      <a:pt x="8962" y="6444"/>
                      <a:pt x="9455" y="2112"/>
                      <a:pt x="7289" y="1545"/>
                    </a:cubicBezTo>
                    <a:cubicBezTo>
                      <a:pt x="7195" y="1520"/>
                      <a:pt x="7106" y="1509"/>
                      <a:pt x="7022" y="1509"/>
                    </a:cubicBezTo>
                    <a:cubicBezTo>
                      <a:pt x="5930" y="1509"/>
                      <a:pt x="5647" y="3427"/>
                      <a:pt x="5647" y="3427"/>
                    </a:cubicBezTo>
                    <a:cubicBezTo>
                      <a:pt x="5647" y="3427"/>
                      <a:pt x="5524" y="571"/>
                      <a:pt x="4493" y="571"/>
                    </a:cubicBezTo>
                    <a:cubicBezTo>
                      <a:pt x="4446" y="571"/>
                      <a:pt x="4398" y="577"/>
                      <a:pt x="4347" y="589"/>
                    </a:cubicBezTo>
                    <a:cubicBezTo>
                      <a:pt x="3272" y="873"/>
                      <a:pt x="3989" y="2366"/>
                      <a:pt x="4108" y="2590"/>
                    </a:cubicBezTo>
                    <a:cubicBezTo>
                      <a:pt x="3956" y="2314"/>
                      <a:pt x="2697" y="1"/>
                      <a:pt x="1364"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9" name="Google Shape;989;p17"/>
              <p:cNvSpPr/>
              <p:nvPr/>
            </p:nvSpPr>
            <p:spPr>
              <a:xfrm>
                <a:off x="2792775" y="5366225"/>
                <a:ext cx="218850" cy="172675"/>
              </a:xfrm>
              <a:custGeom>
                <a:avLst/>
                <a:gdLst/>
                <a:ahLst/>
                <a:cxnLst/>
                <a:rect l="l" t="t" r="r" b="b"/>
                <a:pathLst>
                  <a:path w="8754" h="6907" extrusionOk="0">
                    <a:moveTo>
                      <a:pt x="662" y="1"/>
                    </a:moveTo>
                    <a:cubicBezTo>
                      <a:pt x="551" y="1"/>
                      <a:pt x="440" y="17"/>
                      <a:pt x="329" y="51"/>
                    </a:cubicBezTo>
                    <a:cubicBezTo>
                      <a:pt x="180" y="96"/>
                      <a:pt x="75" y="156"/>
                      <a:pt x="1" y="230"/>
                    </a:cubicBezTo>
                    <a:cubicBezTo>
                      <a:pt x="2898" y="3710"/>
                      <a:pt x="7872" y="6757"/>
                      <a:pt x="7872" y="6757"/>
                    </a:cubicBezTo>
                    <a:lnTo>
                      <a:pt x="8201" y="6907"/>
                    </a:lnTo>
                    <a:cubicBezTo>
                      <a:pt x="8260" y="6444"/>
                      <a:pt x="8753" y="2112"/>
                      <a:pt x="6587" y="1545"/>
                    </a:cubicBezTo>
                    <a:cubicBezTo>
                      <a:pt x="6493" y="1520"/>
                      <a:pt x="6404" y="1509"/>
                      <a:pt x="6320" y="1509"/>
                    </a:cubicBezTo>
                    <a:cubicBezTo>
                      <a:pt x="5228" y="1509"/>
                      <a:pt x="4945" y="3427"/>
                      <a:pt x="4945" y="3427"/>
                    </a:cubicBezTo>
                    <a:cubicBezTo>
                      <a:pt x="4945" y="3427"/>
                      <a:pt x="4822" y="571"/>
                      <a:pt x="3791" y="571"/>
                    </a:cubicBezTo>
                    <a:cubicBezTo>
                      <a:pt x="3744" y="571"/>
                      <a:pt x="3696" y="577"/>
                      <a:pt x="3645" y="589"/>
                    </a:cubicBezTo>
                    <a:cubicBezTo>
                      <a:pt x="2570" y="873"/>
                      <a:pt x="3287" y="2366"/>
                      <a:pt x="3406" y="2590"/>
                    </a:cubicBezTo>
                    <a:cubicBezTo>
                      <a:pt x="3254" y="2314"/>
                      <a:pt x="1995" y="1"/>
                      <a:pt x="662"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0" name="Google Shape;990;p17"/>
              <p:cNvSpPr/>
              <p:nvPr/>
            </p:nvSpPr>
            <p:spPr>
              <a:xfrm>
                <a:off x="2808850" y="5333500"/>
                <a:ext cx="309175" cy="212875"/>
              </a:xfrm>
              <a:custGeom>
                <a:avLst/>
                <a:gdLst/>
                <a:ahLst/>
                <a:cxnLst/>
                <a:rect l="l" t="t" r="r" b="b"/>
                <a:pathLst>
                  <a:path w="12367" h="8515" fill="none" extrusionOk="0">
                    <a:moveTo>
                      <a:pt x="0" y="2107"/>
                    </a:moveTo>
                    <a:cubicBezTo>
                      <a:pt x="0" y="2107"/>
                      <a:pt x="2509" y="5393"/>
                      <a:pt x="7558" y="8261"/>
                    </a:cubicBezTo>
                    <a:moveTo>
                      <a:pt x="12367" y="1"/>
                    </a:moveTo>
                    <a:cubicBezTo>
                      <a:pt x="12367" y="1"/>
                      <a:pt x="11262" y="3974"/>
                      <a:pt x="7662" y="8514"/>
                    </a:cubicBezTo>
                  </a:path>
                </a:pathLst>
              </a:custGeom>
              <a:noFill/>
              <a:ln w="9525" cap="rnd" cmpd="sng">
                <a:solidFill>
                  <a:srgbClr val="662E0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1" name="Google Shape;991;p17"/>
            <p:cNvGrpSpPr/>
            <p:nvPr/>
          </p:nvGrpSpPr>
          <p:grpSpPr>
            <a:xfrm flipH="1">
              <a:off x="2290599" y="4200935"/>
              <a:ext cx="914395" cy="806338"/>
              <a:chOff x="6800425" y="5795650"/>
              <a:chExt cx="248700" cy="217500"/>
            </a:xfrm>
          </p:grpSpPr>
          <p:sp>
            <p:nvSpPr>
              <p:cNvPr id="992" name="Google Shape;992;p17"/>
              <p:cNvSpPr/>
              <p:nvPr/>
            </p:nvSpPr>
            <p:spPr>
              <a:xfrm>
                <a:off x="7000575" y="5798900"/>
                <a:ext cx="48550" cy="35775"/>
              </a:xfrm>
              <a:custGeom>
                <a:avLst/>
                <a:gdLst/>
                <a:ahLst/>
                <a:cxnLst/>
                <a:rect l="l" t="t" r="r" b="b"/>
                <a:pathLst>
                  <a:path w="1942" h="1431" extrusionOk="0">
                    <a:moveTo>
                      <a:pt x="1594" y="0"/>
                    </a:moveTo>
                    <a:cubicBezTo>
                      <a:pt x="1576" y="0"/>
                      <a:pt x="1557" y="4"/>
                      <a:pt x="1539" y="10"/>
                    </a:cubicBezTo>
                    <a:cubicBezTo>
                      <a:pt x="657" y="383"/>
                      <a:pt x="0" y="1369"/>
                      <a:pt x="0" y="1369"/>
                    </a:cubicBezTo>
                    <a:lnTo>
                      <a:pt x="45" y="1399"/>
                    </a:lnTo>
                    <a:cubicBezTo>
                      <a:pt x="66" y="1420"/>
                      <a:pt x="96" y="1431"/>
                      <a:pt x="129" y="1431"/>
                    </a:cubicBezTo>
                    <a:cubicBezTo>
                      <a:pt x="167" y="1431"/>
                      <a:pt x="207" y="1416"/>
                      <a:pt x="239" y="1384"/>
                    </a:cubicBezTo>
                    <a:cubicBezTo>
                      <a:pt x="807" y="891"/>
                      <a:pt x="1554" y="607"/>
                      <a:pt x="1822" y="503"/>
                    </a:cubicBezTo>
                    <a:cubicBezTo>
                      <a:pt x="1897" y="473"/>
                      <a:pt x="1942" y="413"/>
                      <a:pt x="1927" y="324"/>
                    </a:cubicBezTo>
                    <a:cubicBezTo>
                      <a:pt x="1882" y="174"/>
                      <a:pt x="1763" y="85"/>
                      <a:pt x="1673" y="25"/>
                    </a:cubicBezTo>
                    <a:cubicBezTo>
                      <a:pt x="1647" y="7"/>
                      <a:pt x="1621" y="0"/>
                      <a:pt x="1594"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3" name="Google Shape;993;p17"/>
              <p:cNvSpPr/>
              <p:nvPr/>
            </p:nvSpPr>
            <p:spPr>
              <a:xfrm>
                <a:off x="6873250" y="5795650"/>
                <a:ext cx="162075" cy="172400"/>
              </a:xfrm>
              <a:custGeom>
                <a:avLst/>
                <a:gdLst/>
                <a:ahLst/>
                <a:cxnLst/>
                <a:rect l="l" t="t" r="r" b="b"/>
                <a:pathLst>
                  <a:path w="6483" h="6896" extrusionOk="0">
                    <a:moveTo>
                      <a:pt x="2280" y="0"/>
                    </a:moveTo>
                    <a:cubicBezTo>
                      <a:pt x="2218" y="0"/>
                      <a:pt x="2155" y="2"/>
                      <a:pt x="2091" y="6"/>
                    </a:cubicBezTo>
                    <a:lnTo>
                      <a:pt x="1987" y="6"/>
                    </a:lnTo>
                    <a:cubicBezTo>
                      <a:pt x="1628" y="35"/>
                      <a:pt x="1240" y="110"/>
                      <a:pt x="837" y="259"/>
                    </a:cubicBezTo>
                    <a:cubicBezTo>
                      <a:pt x="837" y="259"/>
                      <a:pt x="329" y="439"/>
                      <a:pt x="120" y="812"/>
                    </a:cubicBezTo>
                    <a:cubicBezTo>
                      <a:pt x="75" y="872"/>
                      <a:pt x="45" y="947"/>
                      <a:pt x="30" y="1021"/>
                    </a:cubicBezTo>
                    <a:cubicBezTo>
                      <a:pt x="15" y="1036"/>
                      <a:pt x="15" y="1066"/>
                      <a:pt x="15" y="1096"/>
                    </a:cubicBezTo>
                    <a:cubicBezTo>
                      <a:pt x="0" y="1275"/>
                      <a:pt x="60" y="1454"/>
                      <a:pt x="224" y="1678"/>
                    </a:cubicBezTo>
                    <a:cubicBezTo>
                      <a:pt x="299" y="1783"/>
                      <a:pt x="374" y="1858"/>
                      <a:pt x="433" y="1947"/>
                    </a:cubicBezTo>
                    <a:cubicBezTo>
                      <a:pt x="478" y="2007"/>
                      <a:pt x="538" y="2082"/>
                      <a:pt x="583" y="2126"/>
                    </a:cubicBezTo>
                    <a:lnTo>
                      <a:pt x="941" y="2604"/>
                    </a:lnTo>
                    <a:lnTo>
                      <a:pt x="1882" y="3799"/>
                    </a:lnTo>
                    <a:lnTo>
                      <a:pt x="1927" y="3844"/>
                    </a:lnTo>
                    <a:lnTo>
                      <a:pt x="2226" y="4232"/>
                    </a:lnTo>
                    <a:lnTo>
                      <a:pt x="2479" y="4501"/>
                    </a:lnTo>
                    <a:lnTo>
                      <a:pt x="2569" y="4606"/>
                    </a:lnTo>
                    <a:lnTo>
                      <a:pt x="3644" y="5756"/>
                    </a:lnTo>
                    <a:lnTo>
                      <a:pt x="3958" y="6070"/>
                    </a:lnTo>
                    <a:cubicBezTo>
                      <a:pt x="4003" y="6099"/>
                      <a:pt x="4018" y="6144"/>
                      <a:pt x="4063" y="6174"/>
                    </a:cubicBezTo>
                    <a:cubicBezTo>
                      <a:pt x="4182" y="6294"/>
                      <a:pt x="4302" y="6428"/>
                      <a:pt x="4466" y="6592"/>
                    </a:cubicBezTo>
                    <a:cubicBezTo>
                      <a:pt x="4511" y="6652"/>
                      <a:pt x="4570" y="6682"/>
                      <a:pt x="4615" y="6727"/>
                    </a:cubicBezTo>
                    <a:cubicBezTo>
                      <a:pt x="4630" y="6742"/>
                      <a:pt x="4660" y="6757"/>
                      <a:pt x="4675" y="6772"/>
                    </a:cubicBezTo>
                    <a:cubicBezTo>
                      <a:pt x="4798" y="6859"/>
                      <a:pt x="4925" y="6895"/>
                      <a:pt x="5049" y="6895"/>
                    </a:cubicBezTo>
                    <a:cubicBezTo>
                      <a:pt x="5136" y="6895"/>
                      <a:pt x="5222" y="6877"/>
                      <a:pt x="5302" y="6846"/>
                    </a:cubicBezTo>
                    <a:cubicBezTo>
                      <a:pt x="5467" y="6772"/>
                      <a:pt x="5616" y="6637"/>
                      <a:pt x="5721" y="6503"/>
                    </a:cubicBezTo>
                    <a:cubicBezTo>
                      <a:pt x="5750" y="6503"/>
                      <a:pt x="5765" y="6473"/>
                      <a:pt x="5780" y="6458"/>
                    </a:cubicBezTo>
                    <a:cubicBezTo>
                      <a:pt x="5885" y="6323"/>
                      <a:pt x="5960" y="6204"/>
                      <a:pt x="5960" y="6204"/>
                    </a:cubicBezTo>
                    <a:cubicBezTo>
                      <a:pt x="6198" y="5786"/>
                      <a:pt x="6348" y="5353"/>
                      <a:pt x="6408" y="4964"/>
                    </a:cubicBezTo>
                    <a:cubicBezTo>
                      <a:pt x="6408" y="4919"/>
                      <a:pt x="6423" y="4890"/>
                      <a:pt x="6423" y="4845"/>
                    </a:cubicBezTo>
                    <a:cubicBezTo>
                      <a:pt x="6467" y="4576"/>
                      <a:pt x="6482" y="4307"/>
                      <a:pt x="6467" y="4068"/>
                    </a:cubicBezTo>
                    <a:lnTo>
                      <a:pt x="6467" y="3993"/>
                    </a:lnTo>
                    <a:cubicBezTo>
                      <a:pt x="6437" y="3695"/>
                      <a:pt x="6378" y="3426"/>
                      <a:pt x="6318" y="3172"/>
                    </a:cubicBezTo>
                    <a:cubicBezTo>
                      <a:pt x="6318" y="3142"/>
                      <a:pt x="6318" y="3127"/>
                      <a:pt x="6303" y="3112"/>
                    </a:cubicBezTo>
                    <a:cubicBezTo>
                      <a:pt x="6124" y="2530"/>
                      <a:pt x="5855" y="2067"/>
                      <a:pt x="5676" y="1783"/>
                    </a:cubicBezTo>
                    <a:cubicBezTo>
                      <a:pt x="5661" y="1783"/>
                      <a:pt x="5646" y="1753"/>
                      <a:pt x="5631" y="1738"/>
                    </a:cubicBezTo>
                    <a:cubicBezTo>
                      <a:pt x="5526" y="1574"/>
                      <a:pt x="5437" y="1484"/>
                      <a:pt x="5437" y="1484"/>
                    </a:cubicBezTo>
                    <a:cubicBezTo>
                      <a:pt x="5437" y="1484"/>
                      <a:pt x="4780" y="693"/>
                      <a:pt x="3659" y="259"/>
                    </a:cubicBezTo>
                    <a:cubicBezTo>
                      <a:pt x="3630" y="259"/>
                      <a:pt x="3600" y="245"/>
                      <a:pt x="3555" y="230"/>
                    </a:cubicBezTo>
                    <a:cubicBezTo>
                      <a:pt x="3185" y="98"/>
                      <a:pt x="2757" y="0"/>
                      <a:pt x="2280"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p17"/>
              <p:cNvSpPr/>
              <p:nvPr/>
            </p:nvSpPr>
            <p:spPr>
              <a:xfrm>
                <a:off x="6873625" y="5796150"/>
                <a:ext cx="160950" cy="168800"/>
              </a:xfrm>
              <a:custGeom>
                <a:avLst/>
                <a:gdLst/>
                <a:ahLst/>
                <a:cxnLst/>
                <a:rect l="l" t="t" r="r" b="b"/>
                <a:pathLst>
                  <a:path w="6438" h="6752" extrusionOk="0">
                    <a:moveTo>
                      <a:pt x="1957" y="1"/>
                    </a:moveTo>
                    <a:cubicBezTo>
                      <a:pt x="1449" y="583"/>
                      <a:pt x="702" y="867"/>
                      <a:pt x="15" y="1016"/>
                    </a:cubicBezTo>
                    <a:cubicBezTo>
                      <a:pt x="0" y="1031"/>
                      <a:pt x="0" y="1061"/>
                      <a:pt x="0" y="1091"/>
                    </a:cubicBezTo>
                    <a:cubicBezTo>
                      <a:pt x="732" y="927"/>
                      <a:pt x="1509" y="613"/>
                      <a:pt x="2061" y="1"/>
                    </a:cubicBezTo>
                    <a:close/>
                    <a:moveTo>
                      <a:pt x="3525" y="210"/>
                    </a:moveTo>
                    <a:cubicBezTo>
                      <a:pt x="3196" y="299"/>
                      <a:pt x="2868" y="389"/>
                      <a:pt x="2584" y="449"/>
                    </a:cubicBezTo>
                    <a:cubicBezTo>
                      <a:pt x="1613" y="688"/>
                      <a:pt x="822" y="882"/>
                      <a:pt x="463" y="1733"/>
                    </a:cubicBezTo>
                    <a:cubicBezTo>
                      <a:pt x="433" y="1808"/>
                      <a:pt x="418" y="1882"/>
                      <a:pt x="403" y="1927"/>
                    </a:cubicBezTo>
                    <a:cubicBezTo>
                      <a:pt x="403" y="2002"/>
                      <a:pt x="418" y="2062"/>
                      <a:pt x="448" y="2092"/>
                    </a:cubicBezTo>
                    <a:cubicBezTo>
                      <a:pt x="463" y="2106"/>
                      <a:pt x="508" y="2121"/>
                      <a:pt x="553" y="2121"/>
                    </a:cubicBezTo>
                    <a:cubicBezTo>
                      <a:pt x="702" y="2121"/>
                      <a:pt x="956" y="2017"/>
                      <a:pt x="1314" y="1853"/>
                    </a:cubicBezTo>
                    <a:cubicBezTo>
                      <a:pt x="1848" y="1620"/>
                      <a:pt x="2538" y="1305"/>
                      <a:pt x="3133" y="1305"/>
                    </a:cubicBezTo>
                    <a:cubicBezTo>
                      <a:pt x="3454" y="1305"/>
                      <a:pt x="3748" y="1397"/>
                      <a:pt x="3973" y="1643"/>
                    </a:cubicBezTo>
                    <a:cubicBezTo>
                      <a:pt x="4242" y="1957"/>
                      <a:pt x="4346" y="2241"/>
                      <a:pt x="4287" y="2465"/>
                    </a:cubicBezTo>
                    <a:cubicBezTo>
                      <a:pt x="4152" y="2958"/>
                      <a:pt x="3301" y="3257"/>
                      <a:pt x="2539" y="3510"/>
                    </a:cubicBezTo>
                    <a:cubicBezTo>
                      <a:pt x="2360" y="3585"/>
                      <a:pt x="2196" y="3630"/>
                      <a:pt x="2046" y="3690"/>
                    </a:cubicBezTo>
                    <a:cubicBezTo>
                      <a:pt x="1957" y="3720"/>
                      <a:pt x="1912" y="3749"/>
                      <a:pt x="1867" y="3779"/>
                    </a:cubicBezTo>
                    <a:lnTo>
                      <a:pt x="1912" y="3839"/>
                    </a:lnTo>
                    <a:cubicBezTo>
                      <a:pt x="1957" y="3794"/>
                      <a:pt x="2016" y="3779"/>
                      <a:pt x="2076" y="3749"/>
                    </a:cubicBezTo>
                    <a:cubicBezTo>
                      <a:pt x="2226" y="3675"/>
                      <a:pt x="2390" y="3615"/>
                      <a:pt x="2569" y="3570"/>
                    </a:cubicBezTo>
                    <a:cubicBezTo>
                      <a:pt x="3331" y="3301"/>
                      <a:pt x="4212" y="3003"/>
                      <a:pt x="4346" y="2465"/>
                    </a:cubicBezTo>
                    <a:cubicBezTo>
                      <a:pt x="4421" y="2211"/>
                      <a:pt x="4317" y="1912"/>
                      <a:pt x="4018" y="1599"/>
                    </a:cubicBezTo>
                    <a:cubicBezTo>
                      <a:pt x="3783" y="1337"/>
                      <a:pt x="3475" y="1239"/>
                      <a:pt x="3138" y="1239"/>
                    </a:cubicBezTo>
                    <a:cubicBezTo>
                      <a:pt x="2534" y="1239"/>
                      <a:pt x="1837" y="1553"/>
                      <a:pt x="1299" y="1793"/>
                    </a:cubicBezTo>
                    <a:cubicBezTo>
                      <a:pt x="1002" y="1929"/>
                      <a:pt x="705" y="2065"/>
                      <a:pt x="561" y="2065"/>
                    </a:cubicBezTo>
                    <a:cubicBezTo>
                      <a:pt x="531" y="2065"/>
                      <a:pt x="508" y="2059"/>
                      <a:pt x="493" y="2047"/>
                    </a:cubicBezTo>
                    <a:cubicBezTo>
                      <a:pt x="463" y="2017"/>
                      <a:pt x="448" y="1942"/>
                      <a:pt x="538" y="1763"/>
                    </a:cubicBezTo>
                    <a:cubicBezTo>
                      <a:pt x="881" y="927"/>
                      <a:pt x="1643" y="747"/>
                      <a:pt x="2614" y="523"/>
                    </a:cubicBezTo>
                    <a:cubicBezTo>
                      <a:pt x="2927" y="434"/>
                      <a:pt x="3271" y="359"/>
                      <a:pt x="3644" y="239"/>
                    </a:cubicBezTo>
                    <a:cubicBezTo>
                      <a:pt x="3600" y="239"/>
                      <a:pt x="3570" y="225"/>
                      <a:pt x="3525" y="210"/>
                    </a:cubicBezTo>
                    <a:close/>
                    <a:moveTo>
                      <a:pt x="5616" y="1688"/>
                    </a:moveTo>
                    <a:cubicBezTo>
                      <a:pt x="5317" y="1972"/>
                      <a:pt x="4974" y="2450"/>
                      <a:pt x="4645" y="3271"/>
                    </a:cubicBezTo>
                    <a:cubicBezTo>
                      <a:pt x="4506" y="3591"/>
                      <a:pt x="4031" y="4558"/>
                      <a:pt x="2966" y="4558"/>
                    </a:cubicBezTo>
                    <a:cubicBezTo>
                      <a:pt x="2887" y="4558"/>
                      <a:pt x="2804" y="4552"/>
                      <a:pt x="2718" y="4541"/>
                    </a:cubicBezTo>
                    <a:cubicBezTo>
                      <a:pt x="2644" y="4526"/>
                      <a:pt x="2554" y="4511"/>
                      <a:pt x="2479" y="4481"/>
                    </a:cubicBezTo>
                    <a:lnTo>
                      <a:pt x="2479" y="4481"/>
                    </a:lnTo>
                    <a:lnTo>
                      <a:pt x="2569" y="4586"/>
                    </a:lnTo>
                    <a:cubicBezTo>
                      <a:pt x="2614" y="4601"/>
                      <a:pt x="2644" y="4601"/>
                      <a:pt x="2703" y="4616"/>
                    </a:cubicBezTo>
                    <a:cubicBezTo>
                      <a:pt x="2789" y="4627"/>
                      <a:pt x="2873" y="4633"/>
                      <a:pt x="2956" y="4633"/>
                    </a:cubicBezTo>
                    <a:cubicBezTo>
                      <a:pt x="3714" y="4633"/>
                      <a:pt x="4355" y="4148"/>
                      <a:pt x="4705" y="3286"/>
                    </a:cubicBezTo>
                    <a:cubicBezTo>
                      <a:pt x="4989" y="2599"/>
                      <a:pt x="5317" y="2062"/>
                      <a:pt x="5661" y="1748"/>
                    </a:cubicBezTo>
                    <a:cubicBezTo>
                      <a:pt x="5646" y="1733"/>
                      <a:pt x="5631" y="1703"/>
                      <a:pt x="5616" y="1688"/>
                    </a:cubicBezTo>
                    <a:close/>
                    <a:moveTo>
                      <a:pt x="6273" y="3077"/>
                    </a:moveTo>
                    <a:cubicBezTo>
                      <a:pt x="5974" y="3137"/>
                      <a:pt x="5676" y="3227"/>
                      <a:pt x="5452" y="3391"/>
                    </a:cubicBezTo>
                    <a:cubicBezTo>
                      <a:pt x="5243" y="3540"/>
                      <a:pt x="3629" y="4765"/>
                      <a:pt x="3943" y="6050"/>
                    </a:cubicBezTo>
                    <a:cubicBezTo>
                      <a:pt x="3988" y="6079"/>
                      <a:pt x="4003" y="6124"/>
                      <a:pt x="4048" y="6154"/>
                    </a:cubicBezTo>
                    <a:cubicBezTo>
                      <a:pt x="3600" y="4870"/>
                      <a:pt x="5287" y="3600"/>
                      <a:pt x="5482" y="3451"/>
                    </a:cubicBezTo>
                    <a:cubicBezTo>
                      <a:pt x="5676" y="3286"/>
                      <a:pt x="5989" y="3212"/>
                      <a:pt x="6288" y="3137"/>
                    </a:cubicBezTo>
                    <a:cubicBezTo>
                      <a:pt x="6288" y="3107"/>
                      <a:pt x="6288" y="3107"/>
                      <a:pt x="6273" y="3077"/>
                    </a:cubicBezTo>
                    <a:close/>
                    <a:moveTo>
                      <a:pt x="6408" y="4810"/>
                    </a:moveTo>
                    <a:cubicBezTo>
                      <a:pt x="5989" y="5168"/>
                      <a:pt x="5631" y="5557"/>
                      <a:pt x="5571" y="5870"/>
                    </a:cubicBezTo>
                    <a:cubicBezTo>
                      <a:pt x="5526" y="6109"/>
                      <a:pt x="5601" y="6318"/>
                      <a:pt x="5706" y="6483"/>
                    </a:cubicBezTo>
                    <a:cubicBezTo>
                      <a:pt x="5720" y="6468"/>
                      <a:pt x="5735" y="6453"/>
                      <a:pt x="5765" y="6438"/>
                    </a:cubicBezTo>
                    <a:cubicBezTo>
                      <a:pt x="5661" y="6274"/>
                      <a:pt x="5601" y="6094"/>
                      <a:pt x="5646" y="5885"/>
                    </a:cubicBezTo>
                    <a:cubicBezTo>
                      <a:pt x="5691" y="5601"/>
                      <a:pt x="6004" y="5258"/>
                      <a:pt x="6393" y="4929"/>
                    </a:cubicBezTo>
                    <a:cubicBezTo>
                      <a:pt x="6393" y="4885"/>
                      <a:pt x="6408" y="4855"/>
                      <a:pt x="6408" y="4810"/>
                    </a:cubicBezTo>
                    <a:close/>
                    <a:moveTo>
                      <a:pt x="6437" y="3959"/>
                    </a:moveTo>
                    <a:cubicBezTo>
                      <a:pt x="6124" y="4078"/>
                      <a:pt x="5840" y="4257"/>
                      <a:pt x="5616" y="4481"/>
                    </a:cubicBezTo>
                    <a:cubicBezTo>
                      <a:pt x="5317" y="4825"/>
                      <a:pt x="5123" y="5377"/>
                      <a:pt x="4959" y="5870"/>
                    </a:cubicBezTo>
                    <a:cubicBezTo>
                      <a:pt x="4839" y="6244"/>
                      <a:pt x="4720" y="6587"/>
                      <a:pt x="4585" y="6707"/>
                    </a:cubicBezTo>
                    <a:cubicBezTo>
                      <a:pt x="4600" y="6722"/>
                      <a:pt x="4630" y="6737"/>
                      <a:pt x="4645" y="6752"/>
                    </a:cubicBezTo>
                    <a:cubicBezTo>
                      <a:pt x="4780" y="6602"/>
                      <a:pt x="4899" y="6289"/>
                      <a:pt x="5018" y="5885"/>
                    </a:cubicBezTo>
                    <a:cubicBezTo>
                      <a:pt x="5183" y="5407"/>
                      <a:pt x="5362" y="4855"/>
                      <a:pt x="5676" y="4526"/>
                    </a:cubicBezTo>
                    <a:cubicBezTo>
                      <a:pt x="5855" y="4302"/>
                      <a:pt x="6154" y="4138"/>
                      <a:pt x="6437" y="4018"/>
                    </a:cubicBezTo>
                    <a:lnTo>
                      <a:pt x="6437" y="3959"/>
                    </a:ln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 name="Google Shape;995;p17"/>
              <p:cNvSpPr/>
              <p:nvPr/>
            </p:nvSpPr>
            <p:spPr>
              <a:xfrm>
                <a:off x="6872125" y="5816300"/>
                <a:ext cx="139675" cy="151700"/>
              </a:xfrm>
              <a:custGeom>
                <a:avLst/>
                <a:gdLst/>
                <a:ahLst/>
                <a:cxnLst/>
                <a:rect l="l" t="t" r="r" b="b"/>
                <a:pathLst>
                  <a:path w="5587" h="6068" extrusionOk="0">
                    <a:moveTo>
                      <a:pt x="182" y="1"/>
                    </a:moveTo>
                    <a:cubicBezTo>
                      <a:pt x="176" y="1"/>
                      <a:pt x="170" y="1"/>
                      <a:pt x="165" y="1"/>
                    </a:cubicBezTo>
                    <a:cubicBezTo>
                      <a:pt x="30" y="225"/>
                      <a:pt x="0" y="509"/>
                      <a:pt x="284" y="867"/>
                    </a:cubicBezTo>
                    <a:lnTo>
                      <a:pt x="1001" y="1793"/>
                    </a:lnTo>
                    <a:lnTo>
                      <a:pt x="2286" y="3421"/>
                    </a:lnTo>
                    <a:lnTo>
                      <a:pt x="3704" y="4945"/>
                    </a:lnTo>
                    <a:lnTo>
                      <a:pt x="4511" y="5781"/>
                    </a:lnTo>
                    <a:cubicBezTo>
                      <a:pt x="4712" y="5992"/>
                      <a:pt x="4905" y="6068"/>
                      <a:pt x="5088" y="6068"/>
                    </a:cubicBezTo>
                    <a:cubicBezTo>
                      <a:pt x="5177" y="6068"/>
                      <a:pt x="5264" y="6050"/>
                      <a:pt x="5347" y="6020"/>
                    </a:cubicBezTo>
                    <a:lnTo>
                      <a:pt x="5347" y="6005"/>
                    </a:lnTo>
                    <a:cubicBezTo>
                      <a:pt x="5586" y="4377"/>
                      <a:pt x="3734" y="2167"/>
                      <a:pt x="3734" y="2167"/>
                    </a:cubicBezTo>
                    <a:cubicBezTo>
                      <a:pt x="3734" y="2167"/>
                      <a:pt x="1836" y="1"/>
                      <a:pt x="182"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p17"/>
              <p:cNvSpPr/>
              <p:nvPr/>
            </p:nvSpPr>
            <p:spPr>
              <a:xfrm>
                <a:off x="6800425" y="5830500"/>
                <a:ext cx="193825" cy="182650"/>
              </a:xfrm>
              <a:custGeom>
                <a:avLst/>
                <a:gdLst/>
                <a:ahLst/>
                <a:cxnLst/>
                <a:rect l="l" t="t" r="r" b="b"/>
                <a:pathLst>
                  <a:path w="7753" h="7306" extrusionOk="0">
                    <a:moveTo>
                      <a:pt x="3496" y="0"/>
                    </a:moveTo>
                    <a:cubicBezTo>
                      <a:pt x="3421" y="0"/>
                      <a:pt x="3344" y="16"/>
                      <a:pt x="3287" y="45"/>
                    </a:cubicBezTo>
                    <a:cubicBezTo>
                      <a:pt x="3257" y="45"/>
                      <a:pt x="3227" y="45"/>
                      <a:pt x="3212" y="60"/>
                    </a:cubicBezTo>
                    <a:cubicBezTo>
                      <a:pt x="3033" y="195"/>
                      <a:pt x="2749" y="389"/>
                      <a:pt x="2420" y="688"/>
                    </a:cubicBezTo>
                    <a:cubicBezTo>
                      <a:pt x="1405" y="1584"/>
                      <a:pt x="1" y="3361"/>
                      <a:pt x="419" y="6005"/>
                    </a:cubicBezTo>
                    <a:cubicBezTo>
                      <a:pt x="449" y="6154"/>
                      <a:pt x="479" y="6289"/>
                      <a:pt x="508" y="6453"/>
                    </a:cubicBezTo>
                    <a:cubicBezTo>
                      <a:pt x="553" y="6647"/>
                      <a:pt x="688" y="6811"/>
                      <a:pt x="897" y="6901"/>
                    </a:cubicBezTo>
                    <a:cubicBezTo>
                      <a:pt x="1682" y="7195"/>
                      <a:pt x="2415" y="7306"/>
                      <a:pt x="3082" y="7306"/>
                    </a:cubicBezTo>
                    <a:cubicBezTo>
                      <a:pt x="3126" y="7306"/>
                      <a:pt x="3169" y="7305"/>
                      <a:pt x="3212" y="7304"/>
                    </a:cubicBezTo>
                    <a:cubicBezTo>
                      <a:pt x="5557" y="7245"/>
                      <a:pt x="7140" y="5661"/>
                      <a:pt x="7618" y="5153"/>
                    </a:cubicBezTo>
                    <a:cubicBezTo>
                      <a:pt x="7708" y="5064"/>
                      <a:pt x="7752" y="4929"/>
                      <a:pt x="7737" y="4780"/>
                    </a:cubicBezTo>
                    <a:cubicBezTo>
                      <a:pt x="7513" y="3167"/>
                      <a:pt x="6274" y="1883"/>
                      <a:pt x="6274" y="1883"/>
                    </a:cubicBezTo>
                    <a:cubicBezTo>
                      <a:pt x="6274" y="1883"/>
                      <a:pt x="5198" y="464"/>
                      <a:pt x="3615" y="16"/>
                    </a:cubicBezTo>
                    <a:cubicBezTo>
                      <a:pt x="3578" y="5"/>
                      <a:pt x="3537" y="0"/>
                      <a:pt x="349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p17"/>
              <p:cNvSpPr/>
              <p:nvPr/>
            </p:nvSpPr>
            <p:spPr>
              <a:xfrm>
                <a:off x="6880325" y="5830125"/>
                <a:ext cx="113550" cy="183000"/>
              </a:xfrm>
              <a:custGeom>
                <a:avLst/>
                <a:gdLst/>
                <a:ahLst/>
                <a:cxnLst/>
                <a:rect l="l" t="t" r="r" b="b"/>
                <a:pathLst>
                  <a:path w="4542" h="7320" extrusionOk="0">
                    <a:moveTo>
                      <a:pt x="289" y="0"/>
                    </a:moveTo>
                    <a:cubicBezTo>
                      <a:pt x="217" y="0"/>
                      <a:pt x="143" y="17"/>
                      <a:pt x="76" y="45"/>
                    </a:cubicBezTo>
                    <a:cubicBezTo>
                      <a:pt x="688" y="389"/>
                      <a:pt x="3018" y="1912"/>
                      <a:pt x="3675" y="4691"/>
                    </a:cubicBezTo>
                    <a:cubicBezTo>
                      <a:pt x="3675" y="4691"/>
                      <a:pt x="1973" y="6542"/>
                      <a:pt x="17" y="7319"/>
                    </a:cubicBezTo>
                    <a:lnTo>
                      <a:pt x="17" y="7319"/>
                    </a:lnTo>
                    <a:cubicBezTo>
                      <a:pt x="2368" y="7252"/>
                      <a:pt x="3945" y="5675"/>
                      <a:pt x="4407" y="5154"/>
                    </a:cubicBezTo>
                    <a:cubicBezTo>
                      <a:pt x="4497" y="5064"/>
                      <a:pt x="4541" y="4930"/>
                      <a:pt x="4526" y="4780"/>
                    </a:cubicBezTo>
                    <a:cubicBezTo>
                      <a:pt x="4302" y="3167"/>
                      <a:pt x="3063" y="1883"/>
                      <a:pt x="3063" y="1883"/>
                    </a:cubicBezTo>
                    <a:cubicBezTo>
                      <a:pt x="3063" y="1883"/>
                      <a:pt x="1987" y="464"/>
                      <a:pt x="404" y="16"/>
                    </a:cubicBezTo>
                    <a:cubicBezTo>
                      <a:pt x="367" y="5"/>
                      <a:pt x="328" y="0"/>
                      <a:pt x="289" y="0"/>
                    </a:cubicBezTo>
                    <a:close/>
                    <a:moveTo>
                      <a:pt x="17" y="7319"/>
                    </a:moveTo>
                    <a:cubicBezTo>
                      <a:pt x="12" y="7319"/>
                      <a:pt x="6" y="7319"/>
                      <a:pt x="1" y="7319"/>
                    </a:cubicBezTo>
                    <a:lnTo>
                      <a:pt x="16" y="7319"/>
                    </a:lnTo>
                    <a:cubicBezTo>
                      <a:pt x="16" y="7319"/>
                      <a:pt x="17" y="7319"/>
                      <a:pt x="17" y="7319"/>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 name="Google Shape;998;p17"/>
              <p:cNvSpPr/>
              <p:nvPr/>
            </p:nvSpPr>
            <p:spPr>
              <a:xfrm>
                <a:off x="6815750" y="5910525"/>
                <a:ext cx="47800" cy="40500"/>
              </a:xfrm>
              <a:custGeom>
                <a:avLst/>
                <a:gdLst/>
                <a:ahLst/>
                <a:cxnLst/>
                <a:rect l="l" t="t" r="r" b="b"/>
                <a:pathLst>
                  <a:path w="1912" h="1620" extrusionOk="0">
                    <a:moveTo>
                      <a:pt x="1162" y="1"/>
                    </a:moveTo>
                    <a:cubicBezTo>
                      <a:pt x="941" y="1"/>
                      <a:pt x="698" y="91"/>
                      <a:pt x="493" y="265"/>
                    </a:cubicBezTo>
                    <a:cubicBezTo>
                      <a:pt x="105" y="593"/>
                      <a:pt x="0" y="1101"/>
                      <a:pt x="254" y="1400"/>
                    </a:cubicBezTo>
                    <a:cubicBezTo>
                      <a:pt x="381" y="1548"/>
                      <a:pt x="563" y="1619"/>
                      <a:pt x="761" y="1619"/>
                    </a:cubicBezTo>
                    <a:cubicBezTo>
                      <a:pt x="982" y="1619"/>
                      <a:pt x="1221" y="1529"/>
                      <a:pt x="1419" y="1355"/>
                    </a:cubicBezTo>
                    <a:cubicBezTo>
                      <a:pt x="1807" y="1026"/>
                      <a:pt x="1912" y="504"/>
                      <a:pt x="1658" y="220"/>
                    </a:cubicBezTo>
                    <a:cubicBezTo>
                      <a:pt x="1538" y="72"/>
                      <a:pt x="1359" y="1"/>
                      <a:pt x="1162"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999" name="Google Shape;999;p17"/>
            <p:cNvGrpSpPr/>
            <p:nvPr/>
          </p:nvGrpSpPr>
          <p:grpSpPr>
            <a:xfrm rot="2700000">
              <a:off x="3549689" y="4490010"/>
              <a:ext cx="810646" cy="1070919"/>
              <a:chOff x="7756700" y="5724825"/>
              <a:chExt cx="274475" cy="362600"/>
            </a:xfrm>
          </p:grpSpPr>
          <p:sp>
            <p:nvSpPr>
              <p:cNvPr id="1000" name="Google Shape;1000;p17"/>
              <p:cNvSpPr/>
              <p:nvPr/>
            </p:nvSpPr>
            <p:spPr>
              <a:xfrm>
                <a:off x="7756700" y="5724825"/>
                <a:ext cx="157575" cy="271875"/>
              </a:xfrm>
              <a:custGeom>
                <a:avLst/>
                <a:gdLst/>
                <a:ahLst/>
                <a:cxnLst/>
                <a:rect l="l" t="t" r="r" b="b"/>
                <a:pathLst>
                  <a:path w="6303" h="10875" extrusionOk="0">
                    <a:moveTo>
                      <a:pt x="1718" y="1"/>
                    </a:moveTo>
                    <a:cubicBezTo>
                      <a:pt x="867" y="1390"/>
                      <a:pt x="628" y="3750"/>
                      <a:pt x="628" y="3750"/>
                    </a:cubicBezTo>
                    <a:lnTo>
                      <a:pt x="403" y="3615"/>
                    </a:lnTo>
                    <a:lnTo>
                      <a:pt x="403" y="3615"/>
                    </a:lnTo>
                    <a:cubicBezTo>
                      <a:pt x="0" y="5169"/>
                      <a:pt x="717" y="6782"/>
                      <a:pt x="717" y="6782"/>
                    </a:cubicBezTo>
                    <a:lnTo>
                      <a:pt x="299" y="6587"/>
                    </a:lnTo>
                    <a:lnTo>
                      <a:pt x="299" y="6587"/>
                    </a:lnTo>
                    <a:cubicBezTo>
                      <a:pt x="1001" y="10516"/>
                      <a:pt x="3794" y="10874"/>
                      <a:pt x="3794" y="10874"/>
                    </a:cubicBezTo>
                    <a:cubicBezTo>
                      <a:pt x="6303" y="8634"/>
                      <a:pt x="4616" y="4810"/>
                      <a:pt x="4615" y="4810"/>
                    </a:cubicBezTo>
                    <a:lnTo>
                      <a:pt x="4615" y="4810"/>
                    </a:lnTo>
                    <a:lnTo>
                      <a:pt x="4332" y="5288"/>
                    </a:lnTo>
                    <a:cubicBezTo>
                      <a:pt x="4391" y="4198"/>
                      <a:pt x="3435" y="2704"/>
                      <a:pt x="3435" y="2704"/>
                    </a:cubicBezTo>
                    <a:lnTo>
                      <a:pt x="3286" y="3152"/>
                    </a:lnTo>
                    <a:cubicBezTo>
                      <a:pt x="3196" y="2734"/>
                      <a:pt x="2838" y="2047"/>
                      <a:pt x="2315" y="1450"/>
                    </a:cubicBezTo>
                    <a:cubicBezTo>
                      <a:pt x="1793" y="852"/>
                      <a:pt x="1718" y="1"/>
                      <a:pt x="171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1" name="Google Shape;1001;p17"/>
              <p:cNvSpPr/>
              <p:nvPr/>
            </p:nvSpPr>
            <p:spPr>
              <a:xfrm>
                <a:off x="7877675" y="5780100"/>
                <a:ext cx="153500" cy="214725"/>
              </a:xfrm>
              <a:custGeom>
                <a:avLst/>
                <a:gdLst/>
                <a:ahLst/>
                <a:cxnLst/>
                <a:rect l="l" t="t" r="r" b="b"/>
                <a:pathLst>
                  <a:path w="6140" h="8589" extrusionOk="0">
                    <a:moveTo>
                      <a:pt x="5123" y="5213"/>
                    </a:moveTo>
                    <a:cubicBezTo>
                      <a:pt x="5123" y="5213"/>
                      <a:pt x="5123" y="5213"/>
                      <a:pt x="5123" y="5213"/>
                    </a:cubicBezTo>
                    <a:lnTo>
                      <a:pt x="5123" y="5213"/>
                    </a:lnTo>
                    <a:lnTo>
                      <a:pt x="5123" y="5213"/>
                    </a:lnTo>
                    <a:cubicBezTo>
                      <a:pt x="5123" y="5213"/>
                      <a:pt x="5123" y="5213"/>
                      <a:pt x="5123" y="5213"/>
                    </a:cubicBezTo>
                    <a:close/>
                    <a:moveTo>
                      <a:pt x="5571" y="0"/>
                    </a:moveTo>
                    <a:cubicBezTo>
                      <a:pt x="4929" y="180"/>
                      <a:pt x="4272" y="807"/>
                      <a:pt x="4272" y="807"/>
                    </a:cubicBezTo>
                    <a:lnTo>
                      <a:pt x="4212" y="553"/>
                    </a:lnTo>
                    <a:cubicBezTo>
                      <a:pt x="2360" y="1688"/>
                      <a:pt x="1673" y="3719"/>
                      <a:pt x="1673" y="3719"/>
                    </a:cubicBezTo>
                    <a:lnTo>
                      <a:pt x="1539" y="3480"/>
                    </a:lnTo>
                    <a:cubicBezTo>
                      <a:pt x="0" y="5990"/>
                      <a:pt x="986" y="8588"/>
                      <a:pt x="986" y="8588"/>
                    </a:cubicBezTo>
                    <a:cubicBezTo>
                      <a:pt x="4339" y="7565"/>
                      <a:pt x="5113" y="5230"/>
                      <a:pt x="5123" y="5213"/>
                    </a:cubicBezTo>
                    <a:lnTo>
                      <a:pt x="5123" y="5213"/>
                    </a:lnTo>
                    <a:lnTo>
                      <a:pt x="4720" y="5288"/>
                    </a:lnTo>
                    <a:cubicBezTo>
                      <a:pt x="6139" y="3854"/>
                      <a:pt x="6139" y="2495"/>
                      <a:pt x="6139" y="2495"/>
                    </a:cubicBezTo>
                    <a:lnTo>
                      <a:pt x="6139" y="2495"/>
                    </a:lnTo>
                    <a:lnTo>
                      <a:pt x="5885" y="2674"/>
                    </a:lnTo>
                    <a:cubicBezTo>
                      <a:pt x="6094" y="1464"/>
                      <a:pt x="5571" y="0"/>
                      <a:pt x="557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1002;p17"/>
              <p:cNvSpPr/>
              <p:nvPr/>
            </p:nvSpPr>
            <p:spPr>
              <a:xfrm>
                <a:off x="7795900" y="5754700"/>
                <a:ext cx="101225" cy="332725"/>
              </a:xfrm>
              <a:custGeom>
                <a:avLst/>
                <a:gdLst/>
                <a:ahLst/>
                <a:cxnLst/>
                <a:rect l="l" t="t" r="r" b="b"/>
                <a:pathLst>
                  <a:path w="4049" h="13309" extrusionOk="0">
                    <a:moveTo>
                      <a:pt x="135" y="1"/>
                    </a:moveTo>
                    <a:lnTo>
                      <a:pt x="0" y="16"/>
                    </a:lnTo>
                    <a:cubicBezTo>
                      <a:pt x="165" y="2614"/>
                      <a:pt x="643" y="5213"/>
                      <a:pt x="1419" y="7693"/>
                    </a:cubicBezTo>
                    <a:cubicBezTo>
                      <a:pt x="2032" y="9619"/>
                      <a:pt x="2779" y="11531"/>
                      <a:pt x="3749" y="13308"/>
                    </a:cubicBezTo>
                    <a:cubicBezTo>
                      <a:pt x="3749" y="13308"/>
                      <a:pt x="4048" y="13144"/>
                      <a:pt x="4048" y="13144"/>
                    </a:cubicBezTo>
                    <a:cubicBezTo>
                      <a:pt x="3481" y="12143"/>
                      <a:pt x="2988" y="11098"/>
                      <a:pt x="2540" y="10038"/>
                    </a:cubicBezTo>
                    <a:cubicBezTo>
                      <a:pt x="2360" y="9589"/>
                      <a:pt x="2106" y="8917"/>
                      <a:pt x="1927" y="8424"/>
                    </a:cubicBezTo>
                    <a:cubicBezTo>
                      <a:pt x="971" y="5721"/>
                      <a:pt x="344" y="2868"/>
                      <a:pt x="135"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3" name="Google Shape;1003;p17"/>
              <p:cNvSpPr/>
              <p:nvPr/>
            </p:nvSpPr>
            <p:spPr>
              <a:xfrm>
                <a:off x="7873200" y="5795400"/>
                <a:ext cx="135175" cy="250200"/>
              </a:xfrm>
              <a:custGeom>
                <a:avLst/>
                <a:gdLst/>
                <a:ahLst/>
                <a:cxnLst/>
                <a:rect l="l" t="t" r="r" b="b"/>
                <a:pathLst>
                  <a:path w="5407" h="10008" fill="none" extrusionOk="0">
                    <a:moveTo>
                      <a:pt x="0" y="10008"/>
                    </a:moveTo>
                    <a:cubicBezTo>
                      <a:pt x="0" y="10008"/>
                      <a:pt x="4048" y="3062"/>
                      <a:pt x="5407"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1004;p17"/>
              <p:cNvSpPr/>
              <p:nvPr/>
            </p:nvSpPr>
            <p:spPr>
              <a:xfrm>
                <a:off x="7783575" y="5800625"/>
                <a:ext cx="75075" cy="174400"/>
              </a:xfrm>
              <a:custGeom>
                <a:avLst/>
                <a:gdLst/>
                <a:ahLst/>
                <a:cxnLst/>
                <a:rect l="l" t="t" r="r" b="b"/>
                <a:pathLst>
                  <a:path w="3003" h="6976" fill="none" extrusionOk="0">
                    <a:moveTo>
                      <a:pt x="2420" y="6976"/>
                    </a:moveTo>
                    <a:cubicBezTo>
                      <a:pt x="2420" y="6976"/>
                      <a:pt x="2868" y="4735"/>
                      <a:pt x="3003" y="4362"/>
                    </a:cubicBezTo>
                    <a:moveTo>
                      <a:pt x="1808" y="299"/>
                    </a:moveTo>
                    <a:lnTo>
                      <a:pt x="1390" y="613"/>
                    </a:lnTo>
                    <a:moveTo>
                      <a:pt x="1016" y="1793"/>
                    </a:moveTo>
                    <a:lnTo>
                      <a:pt x="1584" y="1"/>
                    </a:lnTo>
                    <a:moveTo>
                      <a:pt x="1" y="404"/>
                    </a:moveTo>
                    <a:lnTo>
                      <a:pt x="852" y="912"/>
                    </a:lnTo>
                    <a:moveTo>
                      <a:pt x="225" y="2824"/>
                    </a:moveTo>
                    <a:lnTo>
                      <a:pt x="1479" y="3899"/>
                    </a:lnTo>
                    <a:moveTo>
                      <a:pt x="269" y="5198"/>
                    </a:moveTo>
                    <a:lnTo>
                      <a:pt x="927" y="5169"/>
                    </a:lnTo>
                    <a:moveTo>
                      <a:pt x="105" y="4676"/>
                    </a:moveTo>
                    <a:lnTo>
                      <a:pt x="2032" y="5826"/>
                    </a:lnTo>
                    <a:moveTo>
                      <a:pt x="2196" y="2540"/>
                    </a:moveTo>
                    <a:lnTo>
                      <a:pt x="2719" y="1927"/>
                    </a:lnTo>
                    <a:moveTo>
                      <a:pt x="1733" y="4870"/>
                    </a:moveTo>
                    <a:lnTo>
                      <a:pt x="2510" y="1046"/>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5" name="Google Shape;1005;p17"/>
              <p:cNvSpPr/>
              <p:nvPr/>
            </p:nvSpPr>
            <p:spPr>
              <a:xfrm>
                <a:off x="7911275" y="5824525"/>
                <a:ext cx="98225" cy="146400"/>
              </a:xfrm>
              <a:custGeom>
                <a:avLst/>
                <a:gdLst/>
                <a:ahLst/>
                <a:cxnLst/>
                <a:rect l="l" t="t" r="r" b="b"/>
                <a:pathLst>
                  <a:path w="3929" h="5856" fill="none" extrusionOk="0">
                    <a:moveTo>
                      <a:pt x="733" y="4900"/>
                    </a:moveTo>
                    <a:lnTo>
                      <a:pt x="299" y="2958"/>
                    </a:lnTo>
                    <a:moveTo>
                      <a:pt x="3929" y="314"/>
                    </a:moveTo>
                    <a:lnTo>
                      <a:pt x="3525" y="344"/>
                    </a:lnTo>
                    <a:moveTo>
                      <a:pt x="2868" y="897"/>
                    </a:moveTo>
                    <a:lnTo>
                      <a:pt x="3929" y="1"/>
                    </a:lnTo>
                    <a:moveTo>
                      <a:pt x="2361" y="195"/>
                    </a:moveTo>
                    <a:lnTo>
                      <a:pt x="2136" y="822"/>
                    </a:lnTo>
                    <a:moveTo>
                      <a:pt x="2346" y="1912"/>
                    </a:moveTo>
                    <a:lnTo>
                      <a:pt x="2047" y="329"/>
                    </a:lnTo>
                    <a:moveTo>
                      <a:pt x="3451" y="2122"/>
                    </a:moveTo>
                    <a:lnTo>
                      <a:pt x="3092" y="2644"/>
                    </a:lnTo>
                    <a:moveTo>
                      <a:pt x="1464" y="3570"/>
                    </a:moveTo>
                    <a:lnTo>
                      <a:pt x="3675" y="2316"/>
                    </a:lnTo>
                    <a:moveTo>
                      <a:pt x="2331" y="4227"/>
                    </a:moveTo>
                    <a:lnTo>
                      <a:pt x="2032" y="4705"/>
                    </a:lnTo>
                    <a:moveTo>
                      <a:pt x="180" y="5855"/>
                    </a:moveTo>
                    <a:lnTo>
                      <a:pt x="2824" y="4227"/>
                    </a:lnTo>
                    <a:moveTo>
                      <a:pt x="1" y="3600"/>
                    </a:moveTo>
                    <a:lnTo>
                      <a:pt x="508" y="392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06" name="Google Shape;1006;p17"/>
            <p:cNvGrpSpPr/>
            <p:nvPr/>
          </p:nvGrpSpPr>
          <p:grpSpPr>
            <a:xfrm rot="-1926566">
              <a:off x="1303718" y="4475102"/>
              <a:ext cx="1371685" cy="1796800"/>
              <a:chOff x="3255967" y="2507600"/>
              <a:chExt cx="1305465" cy="1715179"/>
            </a:xfrm>
          </p:grpSpPr>
          <p:sp>
            <p:nvSpPr>
              <p:cNvPr id="1007" name="Google Shape;1007;p17"/>
              <p:cNvSpPr/>
              <p:nvPr/>
            </p:nvSpPr>
            <p:spPr>
              <a:xfrm>
                <a:off x="4191774" y="3356698"/>
                <a:ext cx="369658" cy="519086"/>
              </a:xfrm>
              <a:custGeom>
                <a:avLst/>
                <a:gdLst/>
                <a:ahLst/>
                <a:cxnLst/>
                <a:rect l="l" t="t" r="r" b="b"/>
                <a:pathLst>
                  <a:path w="11711" h="16445" extrusionOk="0">
                    <a:moveTo>
                      <a:pt x="10695" y="0"/>
                    </a:moveTo>
                    <a:cubicBezTo>
                      <a:pt x="10695" y="0"/>
                      <a:pt x="8962" y="777"/>
                      <a:pt x="7394" y="3032"/>
                    </a:cubicBezTo>
                    <a:lnTo>
                      <a:pt x="7290" y="2256"/>
                    </a:lnTo>
                    <a:cubicBezTo>
                      <a:pt x="7290" y="2256"/>
                      <a:pt x="4691" y="4735"/>
                      <a:pt x="3660" y="6841"/>
                    </a:cubicBezTo>
                    <a:lnTo>
                      <a:pt x="3660" y="5945"/>
                    </a:lnTo>
                    <a:cubicBezTo>
                      <a:pt x="3660" y="5945"/>
                      <a:pt x="1" y="10635"/>
                      <a:pt x="2674" y="16445"/>
                    </a:cubicBezTo>
                    <a:cubicBezTo>
                      <a:pt x="2674" y="16445"/>
                      <a:pt x="5423" y="16370"/>
                      <a:pt x="9067" y="13249"/>
                    </a:cubicBezTo>
                    <a:lnTo>
                      <a:pt x="8529" y="13174"/>
                    </a:lnTo>
                    <a:cubicBezTo>
                      <a:pt x="8529" y="13174"/>
                      <a:pt x="11053" y="9559"/>
                      <a:pt x="11666" y="5930"/>
                    </a:cubicBezTo>
                    <a:lnTo>
                      <a:pt x="11666" y="5930"/>
                    </a:lnTo>
                    <a:lnTo>
                      <a:pt x="11009" y="6184"/>
                    </a:lnTo>
                    <a:cubicBezTo>
                      <a:pt x="11009" y="6184"/>
                      <a:pt x="11711" y="2659"/>
                      <a:pt x="10695"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p17"/>
              <p:cNvSpPr/>
              <p:nvPr/>
            </p:nvSpPr>
            <p:spPr>
              <a:xfrm>
                <a:off x="3567576" y="2507600"/>
                <a:ext cx="429537" cy="595474"/>
              </a:xfrm>
              <a:custGeom>
                <a:avLst/>
                <a:gdLst/>
                <a:ahLst/>
                <a:cxnLst/>
                <a:rect l="l" t="t" r="r" b="b"/>
                <a:pathLst>
                  <a:path w="13608" h="18865" extrusionOk="0">
                    <a:moveTo>
                      <a:pt x="1300" y="1"/>
                    </a:moveTo>
                    <a:lnTo>
                      <a:pt x="1315" y="31"/>
                    </a:lnTo>
                    <a:lnTo>
                      <a:pt x="1300" y="16"/>
                    </a:lnTo>
                    <a:cubicBezTo>
                      <a:pt x="1106" y="554"/>
                      <a:pt x="1211" y="2779"/>
                      <a:pt x="1211" y="2779"/>
                    </a:cubicBezTo>
                    <a:lnTo>
                      <a:pt x="539" y="2421"/>
                    </a:lnTo>
                    <a:lnTo>
                      <a:pt x="539" y="2421"/>
                    </a:lnTo>
                    <a:cubicBezTo>
                      <a:pt x="434" y="3317"/>
                      <a:pt x="1255" y="6408"/>
                      <a:pt x="1270" y="6513"/>
                    </a:cubicBezTo>
                    <a:lnTo>
                      <a:pt x="1" y="6080"/>
                    </a:lnTo>
                    <a:lnTo>
                      <a:pt x="1" y="6080"/>
                    </a:lnTo>
                    <a:cubicBezTo>
                      <a:pt x="583" y="8783"/>
                      <a:pt x="4332" y="13309"/>
                      <a:pt x="4332" y="13309"/>
                    </a:cubicBezTo>
                    <a:lnTo>
                      <a:pt x="3152" y="13488"/>
                    </a:lnTo>
                    <a:cubicBezTo>
                      <a:pt x="6677" y="17924"/>
                      <a:pt x="12995" y="18865"/>
                      <a:pt x="12995" y="18865"/>
                    </a:cubicBezTo>
                    <a:cubicBezTo>
                      <a:pt x="13010" y="18820"/>
                      <a:pt x="13040" y="18775"/>
                      <a:pt x="13055" y="18731"/>
                    </a:cubicBezTo>
                    <a:cubicBezTo>
                      <a:pt x="13085" y="18686"/>
                      <a:pt x="13100" y="18641"/>
                      <a:pt x="13115" y="18596"/>
                    </a:cubicBezTo>
                    <a:cubicBezTo>
                      <a:pt x="13144" y="18536"/>
                      <a:pt x="13159" y="18492"/>
                      <a:pt x="13174" y="18447"/>
                    </a:cubicBezTo>
                    <a:cubicBezTo>
                      <a:pt x="13189" y="18402"/>
                      <a:pt x="13204" y="18342"/>
                      <a:pt x="13219" y="18297"/>
                    </a:cubicBezTo>
                    <a:cubicBezTo>
                      <a:pt x="13249" y="18238"/>
                      <a:pt x="13264" y="18193"/>
                      <a:pt x="13279" y="18148"/>
                    </a:cubicBezTo>
                    <a:cubicBezTo>
                      <a:pt x="13294" y="18088"/>
                      <a:pt x="13309" y="18029"/>
                      <a:pt x="13324" y="17984"/>
                    </a:cubicBezTo>
                    <a:cubicBezTo>
                      <a:pt x="13339" y="17924"/>
                      <a:pt x="13353" y="17864"/>
                      <a:pt x="13353" y="17819"/>
                    </a:cubicBezTo>
                    <a:cubicBezTo>
                      <a:pt x="13368" y="17760"/>
                      <a:pt x="13383" y="17700"/>
                      <a:pt x="13398" y="17640"/>
                    </a:cubicBezTo>
                    <a:cubicBezTo>
                      <a:pt x="13413" y="17595"/>
                      <a:pt x="13413" y="17536"/>
                      <a:pt x="13428" y="17476"/>
                    </a:cubicBezTo>
                    <a:cubicBezTo>
                      <a:pt x="13443" y="17416"/>
                      <a:pt x="13458" y="17356"/>
                      <a:pt x="13458" y="17297"/>
                    </a:cubicBezTo>
                    <a:cubicBezTo>
                      <a:pt x="13473" y="17237"/>
                      <a:pt x="13488" y="17177"/>
                      <a:pt x="13488" y="17117"/>
                    </a:cubicBezTo>
                    <a:cubicBezTo>
                      <a:pt x="13503" y="17058"/>
                      <a:pt x="13503" y="16983"/>
                      <a:pt x="13518" y="16923"/>
                    </a:cubicBezTo>
                    <a:cubicBezTo>
                      <a:pt x="13518" y="16864"/>
                      <a:pt x="13533" y="16804"/>
                      <a:pt x="13533" y="16744"/>
                    </a:cubicBezTo>
                    <a:cubicBezTo>
                      <a:pt x="13548" y="16669"/>
                      <a:pt x="13548" y="16610"/>
                      <a:pt x="13548" y="16550"/>
                    </a:cubicBezTo>
                    <a:cubicBezTo>
                      <a:pt x="13563" y="16490"/>
                      <a:pt x="13563" y="16415"/>
                      <a:pt x="13578" y="16356"/>
                    </a:cubicBezTo>
                    <a:cubicBezTo>
                      <a:pt x="13578" y="16281"/>
                      <a:pt x="13578" y="16221"/>
                      <a:pt x="13578" y="16162"/>
                    </a:cubicBezTo>
                    <a:cubicBezTo>
                      <a:pt x="13592" y="16087"/>
                      <a:pt x="13592" y="16027"/>
                      <a:pt x="13592" y="15952"/>
                    </a:cubicBezTo>
                    <a:cubicBezTo>
                      <a:pt x="13592" y="15893"/>
                      <a:pt x="13607" y="15818"/>
                      <a:pt x="13607" y="15758"/>
                    </a:cubicBezTo>
                    <a:cubicBezTo>
                      <a:pt x="13607" y="15684"/>
                      <a:pt x="13607" y="15624"/>
                      <a:pt x="13607" y="15549"/>
                    </a:cubicBezTo>
                    <a:cubicBezTo>
                      <a:pt x="13607" y="15489"/>
                      <a:pt x="13607" y="15415"/>
                      <a:pt x="13607" y="15355"/>
                    </a:cubicBezTo>
                    <a:cubicBezTo>
                      <a:pt x="13607" y="15280"/>
                      <a:pt x="13607" y="15206"/>
                      <a:pt x="13607" y="15146"/>
                    </a:cubicBezTo>
                    <a:cubicBezTo>
                      <a:pt x="13607" y="15071"/>
                      <a:pt x="13607" y="15012"/>
                      <a:pt x="13607" y="14937"/>
                    </a:cubicBezTo>
                    <a:cubicBezTo>
                      <a:pt x="13607" y="14862"/>
                      <a:pt x="13607" y="14802"/>
                      <a:pt x="13607" y="14728"/>
                    </a:cubicBezTo>
                    <a:cubicBezTo>
                      <a:pt x="13607" y="14668"/>
                      <a:pt x="13607" y="14593"/>
                      <a:pt x="13607" y="14519"/>
                    </a:cubicBezTo>
                    <a:cubicBezTo>
                      <a:pt x="13607" y="14459"/>
                      <a:pt x="13607" y="14384"/>
                      <a:pt x="13592" y="14310"/>
                    </a:cubicBezTo>
                    <a:cubicBezTo>
                      <a:pt x="13592" y="14250"/>
                      <a:pt x="13592" y="14175"/>
                      <a:pt x="13592" y="14115"/>
                    </a:cubicBezTo>
                    <a:cubicBezTo>
                      <a:pt x="13592" y="14041"/>
                      <a:pt x="13592" y="13966"/>
                      <a:pt x="13578" y="13906"/>
                    </a:cubicBezTo>
                    <a:cubicBezTo>
                      <a:pt x="13578" y="13832"/>
                      <a:pt x="13578" y="13772"/>
                      <a:pt x="13578" y="13697"/>
                    </a:cubicBezTo>
                    <a:cubicBezTo>
                      <a:pt x="13428" y="11233"/>
                      <a:pt x="12980" y="8962"/>
                      <a:pt x="12980" y="8962"/>
                    </a:cubicBezTo>
                    <a:lnTo>
                      <a:pt x="12547" y="9754"/>
                    </a:lnTo>
                    <a:cubicBezTo>
                      <a:pt x="11755" y="6737"/>
                      <a:pt x="8425" y="3138"/>
                      <a:pt x="8425" y="3138"/>
                    </a:cubicBezTo>
                    <a:lnTo>
                      <a:pt x="8425" y="3152"/>
                    </a:lnTo>
                    <a:lnTo>
                      <a:pt x="8440" y="4064"/>
                    </a:lnTo>
                    <a:cubicBezTo>
                      <a:pt x="7439" y="2630"/>
                      <a:pt x="5094" y="1285"/>
                      <a:pt x="5094" y="1285"/>
                    </a:cubicBezTo>
                    <a:lnTo>
                      <a:pt x="5094" y="1300"/>
                    </a:lnTo>
                    <a:lnTo>
                      <a:pt x="5109" y="1883"/>
                    </a:lnTo>
                    <a:cubicBezTo>
                      <a:pt x="4034" y="1002"/>
                      <a:pt x="1390" y="31"/>
                      <a:pt x="130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p17"/>
              <p:cNvSpPr/>
              <p:nvPr/>
            </p:nvSpPr>
            <p:spPr>
              <a:xfrm>
                <a:off x="4137577" y="3199694"/>
                <a:ext cx="207445" cy="272059"/>
              </a:xfrm>
              <a:custGeom>
                <a:avLst/>
                <a:gdLst/>
                <a:ahLst/>
                <a:cxnLst/>
                <a:rect l="l" t="t" r="r" b="b"/>
                <a:pathLst>
                  <a:path w="6572" h="8619" extrusionOk="0">
                    <a:moveTo>
                      <a:pt x="6199" y="1"/>
                    </a:moveTo>
                    <a:lnTo>
                      <a:pt x="6199" y="1"/>
                    </a:lnTo>
                    <a:cubicBezTo>
                      <a:pt x="4630" y="300"/>
                      <a:pt x="3555" y="1420"/>
                      <a:pt x="3555" y="1420"/>
                    </a:cubicBezTo>
                    <a:lnTo>
                      <a:pt x="3316" y="807"/>
                    </a:lnTo>
                    <a:cubicBezTo>
                      <a:pt x="2241" y="1509"/>
                      <a:pt x="1583" y="4078"/>
                      <a:pt x="1583" y="4078"/>
                    </a:cubicBezTo>
                    <a:lnTo>
                      <a:pt x="1285" y="3660"/>
                    </a:lnTo>
                    <a:lnTo>
                      <a:pt x="1285" y="3660"/>
                    </a:lnTo>
                    <a:cubicBezTo>
                      <a:pt x="0" y="6020"/>
                      <a:pt x="1389" y="8619"/>
                      <a:pt x="1389" y="8619"/>
                    </a:cubicBezTo>
                    <a:cubicBezTo>
                      <a:pt x="3540" y="8365"/>
                      <a:pt x="5228" y="6408"/>
                      <a:pt x="5228" y="6408"/>
                    </a:cubicBezTo>
                    <a:lnTo>
                      <a:pt x="5228" y="6408"/>
                    </a:lnTo>
                    <a:lnTo>
                      <a:pt x="4436" y="6573"/>
                    </a:lnTo>
                    <a:cubicBezTo>
                      <a:pt x="5691" y="5736"/>
                      <a:pt x="6527" y="3302"/>
                      <a:pt x="6572" y="3197"/>
                    </a:cubicBezTo>
                    <a:lnTo>
                      <a:pt x="6572" y="3197"/>
                    </a:lnTo>
                    <a:lnTo>
                      <a:pt x="5945" y="3451"/>
                    </a:lnTo>
                    <a:cubicBezTo>
                      <a:pt x="6467" y="2286"/>
                      <a:pt x="6199" y="1"/>
                      <a:pt x="619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p17"/>
              <p:cNvSpPr/>
              <p:nvPr/>
            </p:nvSpPr>
            <p:spPr>
              <a:xfrm>
                <a:off x="3255967" y="2989439"/>
                <a:ext cx="652512" cy="337619"/>
              </a:xfrm>
              <a:custGeom>
                <a:avLst/>
                <a:gdLst/>
                <a:ahLst/>
                <a:cxnLst/>
                <a:rect l="l" t="t" r="r" b="b"/>
                <a:pathLst>
                  <a:path w="20672" h="10696" extrusionOk="0">
                    <a:moveTo>
                      <a:pt x="12427" y="0"/>
                    </a:moveTo>
                    <a:lnTo>
                      <a:pt x="12427" y="15"/>
                    </a:lnTo>
                    <a:lnTo>
                      <a:pt x="12681" y="658"/>
                    </a:lnTo>
                    <a:cubicBezTo>
                      <a:pt x="12576" y="629"/>
                      <a:pt x="11042" y="273"/>
                      <a:pt x="9055" y="273"/>
                    </a:cubicBezTo>
                    <a:cubicBezTo>
                      <a:pt x="7921" y="273"/>
                      <a:pt x="6640" y="389"/>
                      <a:pt x="5392" y="747"/>
                    </a:cubicBezTo>
                    <a:lnTo>
                      <a:pt x="5407" y="762"/>
                    </a:lnTo>
                    <a:lnTo>
                      <a:pt x="5392" y="762"/>
                    </a:lnTo>
                    <a:lnTo>
                      <a:pt x="6109" y="1330"/>
                    </a:lnTo>
                    <a:cubicBezTo>
                      <a:pt x="5870" y="1434"/>
                      <a:pt x="2286" y="2943"/>
                      <a:pt x="0" y="5796"/>
                    </a:cubicBezTo>
                    <a:cubicBezTo>
                      <a:pt x="165" y="5945"/>
                      <a:pt x="1972" y="7588"/>
                      <a:pt x="4466" y="8155"/>
                    </a:cubicBezTo>
                    <a:lnTo>
                      <a:pt x="3689" y="8514"/>
                    </a:lnTo>
                    <a:cubicBezTo>
                      <a:pt x="3689" y="8514"/>
                      <a:pt x="7041" y="10001"/>
                      <a:pt x="10015" y="10001"/>
                    </a:cubicBezTo>
                    <a:cubicBezTo>
                      <a:pt x="10224" y="10001"/>
                      <a:pt x="10431" y="9993"/>
                      <a:pt x="10635" y="9978"/>
                    </a:cubicBezTo>
                    <a:lnTo>
                      <a:pt x="10635" y="9978"/>
                    </a:lnTo>
                    <a:lnTo>
                      <a:pt x="9604" y="10575"/>
                    </a:lnTo>
                    <a:cubicBezTo>
                      <a:pt x="9604" y="10575"/>
                      <a:pt x="10408" y="10695"/>
                      <a:pt x="11654" y="10695"/>
                    </a:cubicBezTo>
                    <a:cubicBezTo>
                      <a:pt x="13921" y="10695"/>
                      <a:pt x="17654" y="10297"/>
                      <a:pt x="20671" y="8051"/>
                    </a:cubicBezTo>
                    <a:lnTo>
                      <a:pt x="20671" y="8036"/>
                    </a:lnTo>
                    <a:lnTo>
                      <a:pt x="20657" y="8021"/>
                    </a:lnTo>
                    <a:lnTo>
                      <a:pt x="20642" y="7991"/>
                    </a:lnTo>
                    <a:lnTo>
                      <a:pt x="20627" y="7946"/>
                    </a:lnTo>
                    <a:lnTo>
                      <a:pt x="20612" y="7901"/>
                    </a:lnTo>
                    <a:lnTo>
                      <a:pt x="20582" y="7857"/>
                    </a:lnTo>
                    <a:lnTo>
                      <a:pt x="20567" y="7797"/>
                    </a:lnTo>
                    <a:lnTo>
                      <a:pt x="20537" y="7722"/>
                    </a:lnTo>
                    <a:lnTo>
                      <a:pt x="20507" y="7648"/>
                    </a:lnTo>
                    <a:lnTo>
                      <a:pt x="20462" y="7573"/>
                    </a:lnTo>
                    <a:lnTo>
                      <a:pt x="20418" y="7483"/>
                    </a:lnTo>
                    <a:lnTo>
                      <a:pt x="20373" y="7394"/>
                    </a:lnTo>
                    <a:lnTo>
                      <a:pt x="20328" y="7304"/>
                    </a:lnTo>
                    <a:cubicBezTo>
                      <a:pt x="20313" y="7274"/>
                      <a:pt x="20298" y="7229"/>
                      <a:pt x="20283" y="7200"/>
                    </a:cubicBezTo>
                    <a:cubicBezTo>
                      <a:pt x="19402" y="5467"/>
                      <a:pt x="17012" y="1613"/>
                      <a:pt x="12427"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17"/>
              <p:cNvSpPr/>
              <p:nvPr/>
            </p:nvSpPr>
            <p:spPr>
              <a:xfrm>
                <a:off x="3675560" y="3494669"/>
                <a:ext cx="490331" cy="341123"/>
              </a:xfrm>
              <a:custGeom>
                <a:avLst/>
                <a:gdLst/>
                <a:ahLst/>
                <a:cxnLst/>
                <a:rect l="l" t="t" r="r" b="b"/>
                <a:pathLst>
                  <a:path w="15534" h="10807" extrusionOk="0">
                    <a:moveTo>
                      <a:pt x="1855" y="1"/>
                    </a:moveTo>
                    <a:cubicBezTo>
                      <a:pt x="1234" y="1"/>
                      <a:pt x="602" y="57"/>
                      <a:pt x="0" y="200"/>
                    </a:cubicBezTo>
                    <a:cubicBezTo>
                      <a:pt x="0" y="200"/>
                      <a:pt x="553" y="2022"/>
                      <a:pt x="2569" y="3874"/>
                    </a:cubicBezTo>
                    <a:lnTo>
                      <a:pt x="1778" y="3874"/>
                    </a:lnTo>
                    <a:cubicBezTo>
                      <a:pt x="1778" y="3874"/>
                      <a:pt x="3898" y="6787"/>
                      <a:pt x="5855" y="8071"/>
                    </a:cubicBezTo>
                    <a:lnTo>
                      <a:pt x="4959" y="7952"/>
                    </a:lnTo>
                    <a:lnTo>
                      <a:pt x="4959" y="7952"/>
                    </a:lnTo>
                    <a:cubicBezTo>
                      <a:pt x="4959" y="7952"/>
                      <a:pt x="7764" y="10807"/>
                      <a:pt x="12135" y="10807"/>
                    </a:cubicBezTo>
                    <a:cubicBezTo>
                      <a:pt x="13101" y="10807"/>
                      <a:pt x="14144" y="10667"/>
                      <a:pt x="15250" y="10326"/>
                    </a:cubicBezTo>
                    <a:cubicBezTo>
                      <a:pt x="15250" y="10326"/>
                      <a:pt x="15533" y="7593"/>
                      <a:pt x="12935" y="3575"/>
                    </a:cubicBezTo>
                    <a:lnTo>
                      <a:pt x="12785" y="4083"/>
                    </a:lnTo>
                    <a:cubicBezTo>
                      <a:pt x="12785" y="4083"/>
                      <a:pt x="9529" y="1096"/>
                      <a:pt x="6004" y="36"/>
                    </a:cubicBezTo>
                    <a:lnTo>
                      <a:pt x="6004" y="36"/>
                    </a:lnTo>
                    <a:lnTo>
                      <a:pt x="6169" y="723"/>
                    </a:lnTo>
                    <a:cubicBezTo>
                      <a:pt x="6169" y="723"/>
                      <a:pt x="4085" y="1"/>
                      <a:pt x="185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17"/>
              <p:cNvSpPr/>
              <p:nvPr/>
            </p:nvSpPr>
            <p:spPr>
              <a:xfrm>
                <a:off x="3688281" y="2611322"/>
                <a:ext cx="602544" cy="1611456"/>
              </a:xfrm>
              <a:custGeom>
                <a:avLst/>
                <a:gdLst/>
                <a:ahLst/>
                <a:cxnLst/>
                <a:rect l="l" t="t" r="r" b="b"/>
                <a:pathLst>
                  <a:path w="19089" h="51052" extrusionOk="0">
                    <a:moveTo>
                      <a:pt x="120" y="1"/>
                    </a:moveTo>
                    <a:lnTo>
                      <a:pt x="0" y="76"/>
                    </a:lnTo>
                    <a:cubicBezTo>
                      <a:pt x="717" y="972"/>
                      <a:pt x="1375" y="1913"/>
                      <a:pt x="2017" y="2854"/>
                    </a:cubicBezTo>
                    <a:cubicBezTo>
                      <a:pt x="2674" y="3795"/>
                      <a:pt x="3286" y="4780"/>
                      <a:pt x="3869" y="5751"/>
                    </a:cubicBezTo>
                    <a:cubicBezTo>
                      <a:pt x="5064" y="7693"/>
                      <a:pt x="6184" y="9694"/>
                      <a:pt x="7229" y="11740"/>
                    </a:cubicBezTo>
                    <a:cubicBezTo>
                      <a:pt x="9291" y="15818"/>
                      <a:pt x="11098" y="20045"/>
                      <a:pt x="12636" y="24361"/>
                    </a:cubicBezTo>
                    <a:cubicBezTo>
                      <a:pt x="12830" y="24884"/>
                      <a:pt x="13010" y="25437"/>
                      <a:pt x="13204" y="25974"/>
                    </a:cubicBezTo>
                    <a:cubicBezTo>
                      <a:pt x="13398" y="26527"/>
                      <a:pt x="13592" y="27065"/>
                      <a:pt x="13756" y="27602"/>
                    </a:cubicBezTo>
                    <a:lnTo>
                      <a:pt x="14279" y="29245"/>
                    </a:lnTo>
                    <a:lnTo>
                      <a:pt x="14772" y="30888"/>
                    </a:lnTo>
                    <a:lnTo>
                      <a:pt x="15011" y="31710"/>
                    </a:lnTo>
                    <a:lnTo>
                      <a:pt x="15250" y="32531"/>
                    </a:lnTo>
                    <a:lnTo>
                      <a:pt x="15698" y="34189"/>
                    </a:lnTo>
                    <a:lnTo>
                      <a:pt x="16116" y="35847"/>
                    </a:lnTo>
                    <a:lnTo>
                      <a:pt x="16325" y="36683"/>
                    </a:lnTo>
                    <a:lnTo>
                      <a:pt x="16505" y="37520"/>
                    </a:lnTo>
                    <a:cubicBezTo>
                      <a:pt x="17535" y="41986"/>
                      <a:pt x="18342" y="46511"/>
                      <a:pt x="18879" y="51052"/>
                    </a:cubicBezTo>
                    <a:lnTo>
                      <a:pt x="19088" y="51022"/>
                    </a:lnTo>
                    <a:cubicBezTo>
                      <a:pt x="18536" y="46466"/>
                      <a:pt x="17729" y="41941"/>
                      <a:pt x="16684" y="37490"/>
                    </a:cubicBezTo>
                    <a:lnTo>
                      <a:pt x="16505" y="36653"/>
                    </a:lnTo>
                    <a:lnTo>
                      <a:pt x="16295" y="35817"/>
                    </a:lnTo>
                    <a:lnTo>
                      <a:pt x="15862" y="34144"/>
                    </a:lnTo>
                    <a:lnTo>
                      <a:pt x="15414" y="32471"/>
                    </a:lnTo>
                    <a:lnTo>
                      <a:pt x="15175" y="31650"/>
                    </a:lnTo>
                    <a:lnTo>
                      <a:pt x="14936" y="30828"/>
                    </a:lnTo>
                    <a:lnTo>
                      <a:pt x="14443" y="29186"/>
                    </a:lnTo>
                    <a:lnTo>
                      <a:pt x="13921" y="27558"/>
                    </a:lnTo>
                    <a:cubicBezTo>
                      <a:pt x="13741" y="27005"/>
                      <a:pt x="13562" y="26452"/>
                      <a:pt x="13368" y="25915"/>
                    </a:cubicBezTo>
                    <a:cubicBezTo>
                      <a:pt x="13189" y="25377"/>
                      <a:pt x="13010" y="24839"/>
                      <a:pt x="12800" y="24302"/>
                    </a:cubicBezTo>
                    <a:cubicBezTo>
                      <a:pt x="11247" y="19985"/>
                      <a:pt x="9425" y="15758"/>
                      <a:pt x="7349" y="11681"/>
                    </a:cubicBezTo>
                    <a:cubicBezTo>
                      <a:pt x="6303" y="9649"/>
                      <a:pt x="5183" y="7648"/>
                      <a:pt x="3988" y="5676"/>
                    </a:cubicBezTo>
                    <a:cubicBezTo>
                      <a:pt x="3391" y="4706"/>
                      <a:pt x="2779" y="3735"/>
                      <a:pt x="2136" y="2779"/>
                    </a:cubicBezTo>
                    <a:cubicBezTo>
                      <a:pt x="1494" y="1838"/>
                      <a:pt x="822" y="897"/>
                      <a:pt x="120" y="1"/>
                    </a:cubicBez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17"/>
              <p:cNvSpPr/>
              <p:nvPr/>
            </p:nvSpPr>
            <p:spPr>
              <a:xfrm>
                <a:off x="3347884" y="3087985"/>
                <a:ext cx="723722" cy="239515"/>
              </a:xfrm>
              <a:custGeom>
                <a:avLst/>
                <a:gdLst/>
                <a:ahLst/>
                <a:cxnLst/>
                <a:rect l="l" t="t" r="r" b="b"/>
                <a:pathLst>
                  <a:path w="22928" h="7588" fill="none" extrusionOk="0">
                    <a:moveTo>
                      <a:pt x="22927" y="7587"/>
                    </a:moveTo>
                    <a:cubicBezTo>
                      <a:pt x="22927" y="7587"/>
                      <a:pt x="11785" y="0"/>
                      <a:pt x="1" y="227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17"/>
              <p:cNvSpPr/>
              <p:nvPr/>
            </p:nvSpPr>
            <p:spPr>
              <a:xfrm>
                <a:off x="4023470" y="2831962"/>
                <a:ext cx="318270" cy="431430"/>
              </a:xfrm>
              <a:custGeom>
                <a:avLst/>
                <a:gdLst/>
                <a:ahLst/>
                <a:cxnLst/>
                <a:rect l="l" t="t" r="r" b="b"/>
                <a:pathLst>
                  <a:path w="10083" h="13668" extrusionOk="0">
                    <a:moveTo>
                      <a:pt x="9933" y="3376"/>
                    </a:moveTo>
                    <a:cubicBezTo>
                      <a:pt x="9933" y="3376"/>
                      <a:pt x="9933" y="3376"/>
                      <a:pt x="9933" y="3376"/>
                    </a:cubicBezTo>
                    <a:lnTo>
                      <a:pt x="9933" y="3376"/>
                    </a:lnTo>
                    <a:lnTo>
                      <a:pt x="9933" y="3376"/>
                    </a:lnTo>
                    <a:close/>
                    <a:moveTo>
                      <a:pt x="9739" y="1"/>
                    </a:moveTo>
                    <a:lnTo>
                      <a:pt x="9739" y="1"/>
                    </a:lnTo>
                    <a:cubicBezTo>
                      <a:pt x="6976" y="270"/>
                      <a:pt x="4526" y="1987"/>
                      <a:pt x="4526" y="1987"/>
                    </a:cubicBezTo>
                    <a:lnTo>
                      <a:pt x="4467" y="1300"/>
                    </a:lnTo>
                    <a:cubicBezTo>
                      <a:pt x="2420" y="3048"/>
                      <a:pt x="1450" y="5751"/>
                      <a:pt x="1450" y="5751"/>
                    </a:cubicBezTo>
                    <a:lnTo>
                      <a:pt x="1151" y="5333"/>
                    </a:lnTo>
                    <a:lnTo>
                      <a:pt x="1151" y="5333"/>
                    </a:lnTo>
                    <a:cubicBezTo>
                      <a:pt x="1" y="9859"/>
                      <a:pt x="2764" y="13667"/>
                      <a:pt x="2764" y="13667"/>
                    </a:cubicBezTo>
                    <a:cubicBezTo>
                      <a:pt x="6811" y="12174"/>
                      <a:pt x="8798" y="7858"/>
                      <a:pt x="8798" y="7857"/>
                    </a:cubicBezTo>
                    <a:lnTo>
                      <a:pt x="8798" y="7857"/>
                    </a:lnTo>
                    <a:lnTo>
                      <a:pt x="8006" y="8260"/>
                    </a:lnTo>
                    <a:cubicBezTo>
                      <a:pt x="9406" y="6444"/>
                      <a:pt x="9915" y="3397"/>
                      <a:pt x="9933" y="3376"/>
                    </a:cubicBezTo>
                    <a:lnTo>
                      <a:pt x="9933" y="3376"/>
                    </a:lnTo>
                    <a:lnTo>
                      <a:pt x="9395" y="3705"/>
                    </a:lnTo>
                    <a:cubicBezTo>
                      <a:pt x="10082" y="1853"/>
                      <a:pt x="9739" y="1"/>
                      <a:pt x="9739"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17"/>
              <p:cNvSpPr/>
              <p:nvPr/>
            </p:nvSpPr>
            <p:spPr>
              <a:xfrm>
                <a:off x="4090893" y="2884296"/>
                <a:ext cx="194756" cy="513436"/>
              </a:xfrm>
              <a:custGeom>
                <a:avLst/>
                <a:gdLst/>
                <a:ahLst/>
                <a:cxnLst/>
                <a:rect l="l" t="t" r="r" b="b"/>
                <a:pathLst>
                  <a:path w="6170" h="16266" fill="none" extrusionOk="0">
                    <a:moveTo>
                      <a:pt x="180" y="16266"/>
                    </a:moveTo>
                    <a:cubicBezTo>
                      <a:pt x="180" y="16266"/>
                      <a:pt x="1" y="6334"/>
                      <a:pt x="616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1016;p17"/>
              <p:cNvSpPr/>
              <p:nvPr/>
            </p:nvSpPr>
            <p:spPr>
              <a:xfrm>
                <a:off x="3751443" y="3534914"/>
                <a:ext cx="495065" cy="419625"/>
              </a:xfrm>
              <a:custGeom>
                <a:avLst/>
                <a:gdLst/>
                <a:ahLst/>
                <a:cxnLst/>
                <a:rect l="l" t="t" r="r" b="b"/>
                <a:pathLst>
                  <a:path w="15684" h="13294" fill="none" extrusionOk="0">
                    <a:moveTo>
                      <a:pt x="1" y="0"/>
                    </a:moveTo>
                    <a:cubicBezTo>
                      <a:pt x="1" y="0"/>
                      <a:pt x="13368" y="6781"/>
                      <a:pt x="15683" y="1329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1017;p17"/>
              <p:cNvSpPr/>
              <p:nvPr/>
            </p:nvSpPr>
            <p:spPr>
              <a:xfrm>
                <a:off x="4225265" y="3427404"/>
                <a:ext cx="260727" cy="608699"/>
              </a:xfrm>
              <a:custGeom>
                <a:avLst/>
                <a:gdLst/>
                <a:ahLst/>
                <a:cxnLst/>
                <a:rect l="l" t="t" r="r" b="b"/>
                <a:pathLst>
                  <a:path w="8260" h="19284" fill="none" extrusionOk="0">
                    <a:moveTo>
                      <a:pt x="8260" y="1"/>
                    </a:moveTo>
                    <a:cubicBezTo>
                      <a:pt x="8260" y="1"/>
                      <a:pt x="0" y="12502"/>
                      <a:pt x="1180" y="1928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1018;p17"/>
              <p:cNvSpPr/>
              <p:nvPr/>
            </p:nvSpPr>
            <p:spPr>
              <a:xfrm>
                <a:off x="3786827" y="3358119"/>
                <a:ext cx="384714" cy="273479"/>
              </a:xfrm>
              <a:custGeom>
                <a:avLst/>
                <a:gdLst/>
                <a:ahLst/>
                <a:cxnLst/>
                <a:rect l="l" t="t" r="r" b="b"/>
                <a:pathLst>
                  <a:path w="12188" h="8664" fill="none" extrusionOk="0">
                    <a:moveTo>
                      <a:pt x="12188" y="8663"/>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1019;p17"/>
              <p:cNvSpPr/>
              <p:nvPr/>
            </p:nvSpPr>
            <p:spPr>
              <a:xfrm>
                <a:off x="3934835" y="3380751"/>
                <a:ext cx="22664" cy="98546"/>
              </a:xfrm>
              <a:custGeom>
                <a:avLst/>
                <a:gdLst/>
                <a:ahLst/>
                <a:cxnLst/>
                <a:rect l="l" t="t" r="r" b="b"/>
                <a:pathLst>
                  <a:path w="718" h="3122" fill="none" extrusionOk="0">
                    <a:moveTo>
                      <a:pt x="1" y="0"/>
                    </a:moveTo>
                    <a:lnTo>
                      <a:pt x="718" y="312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1020;p17"/>
              <p:cNvSpPr/>
              <p:nvPr/>
            </p:nvSpPr>
            <p:spPr>
              <a:xfrm>
                <a:off x="4149824" y="3259099"/>
                <a:ext cx="148545" cy="298479"/>
              </a:xfrm>
              <a:custGeom>
                <a:avLst/>
                <a:gdLst/>
                <a:ahLst/>
                <a:cxnLst/>
                <a:rect l="l" t="t" r="r" b="b"/>
                <a:pathLst>
                  <a:path w="4706" h="9456" fill="none" extrusionOk="0">
                    <a:moveTo>
                      <a:pt x="1" y="9455"/>
                    </a:moveTo>
                    <a:cubicBezTo>
                      <a:pt x="1" y="9455"/>
                      <a:pt x="2286" y="2420"/>
                      <a:pt x="4705"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1021;p17"/>
              <p:cNvSpPr/>
              <p:nvPr/>
            </p:nvSpPr>
            <p:spPr>
              <a:xfrm>
                <a:off x="4182841" y="3523582"/>
                <a:ext cx="68370" cy="149965"/>
              </a:xfrm>
              <a:custGeom>
                <a:avLst/>
                <a:gdLst/>
                <a:ahLst/>
                <a:cxnLst/>
                <a:rect l="l" t="t" r="r" b="b"/>
                <a:pathLst>
                  <a:path w="2166" h="4751" fill="none" extrusionOk="0">
                    <a:moveTo>
                      <a:pt x="0" y="4750"/>
                    </a:moveTo>
                    <a:lnTo>
                      <a:pt x="2166"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1022;p17"/>
              <p:cNvSpPr/>
              <p:nvPr/>
            </p:nvSpPr>
            <p:spPr>
              <a:xfrm>
                <a:off x="4212071" y="3533494"/>
                <a:ext cx="11805" cy="50472"/>
              </a:xfrm>
              <a:custGeom>
                <a:avLst/>
                <a:gdLst/>
                <a:ahLst/>
                <a:cxnLst/>
                <a:rect l="l" t="t" r="r" b="b"/>
                <a:pathLst>
                  <a:path w="374" h="1599" fill="none" extrusionOk="0">
                    <a:moveTo>
                      <a:pt x="0" y="0"/>
                    </a:moveTo>
                    <a:lnTo>
                      <a:pt x="374"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17"/>
              <p:cNvSpPr/>
              <p:nvPr/>
            </p:nvSpPr>
            <p:spPr>
              <a:xfrm>
                <a:off x="3668963" y="3201588"/>
                <a:ext cx="138160" cy="48137"/>
              </a:xfrm>
              <a:custGeom>
                <a:avLst/>
                <a:gdLst/>
                <a:ahLst/>
                <a:cxnLst/>
                <a:rect l="l" t="t" r="r" b="b"/>
                <a:pathLst>
                  <a:path w="4377" h="1525" fill="none" extrusionOk="0">
                    <a:moveTo>
                      <a:pt x="4376" y="1"/>
                    </a:moveTo>
                    <a:lnTo>
                      <a:pt x="0"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17"/>
              <p:cNvSpPr/>
              <p:nvPr/>
            </p:nvSpPr>
            <p:spPr>
              <a:xfrm>
                <a:off x="4101751" y="3068636"/>
                <a:ext cx="28314" cy="98577"/>
              </a:xfrm>
              <a:custGeom>
                <a:avLst/>
                <a:gdLst/>
                <a:ahLst/>
                <a:cxnLst/>
                <a:rect l="l" t="t" r="r" b="b"/>
                <a:pathLst>
                  <a:path w="897" h="3123" fill="none" extrusionOk="0">
                    <a:moveTo>
                      <a:pt x="896" y="312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17"/>
              <p:cNvSpPr/>
              <p:nvPr/>
            </p:nvSpPr>
            <p:spPr>
              <a:xfrm>
                <a:off x="4178580" y="3003107"/>
                <a:ext cx="91033" cy="35384"/>
              </a:xfrm>
              <a:custGeom>
                <a:avLst/>
                <a:gdLst/>
                <a:ahLst/>
                <a:cxnLst/>
                <a:rect l="l" t="t" r="r" b="b"/>
                <a:pathLst>
                  <a:path w="2884" h="1121" fill="none" extrusionOk="0">
                    <a:moveTo>
                      <a:pt x="2883" y="1"/>
                    </a:moveTo>
                    <a:lnTo>
                      <a:pt x="1" y="112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17"/>
              <p:cNvSpPr/>
              <p:nvPr/>
            </p:nvSpPr>
            <p:spPr>
              <a:xfrm>
                <a:off x="4309638" y="3719727"/>
                <a:ext cx="96210" cy="48105"/>
              </a:xfrm>
              <a:custGeom>
                <a:avLst/>
                <a:gdLst/>
                <a:ahLst/>
                <a:cxnLst/>
                <a:rect l="l" t="t" r="r" b="b"/>
                <a:pathLst>
                  <a:path w="3048" h="1524" fill="none" extrusionOk="0">
                    <a:moveTo>
                      <a:pt x="3048" y="0"/>
                    </a:moveTo>
                    <a:lnTo>
                      <a:pt x="1"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17"/>
              <p:cNvSpPr/>
              <p:nvPr/>
            </p:nvSpPr>
            <p:spPr>
              <a:xfrm>
                <a:off x="4368570" y="3540091"/>
                <a:ext cx="14173" cy="66034"/>
              </a:xfrm>
              <a:custGeom>
                <a:avLst/>
                <a:gdLst/>
                <a:ahLst/>
                <a:cxnLst/>
                <a:rect l="l" t="t" r="r" b="b"/>
                <a:pathLst>
                  <a:path w="449" h="2092" fill="none" extrusionOk="0">
                    <a:moveTo>
                      <a:pt x="1" y="1"/>
                    </a:moveTo>
                    <a:lnTo>
                      <a:pt x="449" y="20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17"/>
              <p:cNvSpPr/>
              <p:nvPr/>
            </p:nvSpPr>
            <p:spPr>
              <a:xfrm>
                <a:off x="3969746" y="3756500"/>
                <a:ext cx="130616" cy="10385"/>
              </a:xfrm>
              <a:custGeom>
                <a:avLst/>
                <a:gdLst/>
                <a:ahLst/>
                <a:cxnLst/>
                <a:rect l="l" t="t" r="r" b="b"/>
                <a:pathLst>
                  <a:path w="4138" h="329" fill="none" extrusionOk="0">
                    <a:moveTo>
                      <a:pt x="4137" y="329"/>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9" name="Google Shape;1029;p17"/>
              <p:cNvSpPr/>
              <p:nvPr/>
            </p:nvSpPr>
            <p:spPr>
              <a:xfrm>
                <a:off x="3956994" y="3585355"/>
                <a:ext cx="19854" cy="86299"/>
              </a:xfrm>
              <a:custGeom>
                <a:avLst/>
                <a:gdLst/>
                <a:ahLst/>
                <a:cxnLst/>
                <a:rect l="l" t="t" r="r" b="b"/>
                <a:pathLst>
                  <a:path w="629" h="2734" fill="none" extrusionOk="0">
                    <a:moveTo>
                      <a:pt x="1" y="0"/>
                    </a:moveTo>
                    <a:lnTo>
                      <a:pt x="628" y="273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0" name="Google Shape;1030;p17"/>
              <p:cNvSpPr/>
              <p:nvPr/>
            </p:nvSpPr>
            <p:spPr>
              <a:xfrm>
                <a:off x="3783513" y="2922490"/>
                <a:ext cx="124966" cy="38225"/>
              </a:xfrm>
              <a:custGeom>
                <a:avLst/>
                <a:gdLst/>
                <a:ahLst/>
                <a:cxnLst/>
                <a:rect l="l" t="t" r="r" b="b"/>
                <a:pathLst>
                  <a:path w="3959" h="1211" fill="none" extrusionOk="0">
                    <a:moveTo>
                      <a:pt x="3958" y="1210"/>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1" name="Google Shape;1031;p17"/>
              <p:cNvSpPr/>
              <p:nvPr/>
            </p:nvSpPr>
            <p:spPr>
              <a:xfrm>
                <a:off x="3824042" y="2697621"/>
                <a:ext cx="32102" cy="111740"/>
              </a:xfrm>
              <a:custGeom>
                <a:avLst/>
                <a:gdLst/>
                <a:ahLst/>
                <a:cxnLst/>
                <a:rect l="l" t="t" r="r" b="b"/>
                <a:pathLst>
                  <a:path w="1017" h="3540" fill="none" extrusionOk="0">
                    <a:moveTo>
                      <a:pt x="1017" y="0"/>
                    </a:moveTo>
                    <a:lnTo>
                      <a:pt x="1" y="354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32" name="Google Shape;1032;p17"/>
            <p:cNvGrpSpPr/>
            <p:nvPr/>
          </p:nvGrpSpPr>
          <p:grpSpPr>
            <a:xfrm rot="1800215" flipH="1">
              <a:off x="-542037" y="1533537"/>
              <a:ext cx="1188735" cy="1233054"/>
              <a:chOff x="8299600" y="8319350"/>
              <a:chExt cx="843525" cy="854575"/>
            </a:xfrm>
          </p:grpSpPr>
          <p:sp>
            <p:nvSpPr>
              <p:cNvPr id="1033" name="Google Shape;1033;p17"/>
              <p:cNvSpPr/>
              <p:nvPr/>
            </p:nvSpPr>
            <p:spPr>
              <a:xfrm>
                <a:off x="8357475" y="8368475"/>
                <a:ext cx="729275" cy="805450"/>
              </a:xfrm>
              <a:custGeom>
                <a:avLst/>
                <a:gdLst/>
                <a:ahLst/>
                <a:cxnLst/>
                <a:rect l="l" t="t" r="r" b="b"/>
                <a:pathLst>
                  <a:path w="29171" h="32218" fill="none" extrusionOk="0">
                    <a:moveTo>
                      <a:pt x="12457" y="20104"/>
                    </a:moveTo>
                    <a:cubicBezTo>
                      <a:pt x="12457" y="20104"/>
                      <a:pt x="4168" y="19596"/>
                      <a:pt x="1" y="16848"/>
                    </a:cubicBezTo>
                    <a:moveTo>
                      <a:pt x="21389" y="1225"/>
                    </a:moveTo>
                    <a:cubicBezTo>
                      <a:pt x="17356" y="7648"/>
                      <a:pt x="11263" y="12711"/>
                      <a:pt x="11263" y="12711"/>
                    </a:cubicBezTo>
                    <a:cubicBezTo>
                      <a:pt x="11263" y="12711"/>
                      <a:pt x="5512" y="7797"/>
                      <a:pt x="4840" y="5109"/>
                    </a:cubicBezTo>
                    <a:moveTo>
                      <a:pt x="16550" y="32217"/>
                    </a:moveTo>
                    <a:cubicBezTo>
                      <a:pt x="16550" y="32217"/>
                      <a:pt x="10471" y="22210"/>
                      <a:pt x="10620" y="1"/>
                    </a:cubicBezTo>
                    <a:moveTo>
                      <a:pt x="16400" y="7708"/>
                    </a:moveTo>
                    <a:lnTo>
                      <a:pt x="16729" y="2868"/>
                    </a:lnTo>
                    <a:moveTo>
                      <a:pt x="3093" y="8454"/>
                    </a:moveTo>
                    <a:lnTo>
                      <a:pt x="7155" y="8678"/>
                    </a:lnTo>
                    <a:moveTo>
                      <a:pt x="29171" y="12711"/>
                    </a:moveTo>
                    <a:cubicBezTo>
                      <a:pt x="25885" y="17102"/>
                      <a:pt x="18969" y="17252"/>
                      <a:pt x="18969" y="17252"/>
                    </a:cubicBezTo>
                    <a:cubicBezTo>
                      <a:pt x="18969" y="17252"/>
                      <a:pt x="18267" y="15848"/>
                      <a:pt x="18088" y="13667"/>
                    </a:cubicBezTo>
                    <a:moveTo>
                      <a:pt x="13115" y="22897"/>
                    </a:moveTo>
                    <a:cubicBezTo>
                      <a:pt x="13115" y="22897"/>
                      <a:pt x="20777" y="16475"/>
                      <a:pt x="23047" y="11621"/>
                    </a:cubicBezTo>
                    <a:moveTo>
                      <a:pt x="3899" y="18581"/>
                    </a:moveTo>
                    <a:cubicBezTo>
                      <a:pt x="3899" y="18581"/>
                      <a:pt x="2958" y="20194"/>
                      <a:pt x="1091" y="20806"/>
                    </a:cubicBezTo>
                    <a:moveTo>
                      <a:pt x="5886" y="19104"/>
                    </a:moveTo>
                    <a:cubicBezTo>
                      <a:pt x="5886" y="19104"/>
                      <a:pt x="5945" y="17744"/>
                      <a:pt x="5378" y="16101"/>
                    </a:cubicBezTo>
                  </a:path>
                </a:pathLst>
              </a:custGeom>
              <a:noFill/>
              <a:ln w="95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4" name="Google Shape;1034;p17"/>
              <p:cNvSpPr/>
              <p:nvPr/>
            </p:nvSpPr>
            <p:spPr>
              <a:xfrm>
                <a:off x="8434775" y="8445025"/>
                <a:ext cx="79550" cy="79550"/>
              </a:xfrm>
              <a:custGeom>
                <a:avLst/>
                <a:gdLst/>
                <a:ahLst/>
                <a:cxnLst/>
                <a:rect l="l" t="t" r="r" b="b"/>
                <a:pathLst>
                  <a:path w="3182" h="3182" extrusionOk="0">
                    <a:moveTo>
                      <a:pt x="1584" y="0"/>
                    </a:moveTo>
                    <a:cubicBezTo>
                      <a:pt x="718" y="0"/>
                      <a:pt x="1" y="702"/>
                      <a:pt x="1" y="1584"/>
                    </a:cubicBezTo>
                    <a:cubicBezTo>
                      <a:pt x="1" y="2465"/>
                      <a:pt x="718" y="3182"/>
                      <a:pt x="1584" y="3182"/>
                    </a:cubicBezTo>
                    <a:cubicBezTo>
                      <a:pt x="2465" y="3182"/>
                      <a:pt x="3182" y="2465"/>
                      <a:pt x="3182" y="1584"/>
                    </a:cubicBezTo>
                    <a:cubicBezTo>
                      <a:pt x="3182" y="702"/>
                      <a:pt x="2465" y="0"/>
                      <a:pt x="158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5" name="Google Shape;1035;p17"/>
              <p:cNvSpPr/>
              <p:nvPr/>
            </p:nvSpPr>
            <p:spPr>
              <a:xfrm>
                <a:off x="8467825" y="8454450"/>
                <a:ext cx="49500" cy="56075"/>
              </a:xfrm>
              <a:custGeom>
                <a:avLst/>
                <a:gdLst/>
                <a:ahLst/>
                <a:cxnLst/>
                <a:rect l="l" t="t" r="r" b="b"/>
                <a:pathLst>
                  <a:path w="1980" h="2243" extrusionOk="0">
                    <a:moveTo>
                      <a:pt x="804" y="1"/>
                    </a:moveTo>
                    <a:cubicBezTo>
                      <a:pt x="590" y="1"/>
                      <a:pt x="426" y="146"/>
                      <a:pt x="426" y="146"/>
                    </a:cubicBezTo>
                    <a:cubicBezTo>
                      <a:pt x="0" y="622"/>
                      <a:pt x="467" y="2243"/>
                      <a:pt x="1008" y="2243"/>
                    </a:cubicBezTo>
                    <a:cubicBezTo>
                      <a:pt x="1112" y="2243"/>
                      <a:pt x="1219" y="2183"/>
                      <a:pt x="1322" y="2043"/>
                    </a:cubicBezTo>
                    <a:cubicBezTo>
                      <a:pt x="1979" y="1192"/>
                      <a:pt x="1292" y="191"/>
                      <a:pt x="994" y="42"/>
                    </a:cubicBezTo>
                    <a:cubicBezTo>
                      <a:pt x="928" y="12"/>
                      <a:pt x="864" y="1"/>
                      <a:pt x="804"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6" name="Google Shape;1036;p17"/>
              <p:cNvSpPr/>
              <p:nvPr/>
            </p:nvSpPr>
            <p:spPr>
              <a:xfrm>
                <a:off x="8459050" y="8473400"/>
                <a:ext cx="19450" cy="20575"/>
              </a:xfrm>
              <a:custGeom>
                <a:avLst/>
                <a:gdLst/>
                <a:ahLst/>
                <a:cxnLst/>
                <a:rect l="l" t="t" r="r" b="b"/>
                <a:pathLst>
                  <a:path w="778" h="823" extrusionOk="0">
                    <a:moveTo>
                      <a:pt x="389" y="1"/>
                    </a:moveTo>
                    <a:cubicBezTo>
                      <a:pt x="165" y="1"/>
                      <a:pt x="0" y="180"/>
                      <a:pt x="0" y="404"/>
                    </a:cubicBezTo>
                    <a:cubicBezTo>
                      <a:pt x="0" y="643"/>
                      <a:pt x="165" y="822"/>
                      <a:pt x="389" y="822"/>
                    </a:cubicBezTo>
                    <a:cubicBezTo>
                      <a:pt x="598" y="822"/>
                      <a:pt x="777" y="643"/>
                      <a:pt x="777" y="404"/>
                    </a:cubicBezTo>
                    <a:cubicBezTo>
                      <a:pt x="777" y="180"/>
                      <a:pt x="598" y="1"/>
                      <a:pt x="38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7" name="Google Shape;1037;p17"/>
              <p:cNvSpPr/>
              <p:nvPr/>
            </p:nvSpPr>
            <p:spPr>
              <a:xfrm>
                <a:off x="8358600" y="8529550"/>
                <a:ext cx="88150" cy="79625"/>
              </a:xfrm>
              <a:custGeom>
                <a:avLst/>
                <a:gdLst/>
                <a:ahLst/>
                <a:cxnLst/>
                <a:rect l="l" t="t" r="r" b="b"/>
                <a:pathLst>
                  <a:path w="3526" h="3185" extrusionOk="0">
                    <a:moveTo>
                      <a:pt x="1759" y="1"/>
                    </a:moveTo>
                    <a:cubicBezTo>
                      <a:pt x="1623" y="1"/>
                      <a:pt x="1484" y="18"/>
                      <a:pt x="1345" y="55"/>
                    </a:cubicBezTo>
                    <a:cubicBezTo>
                      <a:pt x="494" y="279"/>
                      <a:pt x="1" y="1160"/>
                      <a:pt x="225" y="2011"/>
                    </a:cubicBezTo>
                    <a:cubicBezTo>
                      <a:pt x="413" y="2714"/>
                      <a:pt x="1065" y="3184"/>
                      <a:pt x="1773" y="3184"/>
                    </a:cubicBezTo>
                    <a:cubicBezTo>
                      <a:pt x="1908" y="3184"/>
                      <a:pt x="2045" y="3167"/>
                      <a:pt x="2181" y="3131"/>
                    </a:cubicBezTo>
                    <a:cubicBezTo>
                      <a:pt x="3033" y="2893"/>
                      <a:pt x="3526" y="2026"/>
                      <a:pt x="3302" y="1175"/>
                    </a:cubicBezTo>
                    <a:cubicBezTo>
                      <a:pt x="3101" y="462"/>
                      <a:pt x="2462" y="1"/>
                      <a:pt x="175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8" name="Google Shape;1038;p17"/>
              <p:cNvSpPr/>
              <p:nvPr/>
            </p:nvSpPr>
            <p:spPr>
              <a:xfrm>
                <a:off x="8378775" y="8535750"/>
                <a:ext cx="59850" cy="34750"/>
              </a:xfrm>
              <a:custGeom>
                <a:avLst/>
                <a:gdLst/>
                <a:ahLst/>
                <a:cxnLst/>
                <a:rect l="l" t="t" r="r" b="b"/>
                <a:pathLst>
                  <a:path w="2394" h="1390" extrusionOk="0">
                    <a:moveTo>
                      <a:pt x="892" y="1"/>
                    </a:moveTo>
                    <a:cubicBezTo>
                      <a:pt x="607" y="1"/>
                      <a:pt x="367" y="70"/>
                      <a:pt x="269" y="150"/>
                    </a:cubicBezTo>
                    <a:cubicBezTo>
                      <a:pt x="0" y="359"/>
                      <a:pt x="105" y="718"/>
                      <a:pt x="105" y="718"/>
                    </a:cubicBezTo>
                    <a:cubicBezTo>
                      <a:pt x="246" y="1109"/>
                      <a:pt x="1020" y="1389"/>
                      <a:pt x="1599" y="1389"/>
                    </a:cubicBezTo>
                    <a:cubicBezTo>
                      <a:pt x="2058" y="1389"/>
                      <a:pt x="2394" y="1213"/>
                      <a:pt x="2196" y="778"/>
                    </a:cubicBezTo>
                    <a:cubicBezTo>
                      <a:pt x="1920" y="179"/>
                      <a:pt x="1349" y="1"/>
                      <a:pt x="89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9" name="Google Shape;1039;p17"/>
              <p:cNvSpPr/>
              <p:nvPr/>
            </p:nvSpPr>
            <p:spPr>
              <a:xfrm>
                <a:off x="8387725" y="8563975"/>
                <a:ext cx="23175" cy="19300"/>
              </a:xfrm>
              <a:custGeom>
                <a:avLst/>
                <a:gdLst/>
                <a:ahLst/>
                <a:cxnLst/>
                <a:rect l="l" t="t" r="r" b="b"/>
                <a:pathLst>
                  <a:path w="927" h="772" extrusionOk="0">
                    <a:moveTo>
                      <a:pt x="422" y="1"/>
                    </a:moveTo>
                    <a:cubicBezTo>
                      <a:pt x="285" y="1"/>
                      <a:pt x="161" y="71"/>
                      <a:pt x="90" y="201"/>
                    </a:cubicBezTo>
                    <a:cubicBezTo>
                      <a:pt x="1" y="380"/>
                      <a:pt x="90" y="619"/>
                      <a:pt x="285" y="724"/>
                    </a:cubicBezTo>
                    <a:cubicBezTo>
                      <a:pt x="345" y="757"/>
                      <a:pt x="411" y="772"/>
                      <a:pt x="477" y="772"/>
                    </a:cubicBezTo>
                    <a:cubicBezTo>
                      <a:pt x="621" y="772"/>
                      <a:pt x="761" y="698"/>
                      <a:pt x="822" y="575"/>
                    </a:cubicBezTo>
                    <a:cubicBezTo>
                      <a:pt x="927" y="395"/>
                      <a:pt x="837" y="156"/>
                      <a:pt x="628" y="52"/>
                    </a:cubicBezTo>
                    <a:cubicBezTo>
                      <a:pt x="559" y="18"/>
                      <a:pt x="489" y="1"/>
                      <a:pt x="42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0" name="Google Shape;1040;p17"/>
              <p:cNvSpPr/>
              <p:nvPr/>
            </p:nvSpPr>
            <p:spPr>
              <a:xfrm>
                <a:off x="8583400" y="8319350"/>
                <a:ext cx="87750" cy="79600"/>
              </a:xfrm>
              <a:custGeom>
                <a:avLst/>
                <a:gdLst/>
                <a:ahLst/>
                <a:cxnLst/>
                <a:rect l="l" t="t" r="r" b="b"/>
                <a:pathLst>
                  <a:path w="3510" h="3184" extrusionOk="0">
                    <a:moveTo>
                      <a:pt x="1744" y="1"/>
                    </a:moveTo>
                    <a:cubicBezTo>
                      <a:pt x="1039" y="1"/>
                      <a:pt x="397" y="474"/>
                      <a:pt x="209" y="1189"/>
                    </a:cubicBezTo>
                    <a:cubicBezTo>
                      <a:pt x="0" y="2040"/>
                      <a:pt x="508" y="2907"/>
                      <a:pt x="1359" y="3131"/>
                    </a:cubicBezTo>
                    <a:cubicBezTo>
                      <a:pt x="1495" y="3166"/>
                      <a:pt x="1631" y="3184"/>
                      <a:pt x="1765" y="3184"/>
                    </a:cubicBezTo>
                    <a:cubicBezTo>
                      <a:pt x="2467" y="3184"/>
                      <a:pt x="3098" y="2711"/>
                      <a:pt x="3286" y="1995"/>
                    </a:cubicBezTo>
                    <a:cubicBezTo>
                      <a:pt x="3510" y="1144"/>
                      <a:pt x="3002" y="278"/>
                      <a:pt x="2151" y="54"/>
                    </a:cubicBezTo>
                    <a:cubicBezTo>
                      <a:pt x="2015" y="18"/>
                      <a:pt x="1878" y="1"/>
                      <a:pt x="1744"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p17"/>
              <p:cNvSpPr/>
              <p:nvPr/>
            </p:nvSpPr>
            <p:spPr>
              <a:xfrm>
                <a:off x="8623400" y="8332800"/>
                <a:ext cx="44775" cy="56550"/>
              </a:xfrm>
              <a:custGeom>
                <a:avLst/>
                <a:gdLst/>
                <a:ahLst/>
                <a:cxnLst/>
                <a:rect l="l" t="t" r="r" b="b"/>
                <a:pathLst>
                  <a:path w="1791" h="2262" extrusionOk="0">
                    <a:moveTo>
                      <a:pt x="827" y="1"/>
                    </a:moveTo>
                    <a:cubicBezTo>
                      <a:pt x="675" y="1"/>
                      <a:pt x="551" y="68"/>
                      <a:pt x="551" y="68"/>
                    </a:cubicBezTo>
                    <a:cubicBezTo>
                      <a:pt x="1" y="435"/>
                      <a:pt x="71" y="2261"/>
                      <a:pt x="661" y="2261"/>
                    </a:cubicBezTo>
                    <a:cubicBezTo>
                      <a:pt x="743" y="2261"/>
                      <a:pt x="836" y="2225"/>
                      <a:pt x="939" y="2145"/>
                    </a:cubicBezTo>
                    <a:cubicBezTo>
                      <a:pt x="1791" y="1472"/>
                      <a:pt x="1387" y="322"/>
                      <a:pt x="1118" y="113"/>
                    </a:cubicBezTo>
                    <a:cubicBezTo>
                      <a:pt x="1026" y="27"/>
                      <a:pt x="921" y="1"/>
                      <a:pt x="82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2" name="Google Shape;1042;p17"/>
              <p:cNvSpPr/>
              <p:nvPr/>
            </p:nvSpPr>
            <p:spPr>
              <a:xfrm>
                <a:off x="8611400" y="8346475"/>
                <a:ext cx="20925" cy="20525"/>
              </a:xfrm>
              <a:custGeom>
                <a:avLst/>
                <a:gdLst/>
                <a:ahLst/>
                <a:cxnLst/>
                <a:rect l="l" t="t" r="r" b="b"/>
                <a:pathLst>
                  <a:path w="837" h="821" extrusionOk="0">
                    <a:moveTo>
                      <a:pt x="423" y="0"/>
                    </a:moveTo>
                    <a:cubicBezTo>
                      <a:pt x="251" y="0"/>
                      <a:pt x="98" y="125"/>
                      <a:pt x="60" y="313"/>
                    </a:cubicBezTo>
                    <a:cubicBezTo>
                      <a:pt x="0" y="537"/>
                      <a:pt x="105" y="761"/>
                      <a:pt x="314" y="806"/>
                    </a:cubicBezTo>
                    <a:cubicBezTo>
                      <a:pt x="348" y="816"/>
                      <a:pt x="381" y="820"/>
                      <a:pt x="414" y="820"/>
                    </a:cubicBezTo>
                    <a:cubicBezTo>
                      <a:pt x="586" y="820"/>
                      <a:pt x="739" y="695"/>
                      <a:pt x="777" y="507"/>
                    </a:cubicBezTo>
                    <a:cubicBezTo>
                      <a:pt x="837" y="283"/>
                      <a:pt x="717" y="59"/>
                      <a:pt x="523" y="14"/>
                    </a:cubicBezTo>
                    <a:cubicBezTo>
                      <a:pt x="489" y="5"/>
                      <a:pt x="456" y="0"/>
                      <a:pt x="423"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3" name="Google Shape;1043;p17"/>
              <p:cNvSpPr/>
              <p:nvPr/>
            </p:nvSpPr>
            <p:spPr>
              <a:xfrm>
                <a:off x="8731625" y="8375000"/>
                <a:ext cx="88150" cy="79550"/>
              </a:xfrm>
              <a:custGeom>
                <a:avLst/>
                <a:gdLst/>
                <a:ahLst/>
                <a:cxnLst/>
                <a:rect l="l" t="t" r="r" b="b"/>
                <a:pathLst>
                  <a:path w="3526" h="3182" extrusionOk="0">
                    <a:moveTo>
                      <a:pt x="1760" y="0"/>
                    </a:moveTo>
                    <a:cubicBezTo>
                      <a:pt x="1054" y="0"/>
                      <a:pt x="413" y="473"/>
                      <a:pt x="225" y="1188"/>
                    </a:cubicBezTo>
                    <a:cubicBezTo>
                      <a:pt x="1" y="2040"/>
                      <a:pt x="508" y="2906"/>
                      <a:pt x="1360" y="3130"/>
                    </a:cubicBezTo>
                    <a:cubicBezTo>
                      <a:pt x="1493" y="3165"/>
                      <a:pt x="1627" y="3182"/>
                      <a:pt x="1759" y="3182"/>
                    </a:cubicBezTo>
                    <a:cubicBezTo>
                      <a:pt x="2467" y="3182"/>
                      <a:pt x="3113" y="2698"/>
                      <a:pt x="3301" y="1980"/>
                    </a:cubicBezTo>
                    <a:cubicBezTo>
                      <a:pt x="3525" y="1129"/>
                      <a:pt x="3018" y="277"/>
                      <a:pt x="2166" y="53"/>
                    </a:cubicBezTo>
                    <a:cubicBezTo>
                      <a:pt x="2030" y="17"/>
                      <a:pt x="1894" y="0"/>
                      <a:pt x="176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4" name="Google Shape;1044;p17"/>
              <p:cNvSpPr/>
              <p:nvPr/>
            </p:nvSpPr>
            <p:spPr>
              <a:xfrm>
                <a:off x="8772025" y="8388350"/>
                <a:ext cx="44750" cy="56275"/>
              </a:xfrm>
              <a:custGeom>
                <a:avLst/>
                <a:gdLst/>
                <a:ahLst/>
                <a:cxnLst/>
                <a:rect l="l" t="t" r="r" b="b"/>
                <a:pathLst>
                  <a:path w="1790" h="2251" extrusionOk="0">
                    <a:moveTo>
                      <a:pt x="838" y="0"/>
                    </a:moveTo>
                    <a:cubicBezTo>
                      <a:pt x="681" y="0"/>
                      <a:pt x="550" y="72"/>
                      <a:pt x="550" y="72"/>
                    </a:cubicBezTo>
                    <a:cubicBezTo>
                      <a:pt x="1" y="438"/>
                      <a:pt x="82" y="2250"/>
                      <a:pt x="663" y="2250"/>
                    </a:cubicBezTo>
                    <a:cubicBezTo>
                      <a:pt x="745" y="2250"/>
                      <a:pt x="837" y="2214"/>
                      <a:pt x="939" y="2133"/>
                    </a:cubicBezTo>
                    <a:cubicBezTo>
                      <a:pt x="1790" y="1461"/>
                      <a:pt x="1387" y="326"/>
                      <a:pt x="1118" y="102"/>
                    </a:cubicBezTo>
                    <a:cubicBezTo>
                      <a:pt x="1030" y="25"/>
                      <a:pt x="930" y="0"/>
                      <a:pt x="83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5" name="Google Shape;1045;p17"/>
              <p:cNvSpPr/>
              <p:nvPr/>
            </p:nvSpPr>
            <p:spPr>
              <a:xfrm>
                <a:off x="8760000" y="8401725"/>
                <a:ext cx="20950" cy="20525"/>
              </a:xfrm>
              <a:custGeom>
                <a:avLst/>
                <a:gdLst/>
                <a:ahLst/>
                <a:cxnLst/>
                <a:rect l="l" t="t" r="r" b="b"/>
                <a:pathLst>
                  <a:path w="838" h="821" extrusionOk="0">
                    <a:moveTo>
                      <a:pt x="423" y="1"/>
                    </a:moveTo>
                    <a:cubicBezTo>
                      <a:pt x="251" y="1"/>
                      <a:pt x="96" y="126"/>
                      <a:pt x="46" y="314"/>
                    </a:cubicBezTo>
                    <a:cubicBezTo>
                      <a:pt x="1" y="538"/>
                      <a:pt x="105" y="747"/>
                      <a:pt x="314" y="806"/>
                    </a:cubicBezTo>
                    <a:cubicBezTo>
                      <a:pt x="348" y="816"/>
                      <a:pt x="381" y="821"/>
                      <a:pt x="414" y="821"/>
                    </a:cubicBezTo>
                    <a:cubicBezTo>
                      <a:pt x="582" y="821"/>
                      <a:pt x="727" y="696"/>
                      <a:pt x="777" y="508"/>
                    </a:cubicBezTo>
                    <a:cubicBezTo>
                      <a:pt x="837" y="284"/>
                      <a:pt x="718" y="60"/>
                      <a:pt x="523" y="15"/>
                    </a:cubicBezTo>
                    <a:cubicBezTo>
                      <a:pt x="490" y="5"/>
                      <a:pt x="456" y="1"/>
                      <a:pt x="42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17"/>
              <p:cNvSpPr/>
              <p:nvPr/>
            </p:nvSpPr>
            <p:spPr>
              <a:xfrm>
                <a:off x="8854475" y="8346225"/>
                <a:ext cx="91125" cy="79650"/>
              </a:xfrm>
              <a:custGeom>
                <a:avLst/>
                <a:gdLst/>
                <a:ahLst/>
                <a:cxnLst/>
                <a:rect l="l" t="t" r="r" b="b"/>
                <a:pathLst>
                  <a:path w="3645" h="3186" extrusionOk="0">
                    <a:moveTo>
                      <a:pt x="1821" y="0"/>
                    </a:moveTo>
                    <a:cubicBezTo>
                      <a:pt x="1259" y="0"/>
                      <a:pt x="718" y="297"/>
                      <a:pt x="434" y="816"/>
                    </a:cubicBezTo>
                    <a:cubicBezTo>
                      <a:pt x="0" y="1593"/>
                      <a:pt x="284" y="2563"/>
                      <a:pt x="1046" y="2982"/>
                    </a:cubicBezTo>
                    <a:cubicBezTo>
                      <a:pt x="1294" y="3120"/>
                      <a:pt x="1561" y="3185"/>
                      <a:pt x="1824" y="3185"/>
                    </a:cubicBezTo>
                    <a:cubicBezTo>
                      <a:pt x="2386" y="3185"/>
                      <a:pt x="2927" y="2888"/>
                      <a:pt x="3212" y="2369"/>
                    </a:cubicBezTo>
                    <a:cubicBezTo>
                      <a:pt x="3645" y="1593"/>
                      <a:pt x="3361" y="622"/>
                      <a:pt x="2599" y="204"/>
                    </a:cubicBezTo>
                    <a:cubicBezTo>
                      <a:pt x="2352" y="65"/>
                      <a:pt x="2084" y="0"/>
                      <a:pt x="182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17"/>
              <p:cNvSpPr/>
              <p:nvPr/>
            </p:nvSpPr>
            <p:spPr>
              <a:xfrm>
                <a:off x="8890250" y="8364375"/>
                <a:ext cx="47150" cy="54125"/>
              </a:xfrm>
              <a:custGeom>
                <a:avLst/>
                <a:gdLst/>
                <a:ahLst/>
                <a:cxnLst/>
                <a:rect l="l" t="t" r="r" b="b"/>
                <a:pathLst>
                  <a:path w="1886" h="2165" extrusionOk="0">
                    <a:moveTo>
                      <a:pt x="1172" y="1"/>
                    </a:moveTo>
                    <a:cubicBezTo>
                      <a:pt x="1091" y="1"/>
                      <a:pt x="1034" y="15"/>
                      <a:pt x="1034" y="15"/>
                    </a:cubicBezTo>
                    <a:cubicBezTo>
                      <a:pt x="381" y="247"/>
                      <a:pt x="0" y="2164"/>
                      <a:pt x="672" y="2164"/>
                    </a:cubicBezTo>
                    <a:cubicBezTo>
                      <a:pt x="738" y="2164"/>
                      <a:pt x="813" y="2146"/>
                      <a:pt x="899" y="2106"/>
                    </a:cubicBezTo>
                    <a:cubicBezTo>
                      <a:pt x="1885" y="1673"/>
                      <a:pt x="1766" y="463"/>
                      <a:pt x="1572" y="194"/>
                    </a:cubicBezTo>
                    <a:cubicBezTo>
                      <a:pt x="1464" y="33"/>
                      <a:pt x="1292" y="1"/>
                      <a:pt x="117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17"/>
              <p:cNvSpPr/>
              <p:nvPr/>
            </p:nvSpPr>
            <p:spPr>
              <a:xfrm>
                <a:off x="8883975" y="8372225"/>
                <a:ext cx="22425" cy="20150"/>
              </a:xfrm>
              <a:custGeom>
                <a:avLst/>
                <a:gdLst/>
                <a:ahLst/>
                <a:cxnLst/>
                <a:rect l="l" t="t" r="r" b="b"/>
                <a:pathLst>
                  <a:path w="897" h="806" extrusionOk="0">
                    <a:moveTo>
                      <a:pt x="477" y="1"/>
                    </a:moveTo>
                    <a:cubicBezTo>
                      <a:pt x="337" y="1"/>
                      <a:pt x="194" y="86"/>
                      <a:pt x="120" y="224"/>
                    </a:cubicBezTo>
                    <a:cubicBezTo>
                      <a:pt x="0" y="418"/>
                      <a:pt x="75" y="672"/>
                      <a:pt x="254" y="762"/>
                    </a:cubicBezTo>
                    <a:cubicBezTo>
                      <a:pt x="310" y="792"/>
                      <a:pt x="369" y="806"/>
                      <a:pt x="427" y="806"/>
                    </a:cubicBezTo>
                    <a:cubicBezTo>
                      <a:pt x="569" y="806"/>
                      <a:pt x="707" y="721"/>
                      <a:pt x="792" y="582"/>
                    </a:cubicBezTo>
                    <a:cubicBezTo>
                      <a:pt x="897" y="388"/>
                      <a:pt x="837" y="134"/>
                      <a:pt x="643" y="45"/>
                    </a:cubicBezTo>
                    <a:cubicBezTo>
                      <a:pt x="591" y="15"/>
                      <a:pt x="534" y="1"/>
                      <a:pt x="477"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17"/>
              <p:cNvSpPr/>
              <p:nvPr/>
            </p:nvSpPr>
            <p:spPr>
              <a:xfrm>
                <a:off x="8768975" y="8643200"/>
                <a:ext cx="81425" cy="79325"/>
              </a:xfrm>
              <a:custGeom>
                <a:avLst/>
                <a:gdLst/>
                <a:ahLst/>
                <a:cxnLst/>
                <a:rect l="l" t="t" r="r" b="b"/>
                <a:pathLst>
                  <a:path w="3257" h="3173" extrusionOk="0">
                    <a:moveTo>
                      <a:pt x="1611" y="1"/>
                    </a:moveTo>
                    <a:cubicBezTo>
                      <a:pt x="791" y="1"/>
                      <a:pt x="102" y="653"/>
                      <a:pt x="45" y="1498"/>
                    </a:cubicBezTo>
                    <a:cubicBezTo>
                      <a:pt x="0" y="2379"/>
                      <a:pt x="672" y="3111"/>
                      <a:pt x="1539" y="3171"/>
                    </a:cubicBezTo>
                    <a:cubicBezTo>
                      <a:pt x="1566" y="3172"/>
                      <a:pt x="1594" y="3173"/>
                      <a:pt x="1622" y="3173"/>
                    </a:cubicBezTo>
                    <a:cubicBezTo>
                      <a:pt x="2466" y="3173"/>
                      <a:pt x="3168" y="2516"/>
                      <a:pt x="3211" y="1677"/>
                    </a:cubicBezTo>
                    <a:cubicBezTo>
                      <a:pt x="3256" y="796"/>
                      <a:pt x="2584" y="34"/>
                      <a:pt x="1718" y="4"/>
                    </a:cubicBezTo>
                    <a:cubicBezTo>
                      <a:pt x="1682" y="2"/>
                      <a:pt x="1646" y="1"/>
                      <a:pt x="1611"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0" name="Google Shape;1050;p17"/>
              <p:cNvSpPr/>
              <p:nvPr/>
            </p:nvSpPr>
            <p:spPr>
              <a:xfrm>
                <a:off x="8803525" y="8653225"/>
                <a:ext cx="48725" cy="56325"/>
              </a:xfrm>
              <a:custGeom>
                <a:avLst/>
                <a:gdLst/>
                <a:ahLst/>
                <a:cxnLst/>
                <a:rect l="l" t="t" r="r" b="b"/>
                <a:pathLst>
                  <a:path w="1949" h="2253" extrusionOk="0">
                    <a:moveTo>
                      <a:pt x="814" y="0"/>
                    </a:moveTo>
                    <a:cubicBezTo>
                      <a:pt x="615" y="0"/>
                      <a:pt x="455" y="126"/>
                      <a:pt x="455" y="126"/>
                    </a:cubicBezTo>
                    <a:cubicBezTo>
                      <a:pt x="1" y="581"/>
                      <a:pt x="379" y="2253"/>
                      <a:pt x="931" y="2253"/>
                    </a:cubicBezTo>
                    <a:cubicBezTo>
                      <a:pt x="1032" y="2253"/>
                      <a:pt x="1138" y="2197"/>
                      <a:pt x="1247" y="2068"/>
                    </a:cubicBezTo>
                    <a:cubicBezTo>
                      <a:pt x="1949" y="1261"/>
                      <a:pt x="1322" y="216"/>
                      <a:pt x="1023" y="51"/>
                    </a:cubicBezTo>
                    <a:cubicBezTo>
                      <a:pt x="952" y="14"/>
                      <a:pt x="881" y="0"/>
                      <a:pt x="81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1" name="Google Shape;1051;p17"/>
              <p:cNvSpPr/>
              <p:nvPr/>
            </p:nvSpPr>
            <p:spPr>
              <a:xfrm>
                <a:off x="8794350" y="8671275"/>
                <a:ext cx="19450" cy="20250"/>
              </a:xfrm>
              <a:custGeom>
                <a:avLst/>
                <a:gdLst/>
                <a:ahLst/>
                <a:cxnLst/>
                <a:rect l="l" t="t" r="r" b="b"/>
                <a:pathLst>
                  <a:path w="778" h="810" extrusionOk="0">
                    <a:moveTo>
                      <a:pt x="380" y="1"/>
                    </a:moveTo>
                    <a:cubicBezTo>
                      <a:pt x="181" y="1"/>
                      <a:pt x="15" y="175"/>
                      <a:pt x="1" y="390"/>
                    </a:cubicBezTo>
                    <a:cubicBezTo>
                      <a:pt x="1" y="599"/>
                      <a:pt x="165" y="793"/>
                      <a:pt x="359" y="808"/>
                    </a:cubicBezTo>
                    <a:cubicBezTo>
                      <a:pt x="368" y="809"/>
                      <a:pt x="377" y="809"/>
                      <a:pt x="386" y="809"/>
                    </a:cubicBezTo>
                    <a:cubicBezTo>
                      <a:pt x="583" y="809"/>
                      <a:pt x="748" y="649"/>
                      <a:pt x="763" y="420"/>
                    </a:cubicBezTo>
                    <a:cubicBezTo>
                      <a:pt x="777" y="196"/>
                      <a:pt x="613" y="2"/>
                      <a:pt x="404" y="2"/>
                    </a:cubicBezTo>
                    <a:cubicBezTo>
                      <a:pt x="396" y="1"/>
                      <a:pt x="388" y="1"/>
                      <a:pt x="38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2" name="Google Shape;1052;p17"/>
              <p:cNvSpPr/>
              <p:nvPr/>
            </p:nvSpPr>
            <p:spPr>
              <a:xfrm>
                <a:off x="8901525" y="8593350"/>
                <a:ext cx="84400" cy="79675"/>
              </a:xfrm>
              <a:custGeom>
                <a:avLst/>
                <a:gdLst/>
                <a:ahLst/>
                <a:cxnLst/>
                <a:rect l="l" t="t" r="r" b="b"/>
                <a:pathLst>
                  <a:path w="3376" h="3187" extrusionOk="0">
                    <a:moveTo>
                      <a:pt x="1678" y="1"/>
                    </a:moveTo>
                    <a:cubicBezTo>
                      <a:pt x="889" y="1"/>
                      <a:pt x="202" y="598"/>
                      <a:pt x="105" y="1401"/>
                    </a:cubicBezTo>
                    <a:cubicBezTo>
                      <a:pt x="0" y="2282"/>
                      <a:pt x="628" y="3074"/>
                      <a:pt x="1509" y="3178"/>
                    </a:cubicBezTo>
                    <a:cubicBezTo>
                      <a:pt x="1564" y="3184"/>
                      <a:pt x="1619" y="3187"/>
                      <a:pt x="1674" y="3187"/>
                    </a:cubicBezTo>
                    <a:cubicBezTo>
                      <a:pt x="2473" y="3187"/>
                      <a:pt x="3173" y="2585"/>
                      <a:pt x="3271" y="1774"/>
                    </a:cubicBezTo>
                    <a:cubicBezTo>
                      <a:pt x="3376" y="908"/>
                      <a:pt x="2749" y="116"/>
                      <a:pt x="1867" y="12"/>
                    </a:cubicBezTo>
                    <a:cubicBezTo>
                      <a:pt x="1804" y="4"/>
                      <a:pt x="1741" y="1"/>
                      <a:pt x="167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3" name="Google Shape;1053;p17"/>
              <p:cNvSpPr/>
              <p:nvPr/>
            </p:nvSpPr>
            <p:spPr>
              <a:xfrm>
                <a:off x="8937700" y="8608800"/>
                <a:ext cx="45250" cy="55675"/>
              </a:xfrm>
              <a:custGeom>
                <a:avLst/>
                <a:gdLst/>
                <a:ahLst/>
                <a:cxnLst/>
                <a:rect l="l" t="t" r="r" b="b"/>
                <a:pathLst>
                  <a:path w="1810" h="2227" extrusionOk="0">
                    <a:moveTo>
                      <a:pt x="961" y="1"/>
                    </a:moveTo>
                    <a:cubicBezTo>
                      <a:pt x="840" y="1"/>
                      <a:pt x="749" y="36"/>
                      <a:pt x="749" y="36"/>
                    </a:cubicBezTo>
                    <a:cubicBezTo>
                      <a:pt x="148" y="343"/>
                      <a:pt x="1" y="2227"/>
                      <a:pt x="628" y="2227"/>
                    </a:cubicBezTo>
                    <a:cubicBezTo>
                      <a:pt x="702" y="2227"/>
                      <a:pt x="787" y="2201"/>
                      <a:pt x="883" y="2142"/>
                    </a:cubicBezTo>
                    <a:cubicBezTo>
                      <a:pt x="1809" y="1589"/>
                      <a:pt x="1555" y="395"/>
                      <a:pt x="1331" y="156"/>
                    </a:cubicBezTo>
                    <a:cubicBezTo>
                      <a:pt x="1215" y="32"/>
                      <a:pt x="1075" y="1"/>
                      <a:pt x="96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4" name="Google Shape;1054;p17"/>
              <p:cNvSpPr/>
              <p:nvPr/>
            </p:nvSpPr>
            <p:spPr>
              <a:xfrm>
                <a:off x="8927275" y="8619550"/>
                <a:ext cx="22075" cy="20275"/>
              </a:xfrm>
              <a:custGeom>
                <a:avLst/>
                <a:gdLst/>
                <a:ahLst/>
                <a:cxnLst/>
                <a:rect l="l" t="t" r="r" b="b"/>
                <a:pathLst>
                  <a:path w="883" h="811" extrusionOk="0">
                    <a:moveTo>
                      <a:pt x="476" y="0"/>
                    </a:moveTo>
                    <a:cubicBezTo>
                      <a:pt x="327" y="0"/>
                      <a:pt x="172" y="100"/>
                      <a:pt x="91" y="263"/>
                    </a:cubicBezTo>
                    <a:cubicBezTo>
                      <a:pt x="1" y="458"/>
                      <a:pt x="91" y="696"/>
                      <a:pt x="285" y="786"/>
                    </a:cubicBezTo>
                    <a:cubicBezTo>
                      <a:pt x="327" y="802"/>
                      <a:pt x="372" y="810"/>
                      <a:pt x="416" y="810"/>
                    </a:cubicBezTo>
                    <a:cubicBezTo>
                      <a:pt x="575" y="810"/>
                      <a:pt x="734" y="711"/>
                      <a:pt x="793" y="547"/>
                    </a:cubicBezTo>
                    <a:cubicBezTo>
                      <a:pt x="882" y="338"/>
                      <a:pt x="778" y="114"/>
                      <a:pt x="598" y="24"/>
                    </a:cubicBezTo>
                    <a:cubicBezTo>
                      <a:pt x="559" y="8"/>
                      <a:pt x="518" y="0"/>
                      <a:pt x="47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5" name="Google Shape;1055;p17"/>
              <p:cNvSpPr/>
              <p:nvPr/>
            </p:nvSpPr>
            <p:spPr>
              <a:xfrm>
                <a:off x="9052375" y="8624425"/>
                <a:ext cx="90750" cy="79600"/>
              </a:xfrm>
              <a:custGeom>
                <a:avLst/>
                <a:gdLst/>
                <a:ahLst/>
                <a:cxnLst/>
                <a:rect l="l" t="t" r="r" b="b"/>
                <a:pathLst>
                  <a:path w="3630" h="3184" extrusionOk="0">
                    <a:moveTo>
                      <a:pt x="1818" y="1"/>
                    </a:moveTo>
                    <a:cubicBezTo>
                      <a:pt x="1609" y="1"/>
                      <a:pt x="1398" y="42"/>
                      <a:pt x="1195" y="128"/>
                    </a:cubicBezTo>
                    <a:cubicBezTo>
                      <a:pt x="389" y="472"/>
                      <a:pt x="0" y="1413"/>
                      <a:pt x="344" y="2219"/>
                    </a:cubicBezTo>
                    <a:cubicBezTo>
                      <a:pt x="601" y="2822"/>
                      <a:pt x="1192" y="3183"/>
                      <a:pt x="1811" y="3183"/>
                    </a:cubicBezTo>
                    <a:cubicBezTo>
                      <a:pt x="2020" y="3183"/>
                      <a:pt x="2232" y="3142"/>
                      <a:pt x="2435" y="3056"/>
                    </a:cubicBezTo>
                    <a:cubicBezTo>
                      <a:pt x="3242" y="2712"/>
                      <a:pt x="3630" y="1786"/>
                      <a:pt x="3286" y="979"/>
                    </a:cubicBezTo>
                    <a:cubicBezTo>
                      <a:pt x="3029" y="365"/>
                      <a:pt x="2437" y="1"/>
                      <a:pt x="181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6" name="Google Shape;1056;p17"/>
              <p:cNvSpPr/>
              <p:nvPr/>
            </p:nvSpPr>
            <p:spPr>
              <a:xfrm>
                <a:off x="9091600" y="8640500"/>
                <a:ext cx="45175" cy="55625"/>
              </a:xfrm>
              <a:custGeom>
                <a:avLst/>
                <a:gdLst/>
                <a:ahLst/>
                <a:cxnLst/>
                <a:rect l="l" t="t" r="r" b="b"/>
                <a:pathLst>
                  <a:path w="1807" h="2225" extrusionOk="0">
                    <a:moveTo>
                      <a:pt x="982" y="0"/>
                    </a:moveTo>
                    <a:cubicBezTo>
                      <a:pt x="858" y="0"/>
                      <a:pt x="761" y="38"/>
                      <a:pt x="761" y="38"/>
                    </a:cubicBezTo>
                    <a:cubicBezTo>
                      <a:pt x="159" y="346"/>
                      <a:pt x="1" y="2225"/>
                      <a:pt x="641" y="2225"/>
                    </a:cubicBezTo>
                    <a:cubicBezTo>
                      <a:pt x="715" y="2225"/>
                      <a:pt x="800" y="2200"/>
                      <a:pt x="896" y="2144"/>
                    </a:cubicBezTo>
                    <a:cubicBezTo>
                      <a:pt x="1807" y="1591"/>
                      <a:pt x="1553" y="396"/>
                      <a:pt x="1329" y="142"/>
                    </a:cubicBezTo>
                    <a:cubicBezTo>
                      <a:pt x="1224" y="30"/>
                      <a:pt x="1092" y="0"/>
                      <a:pt x="98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7" name="Google Shape;1057;p17"/>
              <p:cNvSpPr/>
              <p:nvPr/>
            </p:nvSpPr>
            <p:spPr>
              <a:xfrm>
                <a:off x="9081125" y="8651075"/>
                <a:ext cx="22050" cy="20250"/>
              </a:xfrm>
              <a:custGeom>
                <a:avLst/>
                <a:gdLst/>
                <a:ahLst/>
                <a:cxnLst/>
                <a:rect l="l" t="t" r="r" b="b"/>
                <a:pathLst>
                  <a:path w="882" h="810" extrusionOk="0">
                    <a:moveTo>
                      <a:pt x="465" y="1"/>
                    </a:moveTo>
                    <a:cubicBezTo>
                      <a:pt x="312" y="1"/>
                      <a:pt x="161" y="99"/>
                      <a:pt x="105" y="257"/>
                    </a:cubicBezTo>
                    <a:cubicBezTo>
                      <a:pt x="0" y="466"/>
                      <a:pt x="105" y="705"/>
                      <a:pt x="299" y="780"/>
                    </a:cubicBezTo>
                    <a:cubicBezTo>
                      <a:pt x="344" y="800"/>
                      <a:pt x="390" y="810"/>
                      <a:pt x="436" y="810"/>
                    </a:cubicBezTo>
                    <a:cubicBezTo>
                      <a:pt x="589" y="810"/>
                      <a:pt x="738" y="702"/>
                      <a:pt x="807" y="541"/>
                    </a:cubicBezTo>
                    <a:cubicBezTo>
                      <a:pt x="882" y="347"/>
                      <a:pt x="807" y="108"/>
                      <a:pt x="613" y="33"/>
                    </a:cubicBezTo>
                    <a:cubicBezTo>
                      <a:pt x="565" y="11"/>
                      <a:pt x="515" y="1"/>
                      <a:pt x="46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8" name="Google Shape;1058;p17"/>
              <p:cNvSpPr/>
              <p:nvPr/>
            </p:nvSpPr>
            <p:spPr>
              <a:xfrm>
                <a:off x="8442625" y="8710125"/>
                <a:ext cx="79550" cy="79575"/>
              </a:xfrm>
              <a:custGeom>
                <a:avLst/>
                <a:gdLst/>
                <a:ahLst/>
                <a:cxnLst/>
                <a:rect l="l" t="t" r="r" b="b"/>
                <a:pathLst>
                  <a:path w="3182" h="3183" extrusionOk="0">
                    <a:moveTo>
                      <a:pt x="1598" y="1"/>
                    </a:moveTo>
                    <a:cubicBezTo>
                      <a:pt x="717" y="1"/>
                      <a:pt x="0" y="703"/>
                      <a:pt x="0" y="1584"/>
                    </a:cubicBezTo>
                    <a:cubicBezTo>
                      <a:pt x="0" y="2465"/>
                      <a:pt x="717" y="3182"/>
                      <a:pt x="1598" y="3182"/>
                    </a:cubicBezTo>
                    <a:cubicBezTo>
                      <a:pt x="2465" y="3182"/>
                      <a:pt x="3182" y="2465"/>
                      <a:pt x="3182" y="1584"/>
                    </a:cubicBezTo>
                    <a:cubicBezTo>
                      <a:pt x="3182" y="703"/>
                      <a:pt x="2465" y="1"/>
                      <a:pt x="1598"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9" name="Google Shape;1059;p17"/>
              <p:cNvSpPr/>
              <p:nvPr/>
            </p:nvSpPr>
            <p:spPr>
              <a:xfrm>
                <a:off x="8473200" y="8717200"/>
                <a:ext cx="51225" cy="54600"/>
              </a:xfrm>
              <a:custGeom>
                <a:avLst/>
                <a:gdLst/>
                <a:ahLst/>
                <a:cxnLst/>
                <a:rect l="l" t="t" r="r" b="b"/>
                <a:pathLst>
                  <a:path w="2049" h="2184" extrusionOk="0">
                    <a:moveTo>
                      <a:pt x="740" y="1"/>
                    </a:moveTo>
                    <a:cubicBezTo>
                      <a:pt x="487" y="1"/>
                      <a:pt x="316" y="241"/>
                      <a:pt x="316" y="241"/>
                    </a:cubicBezTo>
                    <a:cubicBezTo>
                      <a:pt x="0" y="774"/>
                      <a:pt x="719" y="2184"/>
                      <a:pt x="1248" y="2184"/>
                    </a:cubicBezTo>
                    <a:cubicBezTo>
                      <a:pt x="1371" y="2184"/>
                      <a:pt x="1483" y="2108"/>
                      <a:pt x="1570" y="1928"/>
                    </a:cubicBezTo>
                    <a:cubicBezTo>
                      <a:pt x="2048" y="943"/>
                      <a:pt x="1182" y="91"/>
                      <a:pt x="853" y="17"/>
                    </a:cubicBezTo>
                    <a:cubicBezTo>
                      <a:pt x="814" y="5"/>
                      <a:pt x="776" y="1"/>
                      <a:pt x="74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0" name="Google Shape;1060;p17"/>
              <p:cNvSpPr/>
              <p:nvPr/>
            </p:nvSpPr>
            <p:spPr>
              <a:xfrm>
                <a:off x="8466150" y="8739800"/>
                <a:ext cx="20550" cy="20600"/>
              </a:xfrm>
              <a:custGeom>
                <a:avLst/>
                <a:gdLst/>
                <a:ahLst/>
                <a:cxnLst/>
                <a:rect l="l" t="t" r="r" b="b"/>
                <a:pathLst>
                  <a:path w="822" h="824" extrusionOk="0">
                    <a:moveTo>
                      <a:pt x="409" y="0"/>
                    </a:moveTo>
                    <a:cubicBezTo>
                      <a:pt x="383" y="0"/>
                      <a:pt x="356" y="3"/>
                      <a:pt x="329" y="9"/>
                    </a:cubicBezTo>
                    <a:cubicBezTo>
                      <a:pt x="135" y="39"/>
                      <a:pt x="0" y="263"/>
                      <a:pt x="45" y="487"/>
                    </a:cubicBezTo>
                    <a:cubicBezTo>
                      <a:pt x="84" y="684"/>
                      <a:pt x="251" y="823"/>
                      <a:pt x="423" y="823"/>
                    </a:cubicBezTo>
                    <a:cubicBezTo>
                      <a:pt x="446" y="823"/>
                      <a:pt x="470" y="821"/>
                      <a:pt x="493" y="815"/>
                    </a:cubicBezTo>
                    <a:cubicBezTo>
                      <a:pt x="702" y="771"/>
                      <a:pt x="822" y="546"/>
                      <a:pt x="792" y="337"/>
                    </a:cubicBezTo>
                    <a:cubicBezTo>
                      <a:pt x="753" y="129"/>
                      <a:pt x="589" y="0"/>
                      <a:pt x="409"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1" name="Google Shape;1061;p17"/>
              <p:cNvSpPr/>
              <p:nvPr/>
            </p:nvSpPr>
            <p:spPr>
              <a:xfrm>
                <a:off x="8299600" y="8737575"/>
                <a:ext cx="90400" cy="79925"/>
              </a:xfrm>
              <a:custGeom>
                <a:avLst/>
                <a:gdLst/>
                <a:ahLst/>
                <a:cxnLst/>
                <a:rect l="l" t="t" r="r" b="b"/>
                <a:pathLst>
                  <a:path w="3616" h="3197" extrusionOk="0">
                    <a:moveTo>
                      <a:pt x="1812" y="1"/>
                    </a:moveTo>
                    <a:cubicBezTo>
                      <a:pt x="1487" y="1"/>
                      <a:pt x="1160" y="100"/>
                      <a:pt x="882" y="307"/>
                    </a:cubicBezTo>
                    <a:cubicBezTo>
                      <a:pt x="165" y="815"/>
                      <a:pt x="1" y="1815"/>
                      <a:pt x="524" y="2532"/>
                    </a:cubicBezTo>
                    <a:cubicBezTo>
                      <a:pt x="830" y="2966"/>
                      <a:pt x="1317" y="3197"/>
                      <a:pt x="1813" y="3197"/>
                    </a:cubicBezTo>
                    <a:cubicBezTo>
                      <a:pt x="2137" y="3197"/>
                      <a:pt x="2465" y="3098"/>
                      <a:pt x="2749" y="2891"/>
                    </a:cubicBezTo>
                    <a:cubicBezTo>
                      <a:pt x="3451" y="2383"/>
                      <a:pt x="3615" y="1382"/>
                      <a:pt x="3108" y="665"/>
                    </a:cubicBezTo>
                    <a:cubicBezTo>
                      <a:pt x="2801" y="232"/>
                      <a:pt x="2308" y="1"/>
                      <a:pt x="1812"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2" name="Google Shape;1062;p17"/>
              <p:cNvSpPr/>
              <p:nvPr/>
            </p:nvSpPr>
            <p:spPr>
              <a:xfrm>
                <a:off x="8331100" y="8743225"/>
                <a:ext cx="48025" cy="45800"/>
              </a:xfrm>
              <a:custGeom>
                <a:avLst/>
                <a:gdLst/>
                <a:ahLst/>
                <a:cxnLst/>
                <a:rect l="l" t="t" r="r" b="b"/>
                <a:pathLst>
                  <a:path w="1921" h="1832" extrusionOk="0">
                    <a:moveTo>
                      <a:pt x="528" y="1"/>
                    </a:moveTo>
                    <a:cubicBezTo>
                      <a:pt x="502" y="1"/>
                      <a:pt x="479" y="3"/>
                      <a:pt x="458" y="6"/>
                    </a:cubicBezTo>
                    <a:cubicBezTo>
                      <a:pt x="130" y="66"/>
                      <a:pt x="55" y="424"/>
                      <a:pt x="55" y="424"/>
                    </a:cubicBezTo>
                    <a:cubicBezTo>
                      <a:pt x="1" y="981"/>
                      <a:pt x="989" y="1831"/>
                      <a:pt x="1538" y="1831"/>
                    </a:cubicBezTo>
                    <a:cubicBezTo>
                      <a:pt x="1741" y="1831"/>
                      <a:pt x="1884" y="1715"/>
                      <a:pt x="1892" y="1425"/>
                    </a:cubicBezTo>
                    <a:cubicBezTo>
                      <a:pt x="1920" y="430"/>
                      <a:pt x="923" y="1"/>
                      <a:pt x="52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3" name="Google Shape;1063;p17"/>
              <p:cNvSpPr/>
              <p:nvPr/>
            </p:nvSpPr>
            <p:spPr>
              <a:xfrm>
                <a:off x="8328350" y="8769825"/>
                <a:ext cx="22450" cy="19825"/>
              </a:xfrm>
              <a:custGeom>
                <a:avLst/>
                <a:gdLst/>
                <a:ahLst/>
                <a:cxnLst/>
                <a:rect l="l" t="t" r="r" b="b"/>
                <a:pathLst>
                  <a:path w="898" h="793" extrusionOk="0">
                    <a:moveTo>
                      <a:pt x="405" y="0"/>
                    </a:moveTo>
                    <a:cubicBezTo>
                      <a:pt x="336" y="0"/>
                      <a:pt x="268" y="20"/>
                      <a:pt x="210" y="62"/>
                    </a:cubicBezTo>
                    <a:cubicBezTo>
                      <a:pt x="46" y="182"/>
                      <a:pt x="1" y="436"/>
                      <a:pt x="135" y="615"/>
                    </a:cubicBezTo>
                    <a:cubicBezTo>
                      <a:pt x="220" y="727"/>
                      <a:pt x="351" y="793"/>
                      <a:pt x="478" y="793"/>
                    </a:cubicBezTo>
                    <a:cubicBezTo>
                      <a:pt x="553" y="793"/>
                      <a:pt x="627" y="770"/>
                      <a:pt x="688" y="720"/>
                    </a:cubicBezTo>
                    <a:cubicBezTo>
                      <a:pt x="852" y="600"/>
                      <a:pt x="897" y="346"/>
                      <a:pt x="763" y="182"/>
                    </a:cubicBezTo>
                    <a:cubicBezTo>
                      <a:pt x="666" y="66"/>
                      <a:pt x="532" y="0"/>
                      <a:pt x="405"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4" name="Google Shape;1064;p17"/>
              <p:cNvSpPr/>
              <p:nvPr/>
            </p:nvSpPr>
            <p:spPr>
              <a:xfrm>
                <a:off x="8313050" y="8849050"/>
                <a:ext cx="79550" cy="79550"/>
              </a:xfrm>
              <a:custGeom>
                <a:avLst/>
                <a:gdLst/>
                <a:ahLst/>
                <a:cxnLst/>
                <a:rect l="l" t="t" r="r" b="b"/>
                <a:pathLst>
                  <a:path w="3182" h="3182" extrusionOk="0">
                    <a:moveTo>
                      <a:pt x="1584" y="0"/>
                    </a:moveTo>
                    <a:cubicBezTo>
                      <a:pt x="703" y="0"/>
                      <a:pt x="1" y="702"/>
                      <a:pt x="1" y="1583"/>
                    </a:cubicBezTo>
                    <a:cubicBezTo>
                      <a:pt x="1" y="2464"/>
                      <a:pt x="703" y="3181"/>
                      <a:pt x="1584" y="3181"/>
                    </a:cubicBezTo>
                    <a:cubicBezTo>
                      <a:pt x="2465" y="3181"/>
                      <a:pt x="3182" y="2464"/>
                      <a:pt x="3182" y="1583"/>
                    </a:cubicBezTo>
                    <a:cubicBezTo>
                      <a:pt x="3182" y="702"/>
                      <a:pt x="2465" y="0"/>
                      <a:pt x="1584"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5" name="Google Shape;1065;p17"/>
              <p:cNvSpPr/>
              <p:nvPr/>
            </p:nvSpPr>
            <p:spPr>
              <a:xfrm>
                <a:off x="8339225" y="8854175"/>
                <a:ext cx="47750" cy="46050"/>
              </a:xfrm>
              <a:custGeom>
                <a:avLst/>
                <a:gdLst/>
                <a:ahLst/>
                <a:cxnLst/>
                <a:rect l="l" t="t" r="r" b="b"/>
                <a:pathLst>
                  <a:path w="1910" h="1842" extrusionOk="0">
                    <a:moveTo>
                      <a:pt x="501" y="1"/>
                    </a:moveTo>
                    <a:cubicBezTo>
                      <a:pt x="482" y="1"/>
                      <a:pt x="463" y="2"/>
                      <a:pt x="447" y="4"/>
                    </a:cubicBezTo>
                    <a:cubicBezTo>
                      <a:pt x="119" y="64"/>
                      <a:pt x="44" y="437"/>
                      <a:pt x="44" y="437"/>
                    </a:cubicBezTo>
                    <a:cubicBezTo>
                      <a:pt x="0" y="984"/>
                      <a:pt x="996" y="1842"/>
                      <a:pt x="1539" y="1842"/>
                    </a:cubicBezTo>
                    <a:cubicBezTo>
                      <a:pt x="1739" y="1842"/>
                      <a:pt x="1877" y="1727"/>
                      <a:pt x="1881" y="1438"/>
                    </a:cubicBezTo>
                    <a:cubicBezTo>
                      <a:pt x="1909" y="416"/>
                      <a:pt x="885" y="1"/>
                      <a:pt x="501"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6" name="Google Shape;1066;p17"/>
              <p:cNvSpPr/>
              <p:nvPr/>
            </p:nvSpPr>
            <p:spPr>
              <a:xfrm>
                <a:off x="8336200" y="8881075"/>
                <a:ext cx="22425" cy="19950"/>
              </a:xfrm>
              <a:custGeom>
                <a:avLst/>
                <a:gdLst/>
                <a:ahLst/>
                <a:cxnLst/>
                <a:rect l="l" t="t" r="r" b="b"/>
                <a:pathLst>
                  <a:path w="897" h="798" extrusionOk="0">
                    <a:moveTo>
                      <a:pt x="435" y="1"/>
                    </a:moveTo>
                    <a:cubicBezTo>
                      <a:pt x="358" y="1"/>
                      <a:pt x="279" y="26"/>
                      <a:pt x="210" y="78"/>
                    </a:cubicBezTo>
                    <a:cubicBezTo>
                      <a:pt x="45" y="198"/>
                      <a:pt x="1" y="452"/>
                      <a:pt x="135" y="616"/>
                    </a:cubicBezTo>
                    <a:cubicBezTo>
                      <a:pt x="231" y="732"/>
                      <a:pt x="365" y="798"/>
                      <a:pt x="492" y="798"/>
                    </a:cubicBezTo>
                    <a:cubicBezTo>
                      <a:pt x="562" y="798"/>
                      <a:pt x="629" y="778"/>
                      <a:pt x="688" y="735"/>
                    </a:cubicBezTo>
                    <a:cubicBezTo>
                      <a:pt x="852" y="616"/>
                      <a:pt x="897" y="362"/>
                      <a:pt x="762" y="183"/>
                    </a:cubicBezTo>
                    <a:cubicBezTo>
                      <a:pt x="680" y="64"/>
                      <a:pt x="558" y="1"/>
                      <a:pt x="435"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67" name="Google Shape;1067;p17"/>
            <p:cNvGrpSpPr/>
            <p:nvPr/>
          </p:nvGrpSpPr>
          <p:grpSpPr>
            <a:xfrm rot="10800000">
              <a:off x="529349" y="2388525"/>
              <a:ext cx="827309" cy="787609"/>
              <a:chOff x="11812149" y="-187526"/>
              <a:chExt cx="997479" cy="949613"/>
            </a:xfrm>
          </p:grpSpPr>
          <p:sp>
            <p:nvSpPr>
              <p:cNvPr id="1068" name="Google Shape;1068;p17"/>
              <p:cNvSpPr/>
              <p:nvPr/>
            </p:nvSpPr>
            <p:spPr>
              <a:xfrm rot="10800000">
                <a:off x="12078542" y="-187526"/>
                <a:ext cx="312378" cy="224169"/>
              </a:xfrm>
              <a:custGeom>
                <a:avLst/>
                <a:gdLst/>
                <a:ahLst/>
                <a:cxnLst/>
                <a:rect l="l" t="t" r="r" b="b"/>
                <a:pathLst>
                  <a:path w="5482" h="3934" extrusionOk="0">
                    <a:moveTo>
                      <a:pt x="4197" y="0"/>
                    </a:moveTo>
                    <a:cubicBezTo>
                      <a:pt x="2859" y="0"/>
                      <a:pt x="843" y="578"/>
                      <a:pt x="0" y="3796"/>
                    </a:cubicBezTo>
                    <a:cubicBezTo>
                      <a:pt x="0" y="3796"/>
                      <a:pt x="415" y="3934"/>
                      <a:pt x="1035" y="3934"/>
                    </a:cubicBezTo>
                    <a:cubicBezTo>
                      <a:pt x="2259" y="3934"/>
                      <a:pt x="4282" y="3394"/>
                      <a:pt x="5482" y="181"/>
                    </a:cubicBezTo>
                    <a:cubicBezTo>
                      <a:pt x="5482" y="181"/>
                      <a:pt x="4945" y="0"/>
                      <a:pt x="4197"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9" name="Google Shape;1069;p17"/>
              <p:cNvSpPr/>
              <p:nvPr/>
            </p:nvSpPr>
            <p:spPr>
              <a:xfrm rot="10800000">
                <a:off x="11812149" y="150551"/>
                <a:ext cx="263886" cy="394946"/>
              </a:xfrm>
              <a:custGeom>
                <a:avLst/>
                <a:gdLst/>
                <a:ahLst/>
                <a:cxnLst/>
                <a:rect l="l" t="t" r="r" b="b"/>
                <a:pathLst>
                  <a:path w="4631" h="6931" extrusionOk="0">
                    <a:moveTo>
                      <a:pt x="3361" y="0"/>
                    </a:moveTo>
                    <a:cubicBezTo>
                      <a:pt x="3361" y="15"/>
                      <a:pt x="1" y="1404"/>
                      <a:pt x="658" y="6931"/>
                    </a:cubicBezTo>
                    <a:cubicBezTo>
                      <a:pt x="658" y="6931"/>
                      <a:pt x="4631" y="4884"/>
                      <a:pt x="3361"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0" name="Google Shape;1070;p17"/>
              <p:cNvSpPr/>
              <p:nvPr/>
            </p:nvSpPr>
            <p:spPr>
              <a:xfrm rot="10800000">
                <a:off x="11987484" y="-6037"/>
                <a:ext cx="472385" cy="451130"/>
              </a:xfrm>
              <a:custGeom>
                <a:avLst/>
                <a:gdLst/>
                <a:ahLst/>
                <a:cxnLst/>
                <a:rect l="l" t="t" r="r" b="b"/>
                <a:pathLst>
                  <a:path w="8290" h="7917" extrusionOk="0">
                    <a:moveTo>
                      <a:pt x="150" y="1"/>
                    </a:moveTo>
                    <a:lnTo>
                      <a:pt x="1" y="240"/>
                    </a:lnTo>
                    <a:cubicBezTo>
                      <a:pt x="1584" y="1196"/>
                      <a:pt x="2973" y="2435"/>
                      <a:pt x="4272" y="3735"/>
                    </a:cubicBezTo>
                    <a:cubicBezTo>
                      <a:pt x="5572" y="5064"/>
                      <a:pt x="6796" y="6453"/>
                      <a:pt x="7917" y="7917"/>
                    </a:cubicBezTo>
                    <a:cubicBezTo>
                      <a:pt x="7917" y="7917"/>
                      <a:pt x="8290" y="7633"/>
                      <a:pt x="8290" y="7603"/>
                    </a:cubicBezTo>
                    <a:cubicBezTo>
                      <a:pt x="7708" y="6886"/>
                      <a:pt x="7095" y="6169"/>
                      <a:pt x="6468" y="5482"/>
                    </a:cubicBezTo>
                    <a:cubicBezTo>
                      <a:pt x="4586" y="3436"/>
                      <a:pt x="2555" y="1435"/>
                      <a:pt x="15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1" name="Google Shape;1071;p17"/>
              <p:cNvSpPr/>
              <p:nvPr/>
            </p:nvSpPr>
            <p:spPr>
              <a:xfrm rot="10800000">
                <a:off x="12599362" y="494441"/>
                <a:ext cx="111572" cy="144109"/>
              </a:xfrm>
              <a:custGeom>
                <a:avLst/>
                <a:gdLst/>
                <a:ahLst/>
                <a:cxnLst/>
                <a:rect l="l" t="t" r="r" b="b"/>
                <a:pathLst>
                  <a:path w="1958" h="2529" extrusionOk="0">
                    <a:moveTo>
                      <a:pt x="1547" y="0"/>
                    </a:moveTo>
                    <a:cubicBezTo>
                      <a:pt x="1535" y="0"/>
                      <a:pt x="1522" y="2"/>
                      <a:pt x="1509" y="5"/>
                    </a:cubicBezTo>
                    <a:cubicBezTo>
                      <a:pt x="1210" y="65"/>
                      <a:pt x="1405" y="872"/>
                      <a:pt x="1405" y="872"/>
                    </a:cubicBezTo>
                    <a:cubicBezTo>
                      <a:pt x="1405" y="872"/>
                      <a:pt x="1090" y="735"/>
                      <a:pt x="798" y="735"/>
                    </a:cubicBezTo>
                    <a:cubicBezTo>
                      <a:pt x="626" y="735"/>
                      <a:pt x="462" y="782"/>
                      <a:pt x="374" y="931"/>
                    </a:cubicBezTo>
                    <a:cubicBezTo>
                      <a:pt x="120" y="1350"/>
                      <a:pt x="807" y="1872"/>
                      <a:pt x="807" y="1872"/>
                    </a:cubicBezTo>
                    <a:cubicBezTo>
                      <a:pt x="807" y="1872"/>
                      <a:pt x="1" y="2066"/>
                      <a:pt x="60" y="2380"/>
                    </a:cubicBezTo>
                    <a:cubicBezTo>
                      <a:pt x="97" y="2495"/>
                      <a:pt x="238" y="2529"/>
                      <a:pt x="393" y="2529"/>
                    </a:cubicBezTo>
                    <a:cubicBezTo>
                      <a:pt x="622" y="2529"/>
                      <a:pt x="882" y="2455"/>
                      <a:pt x="882" y="2455"/>
                    </a:cubicBezTo>
                    <a:lnTo>
                      <a:pt x="1419" y="1574"/>
                    </a:lnTo>
                    <a:lnTo>
                      <a:pt x="1957" y="707"/>
                    </a:lnTo>
                    <a:cubicBezTo>
                      <a:pt x="1943" y="707"/>
                      <a:pt x="1806" y="0"/>
                      <a:pt x="1547"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2" name="Google Shape;1072;p17"/>
              <p:cNvSpPr/>
              <p:nvPr/>
            </p:nvSpPr>
            <p:spPr>
              <a:xfrm rot="10800000">
                <a:off x="12337243" y="316940"/>
                <a:ext cx="356653" cy="323433"/>
              </a:xfrm>
              <a:custGeom>
                <a:avLst/>
                <a:gdLst/>
                <a:ahLst/>
                <a:cxnLst/>
                <a:rect l="l" t="t" r="r" b="b"/>
                <a:pathLst>
                  <a:path w="6259" h="5676" extrusionOk="0">
                    <a:moveTo>
                      <a:pt x="3139" y="0"/>
                    </a:moveTo>
                    <a:cubicBezTo>
                      <a:pt x="2916" y="0"/>
                      <a:pt x="2690" y="27"/>
                      <a:pt x="2465" y="82"/>
                    </a:cubicBezTo>
                    <a:cubicBezTo>
                      <a:pt x="941" y="441"/>
                      <a:pt x="0" y="1979"/>
                      <a:pt x="374" y="3502"/>
                    </a:cubicBezTo>
                    <a:cubicBezTo>
                      <a:pt x="679" y="4800"/>
                      <a:pt x="1841" y="5675"/>
                      <a:pt x="3120" y="5675"/>
                    </a:cubicBezTo>
                    <a:cubicBezTo>
                      <a:pt x="3342" y="5675"/>
                      <a:pt x="3568" y="5649"/>
                      <a:pt x="3794" y="5593"/>
                    </a:cubicBezTo>
                    <a:cubicBezTo>
                      <a:pt x="5317" y="5235"/>
                      <a:pt x="6258" y="3697"/>
                      <a:pt x="5900" y="2173"/>
                    </a:cubicBezTo>
                    <a:cubicBezTo>
                      <a:pt x="5582" y="875"/>
                      <a:pt x="4418" y="0"/>
                      <a:pt x="3139"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3" name="Google Shape;1073;p17"/>
              <p:cNvSpPr/>
              <p:nvPr/>
            </p:nvSpPr>
            <p:spPr>
              <a:xfrm rot="10800000">
                <a:off x="12491323" y="566296"/>
                <a:ext cx="63877" cy="56527"/>
              </a:xfrm>
              <a:custGeom>
                <a:avLst/>
                <a:gdLst/>
                <a:ahLst/>
                <a:cxnLst/>
                <a:rect l="l" t="t" r="r" b="b"/>
                <a:pathLst>
                  <a:path w="1121" h="992" extrusionOk="0">
                    <a:moveTo>
                      <a:pt x="551" y="0"/>
                    </a:moveTo>
                    <a:cubicBezTo>
                      <a:pt x="390" y="0"/>
                      <a:pt x="236" y="90"/>
                      <a:pt x="150" y="252"/>
                    </a:cubicBezTo>
                    <a:cubicBezTo>
                      <a:pt x="1" y="461"/>
                      <a:pt x="76" y="775"/>
                      <a:pt x="314" y="924"/>
                    </a:cubicBezTo>
                    <a:cubicBezTo>
                      <a:pt x="385" y="970"/>
                      <a:pt x="468" y="991"/>
                      <a:pt x="552" y="991"/>
                    </a:cubicBezTo>
                    <a:cubicBezTo>
                      <a:pt x="717" y="991"/>
                      <a:pt x="888" y="908"/>
                      <a:pt x="987" y="760"/>
                    </a:cubicBezTo>
                    <a:cubicBezTo>
                      <a:pt x="1121" y="536"/>
                      <a:pt x="1046" y="222"/>
                      <a:pt x="822" y="88"/>
                    </a:cubicBezTo>
                    <a:cubicBezTo>
                      <a:pt x="736" y="29"/>
                      <a:pt x="643" y="0"/>
                      <a:pt x="551"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4" name="Google Shape;1074;p17"/>
              <p:cNvSpPr/>
              <p:nvPr/>
            </p:nvSpPr>
            <p:spPr>
              <a:xfrm rot="10800000">
                <a:off x="11933009" y="-133734"/>
                <a:ext cx="605154" cy="630739"/>
              </a:xfrm>
              <a:custGeom>
                <a:avLst/>
                <a:gdLst/>
                <a:ahLst/>
                <a:cxnLst/>
                <a:rect l="l" t="t" r="r" b="b"/>
                <a:pathLst>
                  <a:path w="10620" h="11069" fill="none" extrusionOk="0">
                    <a:moveTo>
                      <a:pt x="7259" y="1"/>
                    </a:moveTo>
                    <a:cubicBezTo>
                      <a:pt x="7259" y="1"/>
                      <a:pt x="8439" y="3048"/>
                      <a:pt x="7618" y="6483"/>
                    </a:cubicBezTo>
                    <a:moveTo>
                      <a:pt x="9395" y="8529"/>
                    </a:moveTo>
                    <a:lnTo>
                      <a:pt x="10336" y="9754"/>
                    </a:lnTo>
                    <a:moveTo>
                      <a:pt x="8260" y="7215"/>
                    </a:moveTo>
                    <a:cubicBezTo>
                      <a:pt x="8260" y="7215"/>
                      <a:pt x="9903" y="3585"/>
                      <a:pt x="10620" y="1434"/>
                    </a:cubicBezTo>
                    <a:moveTo>
                      <a:pt x="8753" y="7812"/>
                    </a:moveTo>
                    <a:lnTo>
                      <a:pt x="3794" y="11068"/>
                    </a:lnTo>
                    <a:moveTo>
                      <a:pt x="8260" y="7215"/>
                    </a:moveTo>
                    <a:cubicBezTo>
                      <a:pt x="8260" y="7215"/>
                      <a:pt x="4735" y="6274"/>
                      <a:pt x="1" y="881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5" name="Google Shape;1075;p17"/>
              <p:cNvSpPr/>
              <p:nvPr/>
            </p:nvSpPr>
            <p:spPr>
              <a:xfrm rot="10800000">
                <a:off x="12109996" y="675645"/>
                <a:ext cx="173683" cy="86442"/>
              </a:xfrm>
              <a:custGeom>
                <a:avLst/>
                <a:gdLst/>
                <a:ahLst/>
                <a:cxnLst/>
                <a:rect l="l" t="t" r="r" b="b"/>
                <a:pathLst>
                  <a:path w="3048" h="1517" extrusionOk="0">
                    <a:moveTo>
                      <a:pt x="1444" y="0"/>
                    </a:moveTo>
                    <a:cubicBezTo>
                      <a:pt x="1402" y="0"/>
                      <a:pt x="1359" y="7"/>
                      <a:pt x="1315" y="23"/>
                    </a:cubicBezTo>
                    <a:cubicBezTo>
                      <a:pt x="852" y="172"/>
                      <a:pt x="1016" y="1023"/>
                      <a:pt x="1016" y="1023"/>
                    </a:cubicBezTo>
                    <a:cubicBezTo>
                      <a:pt x="1016" y="1023"/>
                      <a:pt x="604" y="809"/>
                      <a:pt x="337" y="809"/>
                    </a:cubicBezTo>
                    <a:cubicBezTo>
                      <a:pt x="244" y="809"/>
                      <a:pt x="169" y="835"/>
                      <a:pt x="135" y="904"/>
                    </a:cubicBezTo>
                    <a:cubicBezTo>
                      <a:pt x="0" y="1188"/>
                      <a:pt x="702" y="1516"/>
                      <a:pt x="702" y="1516"/>
                    </a:cubicBezTo>
                    <a:lnTo>
                      <a:pt x="1688" y="1188"/>
                    </a:lnTo>
                    <a:lnTo>
                      <a:pt x="2674" y="874"/>
                    </a:lnTo>
                    <a:cubicBezTo>
                      <a:pt x="2659" y="874"/>
                      <a:pt x="3047" y="187"/>
                      <a:pt x="2793" y="52"/>
                    </a:cubicBezTo>
                    <a:cubicBezTo>
                      <a:pt x="2771" y="41"/>
                      <a:pt x="2748" y="36"/>
                      <a:pt x="2725" y="36"/>
                    </a:cubicBezTo>
                    <a:cubicBezTo>
                      <a:pt x="2463" y="36"/>
                      <a:pt x="2136" y="665"/>
                      <a:pt x="2136" y="665"/>
                    </a:cubicBezTo>
                    <a:cubicBezTo>
                      <a:pt x="2136" y="665"/>
                      <a:pt x="1853" y="0"/>
                      <a:pt x="144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6" name="Google Shape;1076;p17"/>
              <p:cNvSpPr/>
              <p:nvPr/>
            </p:nvSpPr>
            <p:spPr>
              <a:xfrm rot="10800000">
                <a:off x="11966172" y="404066"/>
                <a:ext cx="362637" cy="323661"/>
              </a:xfrm>
              <a:custGeom>
                <a:avLst/>
                <a:gdLst/>
                <a:ahLst/>
                <a:cxnLst/>
                <a:rect l="l" t="t" r="r" b="b"/>
                <a:pathLst>
                  <a:path w="6364" h="5680" extrusionOk="0">
                    <a:moveTo>
                      <a:pt x="3181" y="0"/>
                    </a:moveTo>
                    <a:cubicBezTo>
                      <a:pt x="1980" y="0"/>
                      <a:pt x="864" y="768"/>
                      <a:pt x="479" y="1974"/>
                    </a:cubicBezTo>
                    <a:cubicBezTo>
                      <a:pt x="1" y="3467"/>
                      <a:pt x="822" y="5065"/>
                      <a:pt x="2316" y="5543"/>
                    </a:cubicBezTo>
                    <a:cubicBezTo>
                      <a:pt x="2604" y="5635"/>
                      <a:pt x="2896" y="5679"/>
                      <a:pt x="3183" y="5679"/>
                    </a:cubicBezTo>
                    <a:cubicBezTo>
                      <a:pt x="4384" y="5679"/>
                      <a:pt x="5500" y="4912"/>
                      <a:pt x="5885" y="3706"/>
                    </a:cubicBezTo>
                    <a:cubicBezTo>
                      <a:pt x="6363" y="2213"/>
                      <a:pt x="5542" y="614"/>
                      <a:pt x="4048" y="136"/>
                    </a:cubicBezTo>
                    <a:cubicBezTo>
                      <a:pt x="3760" y="44"/>
                      <a:pt x="3468" y="0"/>
                      <a:pt x="318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7" name="Google Shape;1077;p17"/>
              <p:cNvSpPr/>
              <p:nvPr/>
            </p:nvSpPr>
            <p:spPr>
              <a:xfrm rot="10800000">
                <a:off x="12045321" y="630800"/>
                <a:ext cx="62168" cy="55843"/>
              </a:xfrm>
              <a:custGeom>
                <a:avLst/>
                <a:gdLst/>
                <a:ahLst/>
                <a:cxnLst/>
                <a:rect l="l" t="t" r="r" b="b"/>
                <a:pathLst>
                  <a:path w="1091" h="980" extrusionOk="0">
                    <a:moveTo>
                      <a:pt x="555" y="0"/>
                    </a:moveTo>
                    <a:cubicBezTo>
                      <a:pt x="501" y="0"/>
                      <a:pt x="445" y="9"/>
                      <a:pt x="388" y="28"/>
                    </a:cubicBezTo>
                    <a:cubicBezTo>
                      <a:pt x="134" y="103"/>
                      <a:pt x="0" y="371"/>
                      <a:pt x="75" y="640"/>
                    </a:cubicBezTo>
                    <a:cubicBezTo>
                      <a:pt x="147" y="844"/>
                      <a:pt x="333" y="980"/>
                      <a:pt x="543" y="980"/>
                    </a:cubicBezTo>
                    <a:cubicBezTo>
                      <a:pt x="595" y="980"/>
                      <a:pt x="649" y="972"/>
                      <a:pt x="702" y="954"/>
                    </a:cubicBezTo>
                    <a:cubicBezTo>
                      <a:pt x="956" y="864"/>
                      <a:pt x="1090" y="595"/>
                      <a:pt x="1016" y="341"/>
                    </a:cubicBezTo>
                    <a:cubicBezTo>
                      <a:pt x="945" y="129"/>
                      <a:pt x="762" y="0"/>
                      <a:pt x="55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8" name="Google Shape;1078;p17"/>
              <p:cNvSpPr/>
              <p:nvPr/>
            </p:nvSpPr>
            <p:spPr>
              <a:xfrm rot="10800000">
                <a:off x="12731277" y="-110884"/>
                <a:ext cx="78351" cy="163483"/>
              </a:xfrm>
              <a:custGeom>
                <a:avLst/>
                <a:gdLst/>
                <a:ahLst/>
                <a:cxnLst/>
                <a:rect l="l" t="t" r="r" b="b"/>
                <a:pathLst>
                  <a:path w="1375" h="2869" extrusionOk="0">
                    <a:moveTo>
                      <a:pt x="535" y="1"/>
                    </a:moveTo>
                    <a:cubicBezTo>
                      <a:pt x="481" y="1"/>
                      <a:pt x="436" y="18"/>
                      <a:pt x="403" y="58"/>
                    </a:cubicBezTo>
                    <a:cubicBezTo>
                      <a:pt x="209" y="297"/>
                      <a:pt x="851" y="820"/>
                      <a:pt x="851" y="820"/>
                    </a:cubicBezTo>
                    <a:cubicBezTo>
                      <a:pt x="851" y="820"/>
                      <a:pt x="0" y="1014"/>
                      <a:pt x="60" y="1492"/>
                    </a:cubicBezTo>
                    <a:cubicBezTo>
                      <a:pt x="90" y="1970"/>
                      <a:pt x="956" y="2000"/>
                      <a:pt x="956" y="2000"/>
                    </a:cubicBezTo>
                    <a:cubicBezTo>
                      <a:pt x="956" y="2000"/>
                      <a:pt x="433" y="2642"/>
                      <a:pt x="672" y="2836"/>
                    </a:cubicBezTo>
                    <a:cubicBezTo>
                      <a:pt x="703" y="2859"/>
                      <a:pt x="737" y="2869"/>
                      <a:pt x="773" y="2869"/>
                    </a:cubicBezTo>
                    <a:cubicBezTo>
                      <a:pt x="1022" y="2869"/>
                      <a:pt x="1374" y="2403"/>
                      <a:pt x="1374" y="2403"/>
                    </a:cubicBezTo>
                    <a:lnTo>
                      <a:pt x="1270" y="1372"/>
                    </a:lnTo>
                    <a:lnTo>
                      <a:pt x="1180" y="357"/>
                    </a:lnTo>
                    <a:cubicBezTo>
                      <a:pt x="1180" y="344"/>
                      <a:pt x="778" y="1"/>
                      <a:pt x="535"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9" name="Google Shape;1079;p17"/>
              <p:cNvSpPr/>
              <p:nvPr/>
            </p:nvSpPr>
            <p:spPr>
              <a:xfrm rot="10800000">
                <a:off x="12431719" y="-174477"/>
                <a:ext cx="340470" cy="324116"/>
              </a:xfrm>
              <a:custGeom>
                <a:avLst/>
                <a:gdLst/>
                <a:ahLst/>
                <a:cxnLst/>
                <a:rect l="l" t="t" r="r" b="b"/>
                <a:pathLst>
                  <a:path w="5975" h="5688" extrusionOk="0">
                    <a:moveTo>
                      <a:pt x="2980" y="0"/>
                    </a:moveTo>
                    <a:cubicBezTo>
                      <a:pt x="2889" y="0"/>
                      <a:pt x="2797" y="5"/>
                      <a:pt x="2704" y="13"/>
                    </a:cubicBezTo>
                    <a:cubicBezTo>
                      <a:pt x="1135" y="163"/>
                      <a:pt x="0" y="1567"/>
                      <a:pt x="150" y="3120"/>
                    </a:cubicBezTo>
                    <a:cubicBezTo>
                      <a:pt x="304" y="4595"/>
                      <a:pt x="1542" y="5687"/>
                      <a:pt x="2994" y="5687"/>
                    </a:cubicBezTo>
                    <a:cubicBezTo>
                      <a:pt x="3086" y="5687"/>
                      <a:pt x="3178" y="5683"/>
                      <a:pt x="3271" y="5674"/>
                    </a:cubicBezTo>
                    <a:cubicBezTo>
                      <a:pt x="4824" y="5510"/>
                      <a:pt x="5975" y="4121"/>
                      <a:pt x="5810" y="2567"/>
                    </a:cubicBezTo>
                    <a:cubicBezTo>
                      <a:pt x="5656" y="1092"/>
                      <a:pt x="4431" y="0"/>
                      <a:pt x="2980"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0" name="Google Shape;1080;p17"/>
              <p:cNvSpPr/>
              <p:nvPr/>
            </p:nvSpPr>
            <p:spPr>
              <a:xfrm rot="10800000">
                <a:off x="12649621" y="49122"/>
                <a:ext cx="59604" cy="55672"/>
              </a:xfrm>
              <a:custGeom>
                <a:avLst/>
                <a:gdLst/>
                <a:ahLst/>
                <a:cxnLst/>
                <a:rect l="l" t="t" r="r" b="b"/>
                <a:pathLst>
                  <a:path w="1046" h="977" extrusionOk="0">
                    <a:moveTo>
                      <a:pt x="548" y="0"/>
                    </a:moveTo>
                    <a:cubicBezTo>
                      <a:pt x="530" y="0"/>
                      <a:pt x="512" y="1"/>
                      <a:pt x="493" y="3"/>
                    </a:cubicBezTo>
                    <a:cubicBezTo>
                      <a:pt x="210" y="33"/>
                      <a:pt x="0" y="272"/>
                      <a:pt x="45" y="541"/>
                    </a:cubicBezTo>
                    <a:cubicBezTo>
                      <a:pt x="73" y="791"/>
                      <a:pt x="282" y="977"/>
                      <a:pt x="528" y="977"/>
                    </a:cubicBezTo>
                    <a:cubicBezTo>
                      <a:pt x="546" y="977"/>
                      <a:pt x="565" y="976"/>
                      <a:pt x="583" y="974"/>
                    </a:cubicBezTo>
                    <a:cubicBezTo>
                      <a:pt x="852" y="944"/>
                      <a:pt x="1046" y="720"/>
                      <a:pt x="1016" y="436"/>
                    </a:cubicBezTo>
                    <a:cubicBezTo>
                      <a:pt x="1002" y="186"/>
                      <a:pt x="794" y="0"/>
                      <a:pt x="54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1" name="Google Shape;1081;p17"/>
            <p:cNvGrpSpPr/>
            <p:nvPr/>
          </p:nvGrpSpPr>
          <p:grpSpPr>
            <a:xfrm>
              <a:off x="725349" y="1674469"/>
              <a:ext cx="810675" cy="646375"/>
              <a:chOff x="12004800" y="5638575"/>
              <a:chExt cx="810675" cy="646375"/>
            </a:xfrm>
          </p:grpSpPr>
          <p:grpSp>
            <p:nvGrpSpPr>
              <p:cNvPr id="1082" name="Google Shape;1082;p17"/>
              <p:cNvGrpSpPr/>
              <p:nvPr/>
            </p:nvGrpSpPr>
            <p:grpSpPr>
              <a:xfrm>
                <a:off x="12004800" y="5638575"/>
                <a:ext cx="810675" cy="646375"/>
                <a:chOff x="12004800" y="5638575"/>
                <a:chExt cx="810675" cy="646375"/>
              </a:xfrm>
            </p:grpSpPr>
            <p:sp>
              <p:nvSpPr>
                <p:cNvPr id="1083" name="Google Shape;1083;p17"/>
                <p:cNvSpPr/>
                <p:nvPr/>
              </p:nvSpPr>
              <p:spPr>
                <a:xfrm>
                  <a:off x="12004800" y="5638950"/>
                  <a:ext cx="587750" cy="461350"/>
                </a:xfrm>
                <a:custGeom>
                  <a:avLst/>
                  <a:gdLst/>
                  <a:ahLst/>
                  <a:cxnLst/>
                  <a:rect l="l" t="t" r="r" b="b"/>
                  <a:pathLst>
                    <a:path w="23510" h="18454" extrusionOk="0">
                      <a:moveTo>
                        <a:pt x="23510" y="1"/>
                      </a:moveTo>
                      <a:cubicBezTo>
                        <a:pt x="23092" y="598"/>
                        <a:pt x="20702" y="3077"/>
                        <a:pt x="20702" y="3077"/>
                      </a:cubicBezTo>
                      <a:lnTo>
                        <a:pt x="20478" y="2599"/>
                      </a:lnTo>
                      <a:cubicBezTo>
                        <a:pt x="19880" y="3481"/>
                        <a:pt x="18521" y="4810"/>
                        <a:pt x="18521" y="4810"/>
                      </a:cubicBezTo>
                      <a:lnTo>
                        <a:pt x="18222" y="4332"/>
                      </a:lnTo>
                      <a:cubicBezTo>
                        <a:pt x="17595" y="4840"/>
                        <a:pt x="16565" y="6647"/>
                        <a:pt x="16565" y="6647"/>
                      </a:cubicBezTo>
                      <a:lnTo>
                        <a:pt x="16176" y="6124"/>
                      </a:lnTo>
                      <a:cubicBezTo>
                        <a:pt x="15566" y="7129"/>
                        <a:pt x="15497" y="8268"/>
                        <a:pt x="15490" y="8468"/>
                      </a:cubicBezTo>
                      <a:lnTo>
                        <a:pt x="15490" y="8468"/>
                      </a:lnTo>
                      <a:cubicBezTo>
                        <a:pt x="15519" y="7158"/>
                        <a:pt x="14578" y="5452"/>
                        <a:pt x="14578" y="5452"/>
                      </a:cubicBezTo>
                      <a:lnTo>
                        <a:pt x="14399" y="6020"/>
                      </a:lnTo>
                      <a:cubicBezTo>
                        <a:pt x="13936" y="4974"/>
                        <a:pt x="12562" y="3690"/>
                        <a:pt x="12562" y="3690"/>
                      </a:cubicBezTo>
                      <a:lnTo>
                        <a:pt x="12383" y="4123"/>
                      </a:lnTo>
                      <a:cubicBezTo>
                        <a:pt x="11979" y="3481"/>
                        <a:pt x="10560" y="1957"/>
                        <a:pt x="10560" y="1957"/>
                      </a:cubicBezTo>
                      <a:lnTo>
                        <a:pt x="10531" y="2495"/>
                      </a:lnTo>
                      <a:cubicBezTo>
                        <a:pt x="9709" y="1763"/>
                        <a:pt x="7424" y="61"/>
                        <a:pt x="7424" y="60"/>
                      </a:cubicBezTo>
                      <a:lnTo>
                        <a:pt x="7424" y="60"/>
                      </a:lnTo>
                      <a:cubicBezTo>
                        <a:pt x="7767" y="777"/>
                        <a:pt x="7917" y="3062"/>
                        <a:pt x="7917" y="3062"/>
                      </a:cubicBezTo>
                      <a:lnTo>
                        <a:pt x="7469" y="3062"/>
                      </a:lnTo>
                      <a:cubicBezTo>
                        <a:pt x="7842" y="3944"/>
                        <a:pt x="8260" y="5721"/>
                        <a:pt x="8260" y="5721"/>
                      </a:cubicBezTo>
                      <a:lnTo>
                        <a:pt x="7723" y="5661"/>
                      </a:lnTo>
                      <a:lnTo>
                        <a:pt x="7723" y="5661"/>
                      </a:lnTo>
                      <a:cubicBezTo>
                        <a:pt x="7887" y="6617"/>
                        <a:pt x="8768" y="8141"/>
                        <a:pt x="8768" y="8141"/>
                      </a:cubicBezTo>
                      <a:lnTo>
                        <a:pt x="8051" y="8141"/>
                      </a:lnTo>
                      <a:cubicBezTo>
                        <a:pt x="8678" y="9365"/>
                        <a:pt x="10112" y="10500"/>
                        <a:pt x="10112" y="10500"/>
                      </a:cubicBezTo>
                      <a:cubicBezTo>
                        <a:pt x="9052" y="9813"/>
                        <a:pt x="6752" y="9679"/>
                        <a:pt x="6752" y="9679"/>
                      </a:cubicBezTo>
                      <a:lnTo>
                        <a:pt x="6752" y="9679"/>
                      </a:lnTo>
                      <a:lnTo>
                        <a:pt x="6841" y="10187"/>
                      </a:lnTo>
                      <a:cubicBezTo>
                        <a:pt x="6162" y="10086"/>
                        <a:pt x="5549" y="10057"/>
                        <a:pt x="5067" y="10057"/>
                      </a:cubicBezTo>
                      <a:cubicBezTo>
                        <a:pt x="4404" y="10057"/>
                        <a:pt x="3989" y="10112"/>
                        <a:pt x="3989" y="10112"/>
                      </a:cubicBezTo>
                      <a:lnTo>
                        <a:pt x="4317" y="10485"/>
                      </a:lnTo>
                      <a:cubicBezTo>
                        <a:pt x="3033" y="10530"/>
                        <a:pt x="1" y="11307"/>
                        <a:pt x="1" y="11307"/>
                      </a:cubicBezTo>
                      <a:cubicBezTo>
                        <a:pt x="1793" y="12756"/>
                        <a:pt x="3839" y="13921"/>
                        <a:pt x="3839" y="13921"/>
                      </a:cubicBezTo>
                      <a:lnTo>
                        <a:pt x="3436" y="14175"/>
                      </a:lnTo>
                      <a:cubicBezTo>
                        <a:pt x="4482" y="14712"/>
                        <a:pt x="6767" y="16505"/>
                        <a:pt x="6767" y="16505"/>
                      </a:cubicBezTo>
                      <a:lnTo>
                        <a:pt x="6423" y="16788"/>
                      </a:lnTo>
                      <a:cubicBezTo>
                        <a:pt x="7648" y="17640"/>
                        <a:pt x="10277" y="17983"/>
                        <a:pt x="10277" y="17983"/>
                      </a:cubicBezTo>
                      <a:lnTo>
                        <a:pt x="10067" y="18431"/>
                      </a:lnTo>
                      <a:cubicBezTo>
                        <a:pt x="10308" y="18447"/>
                        <a:pt x="10537" y="18454"/>
                        <a:pt x="10755" y="18454"/>
                      </a:cubicBezTo>
                      <a:cubicBezTo>
                        <a:pt x="13074" y="18454"/>
                        <a:pt x="14085" y="17655"/>
                        <a:pt x="14085" y="17655"/>
                      </a:cubicBezTo>
                      <a:lnTo>
                        <a:pt x="23510"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4" name="Google Shape;1084;p17"/>
                <p:cNvSpPr/>
                <p:nvPr/>
              </p:nvSpPr>
              <p:spPr>
                <a:xfrm>
                  <a:off x="12354300" y="5638575"/>
                  <a:ext cx="461175" cy="646375"/>
                </a:xfrm>
                <a:custGeom>
                  <a:avLst/>
                  <a:gdLst/>
                  <a:ahLst/>
                  <a:cxnLst/>
                  <a:rect l="l" t="t" r="r" b="b"/>
                  <a:pathLst>
                    <a:path w="18447" h="25855" extrusionOk="0">
                      <a:moveTo>
                        <a:pt x="9545" y="1"/>
                      </a:moveTo>
                      <a:lnTo>
                        <a:pt x="105" y="17670"/>
                      </a:lnTo>
                      <a:cubicBezTo>
                        <a:pt x="105" y="17670"/>
                        <a:pt x="1" y="19208"/>
                        <a:pt x="1688" y="21434"/>
                      </a:cubicBezTo>
                      <a:lnTo>
                        <a:pt x="1957" y="21015"/>
                      </a:lnTo>
                      <a:cubicBezTo>
                        <a:pt x="1957" y="21015"/>
                        <a:pt x="3705" y="23017"/>
                        <a:pt x="5079" y="23554"/>
                      </a:cubicBezTo>
                      <a:lnTo>
                        <a:pt x="5124" y="23106"/>
                      </a:lnTo>
                      <a:cubicBezTo>
                        <a:pt x="5124" y="23106"/>
                        <a:pt x="7872" y="24017"/>
                        <a:pt x="8917" y="24585"/>
                      </a:cubicBezTo>
                      <a:lnTo>
                        <a:pt x="8902" y="24107"/>
                      </a:lnTo>
                      <a:lnTo>
                        <a:pt x="8902" y="24107"/>
                      </a:lnTo>
                      <a:cubicBezTo>
                        <a:pt x="8903" y="24107"/>
                        <a:pt x="11023" y="25153"/>
                        <a:pt x="13219" y="25855"/>
                      </a:cubicBezTo>
                      <a:cubicBezTo>
                        <a:pt x="13219" y="25855"/>
                        <a:pt x="12173" y="22897"/>
                        <a:pt x="11501" y="21792"/>
                      </a:cubicBezTo>
                      <a:lnTo>
                        <a:pt x="11501" y="21792"/>
                      </a:lnTo>
                      <a:lnTo>
                        <a:pt x="11994" y="21852"/>
                      </a:lnTo>
                      <a:cubicBezTo>
                        <a:pt x="11994" y="21852"/>
                        <a:pt x="11441" y="20717"/>
                        <a:pt x="10351" y="19522"/>
                      </a:cubicBezTo>
                      <a:lnTo>
                        <a:pt x="10814" y="19313"/>
                      </a:lnTo>
                      <a:cubicBezTo>
                        <a:pt x="10814" y="19313"/>
                        <a:pt x="9410" y="17461"/>
                        <a:pt x="8260" y="16983"/>
                      </a:cubicBezTo>
                      <a:lnTo>
                        <a:pt x="8260" y="16983"/>
                      </a:lnTo>
                      <a:cubicBezTo>
                        <a:pt x="8261" y="16983"/>
                        <a:pt x="9641" y="17407"/>
                        <a:pt x="10902" y="17407"/>
                      </a:cubicBezTo>
                      <a:cubicBezTo>
                        <a:pt x="11060" y="17407"/>
                        <a:pt x="11216" y="17401"/>
                        <a:pt x="11367" y="17386"/>
                      </a:cubicBezTo>
                      <a:lnTo>
                        <a:pt x="10964" y="16803"/>
                      </a:lnTo>
                      <a:cubicBezTo>
                        <a:pt x="10964" y="16803"/>
                        <a:pt x="12726" y="16669"/>
                        <a:pt x="13607" y="16296"/>
                      </a:cubicBezTo>
                      <a:lnTo>
                        <a:pt x="13249" y="15892"/>
                      </a:lnTo>
                      <a:cubicBezTo>
                        <a:pt x="13249" y="15892"/>
                        <a:pt x="14966" y="15250"/>
                        <a:pt x="15922" y="15071"/>
                      </a:cubicBezTo>
                      <a:lnTo>
                        <a:pt x="15668" y="14683"/>
                      </a:lnTo>
                      <a:cubicBezTo>
                        <a:pt x="15668" y="14683"/>
                        <a:pt x="17655" y="13532"/>
                        <a:pt x="18446" y="13428"/>
                      </a:cubicBezTo>
                      <a:cubicBezTo>
                        <a:pt x="18446" y="13428"/>
                        <a:pt x="15758" y="12457"/>
                        <a:pt x="14683" y="12218"/>
                      </a:cubicBezTo>
                      <a:lnTo>
                        <a:pt x="15116" y="11875"/>
                      </a:lnTo>
                      <a:cubicBezTo>
                        <a:pt x="15116" y="11875"/>
                        <a:pt x="13335" y="11587"/>
                        <a:pt x="12471" y="11587"/>
                      </a:cubicBezTo>
                      <a:cubicBezTo>
                        <a:pt x="12412" y="11587"/>
                        <a:pt x="12357" y="11588"/>
                        <a:pt x="12308" y="11591"/>
                      </a:cubicBezTo>
                      <a:lnTo>
                        <a:pt x="12577" y="11202"/>
                      </a:lnTo>
                      <a:cubicBezTo>
                        <a:pt x="12577" y="11202"/>
                        <a:pt x="11336" y="10900"/>
                        <a:pt x="10272" y="10900"/>
                      </a:cubicBezTo>
                      <a:cubicBezTo>
                        <a:pt x="10041" y="10900"/>
                        <a:pt x="9819" y="10914"/>
                        <a:pt x="9619" y="10949"/>
                      </a:cubicBezTo>
                      <a:lnTo>
                        <a:pt x="9978" y="10471"/>
                      </a:lnTo>
                      <a:lnTo>
                        <a:pt x="9978" y="10471"/>
                      </a:lnTo>
                      <a:cubicBezTo>
                        <a:pt x="9977" y="10471"/>
                        <a:pt x="8024" y="10650"/>
                        <a:pt x="6948" y="11410"/>
                      </a:cubicBezTo>
                      <a:lnTo>
                        <a:pt x="6948" y="11410"/>
                      </a:lnTo>
                      <a:cubicBezTo>
                        <a:pt x="7006" y="11369"/>
                        <a:pt x="8007" y="10646"/>
                        <a:pt x="8529" y="9515"/>
                      </a:cubicBezTo>
                      <a:lnTo>
                        <a:pt x="7887" y="9470"/>
                      </a:lnTo>
                      <a:cubicBezTo>
                        <a:pt x="7887" y="9470"/>
                        <a:pt x="8813" y="7603"/>
                        <a:pt x="8873" y="6811"/>
                      </a:cubicBezTo>
                      <a:lnTo>
                        <a:pt x="8873" y="6811"/>
                      </a:lnTo>
                      <a:lnTo>
                        <a:pt x="8320" y="6826"/>
                      </a:lnTo>
                      <a:cubicBezTo>
                        <a:pt x="8320" y="6826"/>
                        <a:pt x="8678" y="4944"/>
                        <a:pt x="9052" y="3974"/>
                      </a:cubicBezTo>
                      <a:lnTo>
                        <a:pt x="9052" y="3974"/>
                      </a:lnTo>
                      <a:lnTo>
                        <a:pt x="8529" y="4033"/>
                      </a:lnTo>
                      <a:cubicBezTo>
                        <a:pt x="8529" y="4033"/>
                        <a:pt x="9276" y="658"/>
                        <a:pt x="9545"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085" name="Google Shape;1085;p17"/>
              <p:cNvGrpSpPr/>
              <p:nvPr/>
            </p:nvGrpSpPr>
            <p:grpSpPr>
              <a:xfrm>
                <a:off x="12117950" y="5719225"/>
                <a:ext cx="604550" cy="543325"/>
                <a:chOff x="12117950" y="5719225"/>
                <a:chExt cx="604550" cy="543325"/>
              </a:xfrm>
            </p:grpSpPr>
            <p:sp>
              <p:nvSpPr>
                <p:cNvPr id="1086" name="Google Shape;1086;p17"/>
                <p:cNvSpPr/>
                <p:nvPr/>
              </p:nvSpPr>
              <p:spPr>
                <a:xfrm>
                  <a:off x="12263575" y="5772250"/>
                  <a:ext cx="258025" cy="490300"/>
                </a:xfrm>
                <a:custGeom>
                  <a:avLst/>
                  <a:gdLst/>
                  <a:ahLst/>
                  <a:cxnLst/>
                  <a:rect l="l" t="t" r="r" b="b"/>
                  <a:pathLst>
                    <a:path w="10321" h="19612" extrusionOk="0">
                      <a:moveTo>
                        <a:pt x="10276" y="1"/>
                      </a:moveTo>
                      <a:cubicBezTo>
                        <a:pt x="9410" y="1599"/>
                        <a:pt x="8558" y="3212"/>
                        <a:pt x="7677" y="4795"/>
                      </a:cubicBezTo>
                      <a:cubicBezTo>
                        <a:pt x="6453" y="7006"/>
                        <a:pt x="4287" y="10993"/>
                        <a:pt x="3062" y="13174"/>
                      </a:cubicBezTo>
                      <a:cubicBezTo>
                        <a:pt x="2091" y="14981"/>
                        <a:pt x="1016" y="16803"/>
                        <a:pt x="239" y="18715"/>
                      </a:cubicBezTo>
                      <a:cubicBezTo>
                        <a:pt x="150" y="18924"/>
                        <a:pt x="75" y="19178"/>
                        <a:pt x="0" y="19417"/>
                      </a:cubicBezTo>
                      <a:lnTo>
                        <a:pt x="1135" y="19611"/>
                      </a:lnTo>
                      <a:cubicBezTo>
                        <a:pt x="1195" y="18790"/>
                        <a:pt x="1494" y="17894"/>
                        <a:pt x="1778" y="17087"/>
                      </a:cubicBezTo>
                      <a:cubicBezTo>
                        <a:pt x="2644" y="14608"/>
                        <a:pt x="4063" y="12054"/>
                        <a:pt x="5258" y="9709"/>
                      </a:cubicBezTo>
                      <a:cubicBezTo>
                        <a:pt x="6736" y="6886"/>
                        <a:pt x="8827" y="2809"/>
                        <a:pt x="10321" y="30"/>
                      </a:cubicBezTo>
                      <a:cubicBezTo>
                        <a:pt x="10321" y="30"/>
                        <a:pt x="10276" y="16"/>
                        <a:pt x="1027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7" name="Google Shape;1087;p17"/>
                <p:cNvSpPr/>
                <p:nvPr/>
              </p:nvSpPr>
              <p:spPr>
                <a:xfrm>
                  <a:off x="12383800" y="6029900"/>
                  <a:ext cx="217725" cy="173650"/>
                </a:xfrm>
                <a:custGeom>
                  <a:avLst/>
                  <a:gdLst/>
                  <a:ahLst/>
                  <a:cxnLst/>
                  <a:rect l="l" t="t" r="r" b="b"/>
                  <a:pathLst>
                    <a:path w="8709" h="6946" fill="none" extrusionOk="0">
                      <a:moveTo>
                        <a:pt x="1" y="0"/>
                      </a:moveTo>
                      <a:cubicBezTo>
                        <a:pt x="1" y="0"/>
                        <a:pt x="5497" y="2928"/>
                        <a:pt x="8708" y="6946"/>
                      </a:cubicBez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8" name="Google Shape;1088;p17"/>
                <p:cNvSpPr/>
                <p:nvPr/>
              </p:nvSpPr>
              <p:spPr>
                <a:xfrm>
                  <a:off x="12538025" y="6137800"/>
                  <a:ext cx="6000" cy="39975"/>
                </a:xfrm>
                <a:custGeom>
                  <a:avLst/>
                  <a:gdLst/>
                  <a:ahLst/>
                  <a:cxnLst/>
                  <a:rect l="l" t="t" r="r" b="b"/>
                  <a:pathLst>
                    <a:path w="240" h="1599" fill="none" extrusionOk="0">
                      <a:moveTo>
                        <a:pt x="0" y="1"/>
                      </a:moveTo>
                      <a:lnTo>
                        <a:pt x="239" y="1599"/>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9" name="Google Shape;1089;p17"/>
                <p:cNvSpPr/>
                <p:nvPr/>
              </p:nvSpPr>
              <p:spPr>
                <a:xfrm>
                  <a:off x="12472300" y="6085525"/>
                  <a:ext cx="66100" cy="5625"/>
                </a:xfrm>
                <a:custGeom>
                  <a:avLst/>
                  <a:gdLst/>
                  <a:ahLst/>
                  <a:cxnLst/>
                  <a:rect l="l" t="t" r="r" b="b"/>
                  <a:pathLst>
                    <a:path w="2644" h="225" fill="none" extrusionOk="0">
                      <a:moveTo>
                        <a:pt x="0" y="1"/>
                      </a:moveTo>
                      <a:lnTo>
                        <a:pt x="2644" y="225"/>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0" name="Google Shape;1090;p17"/>
                <p:cNvSpPr/>
                <p:nvPr/>
              </p:nvSpPr>
              <p:spPr>
                <a:xfrm>
                  <a:off x="12400600" y="5975375"/>
                  <a:ext cx="321900" cy="22800"/>
                </a:xfrm>
                <a:custGeom>
                  <a:avLst/>
                  <a:gdLst/>
                  <a:ahLst/>
                  <a:cxnLst/>
                  <a:rect l="l" t="t" r="r" b="b"/>
                  <a:pathLst>
                    <a:path w="12876" h="912" fill="none" extrusionOk="0">
                      <a:moveTo>
                        <a:pt x="1" y="912"/>
                      </a:moveTo>
                      <a:cubicBezTo>
                        <a:pt x="1" y="912"/>
                        <a:pt x="7484" y="1"/>
                        <a:pt x="12875" y="105"/>
                      </a:cubicBez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1" name="Google Shape;1091;p17"/>
                <p:cNvSpPr/>
                <p:nvPr/>
              </p:nvSpPr>
              <p:spPr>
                <a:xfrm>
                  <a:off x="12617175" y="5979500"/>
                  <a:ext cx="67975" cy="23525"/>
                </a:xfrm>
                <a:custGeom>
                  <a:avLst/>
                  <a:gdLst/>
                  <a:ahLst/>
                  <a:cxnLst/>
                  <a:rect l="l" t="t" r="r" b="b"/>
                  <a:pathLst>
                    <a:path w="2719" h="941" fill="none" extrusionOk="0">
                      <a:moveTo>
                        <a:pt x="0" y="0"/>
                      </a:moveTo>
                      <a:lnTo>
                        <a:pt x="2719" y="94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2" name="Google Shape;1092;p17"/>
                <p:cNvSpPr/>
                <p:nvPr/>
              </p:nvSpPr>
              <p:spPr>
                <a:xfrm>
                  <a:off x="12525700" y="5955600"/>
                  <a:ext cx="22800" cy="30250"/>
                </a:xfrm>
                <a:custGeom>
                  <a:avLst/>
                  <a:gdLst/>
                  <a:ahLst/>
                  <a:cxnLst/>
                  <a:rect l="l" t="t" r="r" b="b"/>
                  <a:pathLst>
                    <a:path w="912" h="1210" fill="none" extrusionOk="0">
                      <a:moveTo>
                        <a:pt x="0" y="1210"/>
                      </a:moveTo>
                      <a:lnTo>
                        <a:pt x="911" y="0"/>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3" name="Google Shape;1093;p17"/>
                <p:cNvSpPr/>
                <p:nvPr/>
              </p:nvSpPr>
              <p:spPr>
                <a:xfrm>
                  <a:off x="12117950" y="5945500"/>
                  <a:ext cx="265875" cy="84425"/>
                </a:xfrm>
                <a:custGeom>
                  <a:avLst/>
                  <a:gdLst/>
                  <a:ahLst/>
                  <a:cxnLst/>
                  <a:rect l="l" t="t" r="r" b="b"/>
                  <a:pathLst>
                    <a:path w="10635" h="3377" fill="none" extrusionOk="0">
                      <a:moveTo>
                        <a:pt x="10635" y="3376"/>
                      </a:moveTo>
                      <a:cubicBezTo>
                        <a:pt x="10635" y="3376"/>
                        <a:pt x="5138" y="434"/>
                        <a:pt x="0" y="1"/>
                      </a:cubicBez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4" name="Google Shape;1094;p17"/>
                <p:cNvSpPr/>
                <p:nvPr/>
              </p:nvSpPr>
              <p:spPr>
                <a:xfrm>
                  <a:off x="12171350" y="5961575"/>
                  <a:ext cx="36975" cy="17575"/>
                </a:xfrm>
                <a:custGeom>
                  <a:avLst/>
                  <a:gdLst/>
                  <a:ahLst/>
                  <a:cxnLst/>
                  <a:rect l="l" t="t" r="r" b="b"/>
                  <a:pathLst>
                    <a:path w="1479" h="703" fill="none" extrusionOk="0">
                      <a:moveTo>
                        <a:pt x="1479" y="0"/>
                      </a:moveTo>
                      <a:lnTo>
                        <a:pt x="0" y="702"/>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5" name="Google Shape;1095;p17"/>
                <p:cNvSpPr/>
                <p:nvPr/>
              </p:nvSpPr>
              <p:spPr>
                <a:xfrm>
                  <a:off x="12246775" y="5935050"/>
                  <a:ext cx="41475" cy="52300"/>
                </a:xfrm>
                <a:custGeom>
                  <a:avLst/>
                  <a:gdLst/>
                  <a:ahLst/>
                  <a:cxnLst/>
                  <a:rect l="l" t="t" r="r" b="b"/>
                  <a:pathLst>
                    <a:path w="1659" h="2092" fill="none" extrusionOk="0">
                      <a:moveTo>
                        <a:pt x="1658" y="2092"/>
                      </a:moveTo>
                      <a:lnTo>
                        <a:pt x="0" y="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6" name="Google Shape;1096;p17"/>
                <p:cNvSpPr/>
                <p:nvPr/>
              </p:nvSpPr>
              <p:spPr>
                <a:xfrm>
                  <a:off x="12238550" y="5719225"/>
                  <a:ext cx="162075" cy="278950"/>
                </a:xfrm>
                <a:custGeom>
                  <a:avLst/>
                  <a:gdLst/>
                  <a:ahLst/>
                  <a:cxnLst/>
                  <a:rect l="l" t="t" r="r" b="b"/>
                  <a:pathLst>
                    <a:path w="6483" h="11158" fill="none" extrusionOk="0">
                      <a:moveTo>
                        <a:pt x="6483" y="11158"/>
                      </a:moveTo>
                      <a:cubicBezTo>
                        <a:pt x="6483" y="11158"/>
                        <a:pt x="3077" y="4452"/>
                        <a:pt x="1" y="1"/>
                      </a:cubicBez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7" name="Google Shape;1097;p17"/>
                <p:cNvSpPr/>
                <p:nvPr/>
              </p:nvSpPr>
              <p:spPr>
                <a:xfrm>
                  <a:off x="12238550" y="5764400"/>
                  <a:ext cx="57150" cy="43725"/>
                </a:xfrm>
                <a:custGeom>
                  <a:avLst/>
                  <a:gdLst/>
                  <a:ahLst/>
                  <a:cxnLst/>
                  <a:rect l="l" t="t" r="r" b="b"/>
                  <a:pathLst>
                    <a:path w="2286" h="1749" fill="none" extrusionOk="0">
                      <a:moveTo>
                        <a:pt x="2286" y="1748"/>
                      </a:moveTo>
                      <a:lnTo>
                        <a:pt x="1" y="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8" name="Google Shape;1098;p17"/>
                <p:cNvSpPr/>
                <p:nvPr/>
              </p:nvSpPr>
              <p:spPr>
                <a:xfrm>
                  <a:off x="12341225" y="5851775"/>
                  <a:ext cx="12725" cy="35500"/>
                </a:xfrm>
                <a:custGeom>
                  <a:avLst/>
                  <a:gdLst/>
                  <a:ahLst/>
                  <a:cxnLst/>
                  <a:rect l="l" t="t" r="r" b="b"/>
                  <a:pathLst>
                    <a:path w="509" h="1420" fill="none" extrusionOk="0">
                      <a:moveTo>
                        <a:pt x="1" y="1420"/>
                      </a:moveTo>
                      <a:lnTo>
                        <a:pt x="509" y="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9" name="Google Shape;1099;p17"/>
                <p:cNvSpPr/>
                <p:nvPr/>
              </p:nvSpPr>
              <p:spPr>
                <a:xfrm>
                  <a:off x="12474525" y="5840200"/>
                  <a:ext cx="56800" cy="19825"/>
                </a:xfrm>
                <a:custGeom>
                  <a:avLst/>
                  <a:gdLst/>
                  <a:ahLst/>
                  <a:cxnLst/>
                  <a:rect l="l" t="t" r="r" b="b"/>
                  <a:pathLst>
                    <a:path w="2272" h="793" fill="none" extrusionOk="0">
                      <a:moveTo>
                        <a:pt x="1" y="793"/>
                      </a:moveTo>
                      <a:lnTo>
                        <a:pt x="2271" y="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0" name="Google Shape;1100;p17"/>
                <p:cNvSpPr/>
                <p:nvPr/>
              </p:nvSpPr>
              <p:spPr>
                <a:xfrm>
                  <a:off x="12483875" y="5783075"/>
                  <a:ext cx="12725" cy="35125"/>
                </a:xfrm>
                <a:custGeom>
                  <a:avLst/>
                  <a:gdLst/>
                  <a:ahLst/>
                  <a:cxnLst/>
                  <a:rect l="l" t="t" r="r" b="b"/>
                  <a:pathLst>
                    <a:path w="509" h="1405" fill="none" extrusionOk="0">
                      <a:moveTo>
                        <a:pt x="0" y="1"/>
                      </a:moveTo>
                      <a:lnTo>
                        <a:pt x="508" y="1405"/>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101" name="Google Shape;1101;p17"/>
            <p:cNvGrpSpPr/>
            <p:nvPr/>
          </p:nvGrpSpPr>
          <p:grpSpPr>
            <a:xfrm rot="-2700000">
              <a:off x="-27671" y="3843651"/>
              <a:ext cx="1126123" cy="2602505"/>
              <a:chOff x="9249900" y="4641450"/>
              <a:chExt cx="540700" cy="1249575"/>
            </a:xfrm>
          </p:grpSpPr>
          <p:sp>
            <p:nvSpPr>
              <p:cNvPr id="1102" name="Google Shape;1102;p17"/>
              <p:cNvSpPr/>
              <p:nvPr/>
            </p:nvSpPr>
            <p:spPr>
              <a:xfrm>
                <a:off x="9249900" y="4641450"/>
                <a:ext cx="540700" cy="952775"/>
              </a:xfrm>
              <a:custGeom>
                <a:avLst/>
                <a:gdLst/>
                <a:ahLst/>
                <a:cxnLst/>
                <a:rect l="l" t="t" r="r" b="b"/>
                <a:pathLst>
                  <a:path w="21628" h="38111" extrusionOk="0">
                    <a:moveTo>
                      <a:pt x="9130" y="1"/>
                    </a:moveTo>
                    <a:cubicBezTo>
                      <a:pt x="9104" y="1"/>
                      <a:pt x="9078" y="3"/>
                      <a:pt x="9052" y="7"/>
                    </a:cubicBezTo>
                    <a:cubicBezTo>
                      <a:pt x="7185" y="291"/>
                      <a:pt x="7170" y="6295"/>
                      <a:pt x="7170" y="6295"/>
                    </a:cubicBezTo>
                    <a:cubicBezTo>
                      <a:pt x="7170" y="6295"/>
                      <a:pt x="6717" y="16276"/>
                      <a:pt x="8971" y="16276"/>
                    </a:cubicBezTo>
                    <a:cubicBezTo>
                      <a:pt x="8998" y="16276"/>
                      <a:pt x="9024" y="16275"/>
                      <a:pt x="9052" y="16272"/>
                    </a:cubicBezTo>
                    <a:cubicBezTo>
                      <a:pt x="11396" y="16048"/>
                      <a:pt x="11187" y="13330"/>
                      <a:pt x="10933" y="11717"/>
                    </a:cubicBezTo>
                    <a:cubicBezTo>
                      <a:pt x="10665" y="10118"/>
                      <a:pt x="10172" y="9566"/>
                      <a:pt x="10172" y="9566"/>
                    </a:cubicBezTo>
                    <a:cubicBezTo>
                      <a:pt x="10172" y="9566"/>
                      <a:pt x="10897" y="1"/>
                      <a:pt x="9130" y="1"/>
                    </a:cubicBezTo>
                    <a:close/>
                    <a:moveTo>
                      <a:pt x="15207" y="5963"/>
                    </a:moveTo>
                    <a:cubicBezTo>
                      <a:pt x="14555" y="5963"/>
                      <a:pt x="14249" y="6728"/>
                      <a:pt x="14249" y="6728"/>
                    </a:cubicBezTo>
                    <a:lnTo>
                      <a:pt x="12741" y="12329"/>
                    </a:lnTo>
                    <a:cubicBezTo>
                      <a:pt x="12741" y="12329"/>
                      <a:pt x="12054" y="12628"/>
                      <a:pt x="11710" y="13330"/>
                    </a:cubicBezTo>
                    <a:cubicBezTo>
                      <a:pt x="11113" y="14539"/>
                      <a:pt x="10859" y="16511"/>
                      <a:pt x="12173" y="17332"/>
                    </a:cubicBezTo>
                    <a:cubicBezTo>
                      <a:pt x="12346" y="17440"/>
                      <a:pt x="12512" y="17490"/>
                      <a:pt x="12672" y="17490"/>
                    </a:cubicBezTo>
                    <a:cubicBezTo>
                      <a:pt x="14997" y="17490"/>
                      <a:pt x="15952" y="6833"/>
                      <a:pt x="15952" y="6833"/>
                    </a:cubicBezTo>
                    <a:cubicBezTo>
                      <a:pt x="15952" y="6833"/>
                      <a:pt x="15997" y="6011"/>
                      <a:pt x="15280" y="5966"/>
                    </a:cubicBezTo>
                    <a:cubicBezTo>
                      <a:pt x="15255" y="5964"/>
                      <a:pt x="15231" y="5963"/>
                      <a:pt x="15207" y="5963"/>
                    </a:cubicBezTo>
                    <a:close/>
                    <a:moveTo>
                      <a:pt x="3131" y="9476"/>
                    </a:moveTo>
                    <a:cubicBezTo>
                      <a:pt x="3056" y="9476"/>
                      <a:pt x="2979" y="9486"/>
                      <a:pt x="2898" y="9506"/>
                    </a:cubicBezTo>
                    <a:cubicBezTo>
                      <a:pt x="2151" y="9715"/>
                      <a:pt x="2360" y="10596"/>
                      <a:pt x="2360" y="10596"/>
                    </a:cubicBezTo>
                    <a:cubicBezTo>
                      <a:pt x="2360" y="10596"/>
                      <a:pt x="5407" y="21429"/>
                      <a:pt x="7893" y="21429"/>
                    </a:cubicBezTo>
                    <a:cubicBezTo>
                      <a:pt x="8121" y="21429"/>
                      <a:pt x="8343" y="21339"/>
                      <a:pt x="8559" y="21141"/>
                    </a:cubicBezTo>
                    <a:cubicBezTo>
                      <a:pt x="9813" y="19991"/>
                      <a:pt x="9141" y="17915"/>
                      <a:pt x="8260" y="16735"/>
                    </a:cubicBezTo>
                    <a:cubicBezTo>
                      <a:pt x="7752" y="16063"/>
                      <a:pt x="6931" y="15869"/>
                      <a:pt x="6931" y="15869"/>
                    </a:cubicBezTo>
                    <a:lnTo>
                      <a:pt x="4168" y="10133"/>
                    </a:lnTo>
                    <a:cubicBezTo>
                      <a:pt x="4168" y="10133"/>
                      <a:pt x="3761" y="9476"/>
                      <a:pt x="3131" y="9476"/>
                    </a:cubicBezTo>
                    <a:close/>
                    <a:moveTo>
                      <a:pt x="19253" y="10213"/>
                    </a:moveTo>
                    <a:cubicBezTo>
                      <a:pt x="18477" y="10213"/>
                      <a:pt x="17968" y="11030"/>
                      <a:pt x="17968" y="11030"/>
                    </a:cubicBezTo>
                    <a:lnTo>
                      <a:pt x="14503" y="18288"/>
                    </a:lnTo>
                    <a:cubicBezTo>
                      <a:pt x="14503" y="18288"/>
                      <a:pt x="13487" y="18542"/>
                      <a:pt x="12845" y="19394"/>
                    </a:cubicBezTo>
                    <a:cubicBezTo>
                      <a:pt x="11725" y="20887"/>
                      <a:pt x="10889" y="23531"/>
                      <a:pt x="12487" y="24980"/>
                    </a:cubicBezTo>
                    <a:cubicBezTo>
                      <a:pt x="12756" y="25223"/>
                      <a:pt x="13034" y="25335"/>
                      <a:pt x="13317" y="25335"/>
                    </a:cubicBezTo>
                    <a:cubicBezTo>
                      <a:pt x="16458" y="25335"/>
                      <a:pt x="20253" y="11612"/>
                      <a:pt x="20253" y="11612"/>
                    </a:cubicBezTo>
                    <a:cubicBezTo>
                      <a:pt x="20253" y="11612"/>
                      <a:pt x="20522" y="10507"/>
                      <a:pt x="19551" y="10253"/>
                    </a:cubicBezTo>
                    <a:cubicBezTo>
                      <a:pt x="19448" y="10225"/>
                      <a:pt x="19349" y="10213"/>
                      <a:pt x="19253" y="10213"/>
                    </a:cubicBezTo>
                    <a:close/>
                    <a:moveTo>
                      <a:pt x="1200" y="17758"/>
                    </a:moveTo>
                    <a:cubicBezTo>
                      <a:pt x="1054" y="17758"/>
                      <a:pt x="901" y="17790"/>
                      <a:pt x="747" y="17870"/>
                    </a:cubicBezTo>
                    <a:cubicBezTo>
                      <a:pt x="0" y="18273"/>
                      <a:pt x="434" y="19125"/>
                      <a:pt x="434" y="19125"/>
                    </a:cubicBezTo>
                    <a:cubicBezTo>
                      <a:pt x="434" y="19125"/>
                      <a:pt x="5860" y="29264"/>
                      <a:pt x="8555" y="29264"/>
                    </a:cubicBezTo>
                    <a:cubicBezTo>
                      <a:pt x="8879" y="29264"/>
                      <a:pt x="9164" y="29117"/>
                      <a:pt x="9395" y="28788"/>
                    </a:cubicBezTo>
                    <a:cubicBezTo>
                      <a:pt x="10456" y="27295"/>
                      <a:pt x="9261" y="25248"/>
                      <a:pt x="8051" y="24218"/>
                    </a:cubicBezTo>
                    <a:cubicBezTo>
                      <a:pt x="7349" y="23635"/>
                      <a:pt x="6453" y="23620"/>
                      <a:pt x="6453" y="23620"/>
                    </a:cubicBezTo>
                    <a:lnTo>
                      <a:pt x="2211" y="18229"/>
                    </a:lnTo>
                    <a:cubicBezTo>
                      <a:pt x="2211" y="18229"/>
                      <a:pt x="1759" y="17758"/>
                      <a:pt x="1200" y="17758"/>
                    </a:cubicBezTo>
                    <a:close/>
                    <a:moveTo>
                      <a:pt x="20313" y="20263"/>
                    </a:moveTo>
                    <a:cubicBezTo>
                      <a:pt x="19485" y="20263"/>
                      <a:pt x="18939" y="21141"/>
                      <a:pt x="18939" y="21141"/>
                    </a:cubicBezTo>
                    <a:lnTo>
                      <a:pt x="15295" y="28788"/>
                    </a:lnTo>
                    <a:cubicBezTo>
                      <a:pt x="15295" y="28788"/>
                      <a:pt x="14219" y="29057"/>
                      <a:pt x="13532" y="29953"/>
                    </a:cubicBezTo>
                    <a:cubicBezTo>
                      <a:pt x="12352" y="31536"/>
                      <a:pt x="11456" y="34315"/>
                      <a:pt x="13144" y="35853"/>
                    </a:cubicBezTo>
                    <a:cubicBezTo>
                      <a:pt x="13429" y="36112"/>
                      <a:pt x="13724" y="36231"/>
                      <a:pt x="14025" y="36231"/>
                    </a:cubicBezTo>
                    <a:cubicBezTo>
                      <a:pt x="17341" y="36231"/>
                      <a:pt x="21359" y="21753"/>
                      <a:pt x="21359" y="21753"/>
                    </a:cubicBezTo>
                    <a:cubicBezTo>
                      <a:pt x="21359" y="21753"/>
                      <a:pt x="21628" y="20588"/>
                      <a:pt x="20627" y="20305"/>
                    </a:cubicBezTo>
                    <a:cubicBezTo>
                      <a:pt x="20518" y="20276"/>
                      <a:pt x="20413" y="20263"/>
                      <a:pt x="20313" y="20263"/>
                    </a:cubicBezTo>
                    <a:close/>
                    <a:moveTo>
                      <a:pt x="2898" y="26192"/>
                    </a:moveTo>
                    <a:cubicBezTo>
                      <a:pt x="2758" y="26192"/>
                      <a:pt x="2613" y="26222"/>
                      <a:pt x="2465" y="26294"/>
                    </a:cubicBezTo>
                    <a:cubicBezTo>
                      <a:pt x="1688" y="26667"/>
                      <a:pt x="2091" y="27549"/>
                      <a:pt x="2091" y="27549"/>
                    </a:cubicBezTo>
                    <a:cubicBezTo>
                      <a:pt x="2091" y="27549"/>
                      <a:pt x="7270" y="38111"/>
                      <a:pt x="9987" y="38111"/>
                    </a:cubicBezTo>
                    <a:cubicBezTo>
                      <a:pt x="10299" y="38111"/>
                      <a:pt x="10578" y="37971"/>
                      <a:pt x="10814" y="37660"/>
                    </a:cubicBezTo>
                    <a:cubicBezTo>
                      <a:pt x="11934" y="36167"/>
                      <a:pt x="10799" y="34061"/>
                      <a:pt x="9604" y="32970"/>
                    </a:cubicBezTo>
                    <a:cubicBezTo>
                      <a:pt x="8932" y="32343"/>
                      <a:pt x="8021" y="32298"/>
                      <a:pt x="8021" y="32298"/>
                    </a:cubicBezTo>
                    <a:lnTo>
                      <a:pt x="3944" y="26697"/>
                    </a:lnTo>
                    <a:cubicBezTo>
                      <a:pt x="3944" y="26697"/>
                      <a:pt x="3478" y="26192"/>
                      <a:pt x="2898" y="26192"/>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3" name="Google Shape;1103;p17"/>
              <p:cNvSpPr/>
              <p:nvPr/>
            </p:nvSpPr>
            <p:spPr>
              <a:xfrm>
                <a:off x="9470575" y="4731600"/>
                <a:ext cx="141175" cy="1159425"/>
              </a:xfrm>
              <a:custGeom>
                <a:avLst/>
                <a:gdLst/>
                <a:ahLst/>
                <a:cxnLst/>
                <a:rect l="l" t="t" r="r" b="b"/>
                <a:pathLst>
                  <a:path w="5647" h="46377" extrusionOk="0">
                    <a:moveTo>
                      <a:pt x="1" y="0"/>
                    </a:moveTo>
                    <a:cubicBezTo>
                      <a:pt x="523" y="15504"/>
                      <a:pt x="1927" y="31157"/>
                      <a:pt x="5019" y="46376"/>
                    </a:cubicBezTo>
                    <a:lnTo>
                      <a:pt x="5646" y="46242"/>
                    </a:lnTo>
                    <a:cubicBezTo>
                      <a:pt x="2316" y="31052"/>
                      <a:pt x="807" y="15504"/>
                      <a:pt x="1"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4" name="Google Shape;1104;p17"/>
              <p:cNvSpPr/>
              <p:nvPr/>
            </p:nvSpPr>
            <p:spPr>
              <a:xfrm>
                <a:off x="9284250" y="4815975"/>
                <a:ext cx="458175" cy="805450"/>
              </a:xfrm>
              <a:custGeom>
                <a:avLst/>
                <a:gdLst/>
                <a:ahLst/>
                <a:cxnLst/>
                <a:rect l="l" t="t" r="r" b="b"/>
                <a:pathLst>
                  <a:path w="18327" h="32218" fill="none" extrusionOk="0">
                    <a:moveTo>
                      <a:pt x="1838" y="4019"/>
                    </a:moveTo>
                    <a:cubicBezTo>
                      <a:pt x="1838" y="4019"/>
                      <a:pt x="7140" y="14489"/>
                      <a:pt x="8962" y="16535"/>
                    </a:cubicBezTo>
                    <a:moveTo>
                      <a:pt x="18327" y="15445"/>
                    </a:moveTo>
                    <a:cubicBezTo>
                      <a:pt x="18327" y="15445"/>
                      <a:pt x="13069" y="27572"/>
                      <a:pt x="10605" y="30604"/>
                    </a:cubicBezTo>
                    <a:moveTo>
                      <a:pt x="2181" y="21270"/>
                    </a:moveTo>
                    <a:cubicBezTo>
                      <a:pt x="2181" y="21270"/>
                      <a:pt x="7797" y="29858"/>
                      <a:pt x="10844" y="32218"/>
                    </a:cubicBezTo>
                    <a:moveTo>
                      <a:pt x="1" y="12159"/>
                    </a:moveTo>
                    <a:cubicBezTo>
                      <a:pt x="1" y="12159"/>
                      <a:pt x="7334" y="22166"/>
                      <a:pt x="9724" y="23898"/>
                    </a:cubicBezTo>
                    <a:moveTo>
                      <a:pt x="17894" y="4407"/>
                    </a:moveTo>
                    <a:cubicBezTo>
                      <a:pt x="17894" y="4407"/>
                      <a:pt x="13010" y="17043"/>
                      <a:pt x="9425" y="21270"/>
                    </a:cubicBezTo>
                    <a:moveTo>
                      <a:pt x="13891" y="1"/>
                    </a:moveTo>
                    <a:cubicBezTo>
                      <a:pt x="13891" y="1"/>
                      <a:pt x="11740" y="11128"/>
                      <a:pt x="8783" y="1462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05" name="Google Shape;1105;p17"/>
            <p:cNvGrpSpPr/>
            <p:nvPr/>
          </p:nvGrpSpPr>
          <p:grpSpPr>
            <a:xfrm rot="5400000">
              <a:off x="573221" y="1300248"/>
              <a:ext cx="280103" cy="333022"/>
              <a:chOff x="5532358" y="120998"/>
              <a:chExt cx="280103" cy="333022"/>
            </a:xfrm>
          </p:grpSpPr>
          <p:sp>
            <p:nvSpPr>
              <p:cNvPr id="1106" name="Google Shape;1106;p17"/>
              <p:cNvSpPr/>
              <p:nvPr/>
            </p:nvSpPr>
            <p:spPr>
              <a:xfrm>
                <a:off x="5629561" y="33851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7" name="Google Shape;1107;p17"/>
              <p:cNvSpPr/>
              <p:nvPr/>
            </p:nvSpPr>
            <p:spPr>
              <a:xfrm rot="5400000">
                <a:off x="5663269" y="15468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8" name="Google Shape;1108;p17"/>
              <p:cNvSpPr/>
              <p:nvPr/>
            </p:nvSpPr>
            <p:spPr>
              <a:xfrm rot="2700000">
                <a:off x="5546413" y="22511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09" name="Google Shape;1109;p17"/>
            <p:cNvSpPr/>
            <p:nvPr/>
          </p:nvSpPr>
          <p:spPr>
            <a:xfrm>
              <a:off x="347472" y="996696"/>
              <a:ext cx="179313" cy="389284"/>
            </a:xfrm>
            <a:custGeom>
              <a:avLst/>
              <a:gdLst/>
              <a:ahLst/>
              <a:cxnLst/>
              <a:rect l="l" t="t" r="r" b="b"/>
              <a:pathLst>
                <a:path w="4720" h="10247" fill="none" extrusionOk="0">
                  <a:moveTo>
                    <a:pt x="0" y="10247"/>
                  </a:moveTo>
                  <a:cubicBezTo>
                    <a:pt x="0" y="10247"/>
                    <a:pt x="3928" y="6020"/>
                    <a:pt x="4720" y="5647"/>
                  </a:cubicBezTo>
                  <a:moveTo>
                    <a:pt x="2763" y="2615"/>
                  </a:moveTo>
                  <a:cubicBezTo>
                    <a:pt x="2763" y="2615"/>
                    <a:pt x="3689" y="1390"/>
                    <a:pt x="4436" y="1226"/>
                  </a:cubicBezTo>
                  <a:moveTo>
                    <a:pt x="1359" y="8813"/>
                  </a:moveTo>
                  <a:cubicBezTo>
                    <a:pt x="1359" y="8813"/>
                    <a:pt x="3361" y="3735"/>
                    <a:pt x="262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0" name="Google Shape;1110;p17"/>
            <p:cNvGrpSpPr/>
            <p:nvPr/>
          </p:nvGrpSpPr>
          <p:grpSpPr>
            <a:xfrm rot="5400000">
              <a:off x="2365661" y="3713598"/>
              <a:ext cx="182900" cy="333022"/>
              <a:chOff x="3426361" y="367748"/>
              <a:chExt cx="182900" cy="333022"/>
            </a:xfrm>
          </p:grpSpPr>
          <p:sp>
            <p:nvSpPr>
              <p:cNvPr id="1111" name="Google Shape;1111;p17"/>
              <p:cNvSpPr/>
              <p:nvPr/>
            </p:nvSpPr>
            <p:spPr>
              <a:xfrm>
                <a:off x="3426361" y="58526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2" name="Google Shape;1112;p17"/>
              <p:cNvSpPr/>
              <p:nvPr/>
            </p:nvSpPr>
            <p:spPr>
              <a:xfrm rot="5400000">
                <a:off x="3460069" y="40143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13" name="Google Shape;1113;p17"/>
            <p:cNvGrpSpPr/>
            <p:nvPr/>
          </p:nvGrpSpPr>
          <p:grpSpPr>
            <a:xfrm rot="-1799872">
              <a:off x="3177244" y="4028561"/>
              <a:ext cx="552686" cy="612865"/>
              <a:chOff x="11133675" y="7488050"/>
              <a:chExt cx="552650" cy="612825"/>
            </a:xfrm>
          </p:grpSpPr>
          <p:sp>
            <p:nvSpPr>
              <p:cNvPr id="1114" name="Google Shape;1114;p17"/>
              <p:cNvSpPr/>
              <p:nvPr/>
            </p:nvSpPr>
            <p:spPr>
              <a:xfrm>
                <a:off x="11241225" y="7488050"/>
                <a:ext cx="424575" cy="405875"/>
              </a:xfrm>
              <a:custGeom>
                <a:avLst/>
                <a:gdLst/>
                <a:ahLst/>
                <a:cxnLst/>
                <a:rect l="l" t="t" r="r" b="b"/>
                <a:pathLst>
                  <a:path w="16983" h="16235" extrusionOk="0">
                    <a:moveTo>
                      <a:pt x="11355" y="0"/>
                    </a:moveTo>
                    <a:cubicBezTo>
                      <a:pt x="11228" y="0"/>
                      <a:pt x="11083" y="18"/>
                      <a:pt x="10918" y="59"/>
                    </a:cubicBezTo>
                    <a:cubicBezTo>
                      <a:pt x="9380" y="447"/>
                      <a:pt x="9141" y="3315"/>
                      <a:pt x="9141" y="3315"/>
                    </a:cubicBezTo>
                    <a:cubicBezTo>
                      <a:pt x="9141" y="3315"/>
                      <a:pt x="9000" y="1466"/>
                      <a:pt x="7845" y="1466"/>
                    </a:cubicBezTo>
                    <a:cubicBezTo>
                      <a:pt x="7643" y="1466"/>
                      <a:pt x="7409" y="1523"/>
                      <a:pt x="7139" y="1657"/>
                    </a:cubicBezTo>
                    <a:cubicBezTo>
                      <a:pt x="5390" y="2524"/>
                      <a:pt x="6285" y="5937"/>
                      <a:pt x="6345" y="6156"/>
                    </a:cubicBezTo>
                    <a:lnTo>
                      <a:pt x="6345" y="6156"/>
                    </a:lnTo>
                    <a:cubicBezTo>
                      <a:pt x="6304" y="6011"/>
                      <a:pt x="5851" y="4481"/>
                      <a:pt x="4831" y="4481"/>
                    </a:cubicBezTo>
                    <a:cubicBezTo>
                      <a:pt x="4572" y="4481"/>
                      <a:pt x="4277" y="4579"/>
                      <a:pt x="3943" y="4823"/>
                    </a:cubicBezTo>
                    <a:cubicBezTo>
                      <a:pt x="2240" y="6078"/>
                      <a:pt x="3510" y="9692"/>
                      <a:pt x="3510" y="9692"/>
                    </a:cubicBezTo>
                    <a:cubicBezTo>
                      <a:pt x="3510" y="9692"/>
                      <a:pt x="3096" y="8778"/>
                      <a:pt x="2458" y="8778"/>
                    </a:cubicBezTo>
                    <a:cubicBezTo>
                      <a:pt x="2257" y="8778"/>
                      <a:pt x="2033" y="8869"/>
                      <a:pt x="1792" y="9110"/>
                    </a:cubicBezTo>
                    <a:cubicBezTo>
                      <a:pt x="777" y="10095"/>
                      <a:pt x="2046" y="12515"/>
                      <a:pt x="2046" y="12515"/>
                    </a:cubicBezTo>
                    <a:cubicBezTo>
                      <a:pt x="2046" y="12515"/>
                      <a:pt x="1996" y="12511"/>
                      <a:pt x="1913" y="12511"/>
                    </a:cubicBezTo>
                    <a:cubicBezTo>
                      <a:pt x="1659" y="12511"/>
                      <a:pt x="1100" y="12553"/>
                      <a:pt x="807" y="12903"/>
                    </a:cubicBezTo>
                    <a:cubicBezTo>
                      <a:pt x="433" y="13352"/>
                      <a:pt x="1046" y="14412"/>
                      <a:pt x="523" y="15054"/>
                    </a:cubicBezTo>
                    <a:cubicBezTo>
                      <a:pt x="0" y="15696"/>
                      <a:pt x="284" y="16234"/>
                      <a:pt x="284" y="16234"/>
                    </a:cubicBezTo>
                    <a:lnTo>
                      <a:pt x="16982" y="671"/>
                    </a:lnTo>
                    <a:cubicBezTo>
                      <a:pt x="16833" y="508"/>
                      <a:pt x="16625" y="442"/>
                      <a:pt x="16385" y="442"/>
                    </a:cubicBezTo>
                    <a:cubicBezTo>
                      <a:pt x="15376" y="442"/>
                      <a:pt x="13816" y="1612"/>
                      <a:pt x="13816" y="1612"/>
                    </a:cubicBezTo>
                    <a:cubicBezTo>
                      <a:pt x="13816" y="1612"/>
                      <a:pt x="13771" y="163"/>
                      <a:pt x="13271" y="163"/>
                    </a:cubicBezTo>
                    <a:cubicBezTo>
                      <a:pt x="13268" y="163"/>
                      <a:pt x="13266" y="163"/>
                      <a:pt x="13263" y="163"/>
                    </a:cubicBezTo>
                    <a:cubicBezTo>
                      <a:pt x="12755" y="163"/>
                      <a:pt x="12262" y="1224"/>
                      <a:pt x="12262" y="1224"/>
                    </a:cubicBezTo>
                    <a:cubicBezTo>
                      <a:pt x="12262" y="1224"/>
                      <a:pt x="12405" y="0"/>
                      <a:pt x="1135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5" name="Google Shape;1115;p17"/>
              <p:cNvSpPr/>
              <p:nvPr/>
            </p:nvSpPr>
            <p:spPr>
              <a:xfrm>
                <a:off x="11248300" y="7504800"/>
                <a:ext cx="438025" cy="391700"/>
              </a:xfrm>
              <a:custGeom>
                <a:avLst/>
                <a:gdLst/>
                <a:ahLst/>
                <a:cxnLst/>
                <a:rect l="l" t="t" r="r" b="b"/>
                <a:pathLst>
                  <a:path w="17521" h="15668" extrusionOk="0">
                    <a:moveTo>
                      <a:pt x="16714" y="1"/>
                    </a:moveTo>
                    <a:lnTo>
                      <a:pt x="1" y="15564"/>
                    </a:lnTo>
                    <a:cubicBezTo>
                      <a:pt x="1" y="15564"/>
                      <a:pt x="169" y="15668"/>
                      <a:pt x="443" y="15668"/>
                    </a:cubicBezTo>
                    <a:cubicBezTo>
                      <a:pt x="645" y="15668"/>
                      <a:pt x="904" y="15611"/>
                      <a:pt x="1196" y="15415"/>
                    </a:cubicBezTo>
                    <a:cubicBezTo>
                      <a:pt x="1378" y="15289"/>
                      <a:pt x="1585" y="15248"/>
                      <a:pt x="1800" y="15248"/>
                    </a:cubicBezTo>
                    <a:cubicBezTo>
                      <a:pt x="2207" y="15248"/>
                      <a:pt x="2642" y="15396"/>
                      <a:pt x="2985" y="15396"/>
                    </a:cubicBezTo>
                    <a:cubicBezTo>
                      <a:pt x="3130" y="15396"/>
                      <a:pt x="3258" y="15370"/>
                      <a:pt x="3361" y="15295"/>
                    </a:cubicBezTo>
                    <a:cubicBezTo>
                      <a:pt x="3869" y="14952"/>
                      <a:pt x="3854" y="14086"/>
                      <a:pt x="3854" y="14085"/>
                    </a:cubicBezTo>
                    <a:lnTo>
                      <a:pt x="3854" y="14085"/>
                    </a:lnTo>
                    <a:cubicBezTo>
                      <a:pt x="3855" y="14086"/>
                      <a:pt x="5182" y="14911"/>
                      <a:pt x="6289" y="14911"/>
                    </a:cubicBezTo>
                    <a:cubicBezTo>
                      <a:pt x="6649" y="14911"/>
                      <a:pt x="6985" y="14824"/>
                      <a:pt x="7245" y="14593"/>
                    </a:cubicBezTo>
                    <a:cubicBezTo>
                      <a:pt x="8290" y="13667"/>
                      <a:pt x="6767" y="12831"/>
                      <a:pt x="6767" y="12831"/>
                    </a:cubicBezTo>
                    <a:lnTo>
                      <a:pt x="6767" y="12831"/>
                    </a:lnTo>
                    <a:cubicBezTo>
                      <a:pt x="6767" y="12831"/>
                      <a:pt x="8268" y="13482"/>
                      <a:pt x="9690" y="13482"/>
                    </a:cubicBezTo>
                    <a:cubicBezTo>
                      <a:pt x="10444" y="13482"/>
                      <a:pt x="11175" y="13300"/>
                      <a:pt x="11651" y="12741"/>
                    </a:cubicBezTo>
                    <a:cubicBezTo>
                      <a:pt x="12978" y="11183"/>
                      <a:pt x="10640" y="10322"/>
                      <a:pt x="10479" y="10265"/>
                    </a:cubicBezTo>
                    <a:lnTo>
                      <a:pt x="10479" y="10265"/>
                    </a:lnTo>
                    <a:cubicBezTo>
                      <a:pt x="10591" y="10303"/>
                      <a:pt x="11769" y="10701"/>
                      <a:pt x="12932" y="10701"/>
                    </a:cubicBezTo>
                    <a:cubicBezTo>
                      <a:pt x="13775" y="10701"/>
                      <a:pt x="14611" y="10492"/>
                      <a:pt x="15026" y="9784"/>
                    </a:cubicBezTo>
                    <a:cubicBezTo>
                      <a:pt x="16042" y="8036"/>
                      <a:pt x="13503" y="7648"/>
                      <a:pt x="13503" y="7648"/>
                    </a:cubicBezTo>
                    <a:cubicBezTo>
                      <a:pt x="13503" y="7648"/>
                      <a:pt x="16385" y="7603"/>
                      <a:pt x="16878" y="6095"/>
                    </a:cubicBezTo>
                    <a:cubicBezTo>
                      <a:pt x="17326" y="4737"/>
                      <a:pt x="16096" y="4675"/>
                      <a:pt x="15868" y="4675"/>
                    </a:cubicBezTo>
                    <a:cubicBezTo>
                      <a:pt x="15846" y="4675"/>
                      <a:pt x="15833" y="4676"/>
                      <a:pt x="15833" y="4676"/>
                    </a:cubicBezTo>
                    <a:cubicBezTo>
                      <a:pt x="15833" y="4676"/>
                      <a:pt x="16923" y="4258"/>
                      <a:pt x="16968" y="3765"/>
                    </a:cubicBezTo>
                    <a:cubicBezTo>
                      <a:pt x="17013" y="3257"/>
                      <a:pt x="15549" y="3093"/>
                      <a:pt x="15549" y="3093"/>
                    </a:cubicBezTo>
                    <a:cubicBezTo>
                      <a:pt x="15549" y="3093"/>
                      <a:pt x="17521" y="852"/>
                      <a:pt x="16714"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6" name="Google Shape;1116;p17"/>
              <p:cNvSpPr/>
              <p:nvPr/>
            </p:nvSpPr>
            <p:spPr>
              <a:xfrm>
                <a:off x="11205750" y="7904750"/>
                <a:ext cx="350250" cy="130300"/>
              </a:xfrm>
              <a:custGeom>
                <a:avLst/>
                <a:gdLst/>
                <a:ahLst/>
                <a:cxnLst/>
                <a:rect l="l" t="t" r="r" b="b"/>
                <a:pathLst>
                  <a:path w="14010" h="5212" extrusionOk="0">
                    <a:moveTo>
                      <a:pt x="6727" y="0"/>
                    </a:moveTo>
                    <a:cubicBezTo>
                      <a:pt x="5586" y="0"/>
                      <a:pt x="4466" y="1582"/>
                      <a:pt x="4466" y="1582"/>
                    </a:cubicBezTo>
                    <a:cubicBezTo>
                      <a:pt x="4466" y="1582"/>
                      <a:pt x="5019" y="656"/>
                      <a:pt x="4152" y="507"/>
                    </a:cubicBezTo>
                    <a:cubicBezTo>
                      <a:pt x="4112" y="500"/>
                      <a:pt x="4072" y="497"/>
                      <a:pt x="4032" y="497"/>
                    </a:cubicBezTo>
                    <a:cubicBezTo>
                      <a:pt x="3229" y="497"/>
                      <a:pt x="2524" y="1866"/>
                      <a:pt x="2524" y="1866"/>
                    </a:cubicBezTo>
                    <a:cubicBezTo>
                      <a:pt x="2524" y="1866"/>
                      <a:pt x="2241" y="1388"/>
                      <a:pt x="1867" y="1373"/>
                    </a:cubicBezTo>
                    <a:cubicBezTo>
                      <a:pt x="1860" y="1373"/>
                      <a:pt x="1852" y="1372"/>
                      <a:pt x="1844" y="1372"/>
                    </a:cubicBezTo>
                    <a:cubicBezTo>
                      <a:pt x="1502" y="1372"/>
                      <a:pt x="1184" y="2002"/>
                      <a:pt x="718" y="2002"/>
                    </a:cubicBezTo>
                    <a:cubicBezTo>
                      <a:pt x="708" y="2002"/>
                      <a:pt x="698" y="2001"/>
                      <a:pt x="687" y="2001"/>
                    </a:cubicBezTo>
                    <a:cubicBezTo>
                      <a:pt x="664" y="1999"/>
                      <a:pt x="642" y="1999"/>
                      <a:pt x="621" y="1999"/>
                    </a:cubicBezTo>
                    <a:cubicBezTo>
                      <a:pt x="150" y="1999"/>
                      <a:pt x="0" y="2299"/>
                      <a:pt x="0" y="2299"/>
                    </a:cubicBezTo>
                    <a:lnTo>
                      <a:pt x="13846" y="5212"/>
                    </a:lnTo>
                    <a:cubicBezTo>
                      <a:pt x="14010" y="4510"/>
                      <a:pt x="12248" y="3942"/>
                      <a:pt x="12248" y="3942"/>
                    </a:cubicBezTo>
                    <a:cubicBezTo>
                      <a:pt x="12248" y="3942"/>
                      <a:pt x="12979" y="3390"/>
                      <a:pt x="12785" y="3136"/>
                    </a:cubicBezTo>
                    <a:cubicBezTo>
                      <a:pt x="12698" y="3012"/>
                      <a:pt x="12484" y="2981"/>
                      <a:pt x="12287" y="2981"/>
                    </a:cubicBezTo>
                    <a:cubicBezTo>
                      <a:pt x="12079" y="2981"/>
                      <a:pt x="11889" y="3016"/>
                      <a:pt x="11889" y="3016"/>
                    </a:cubicBezTo>
                    <a:cubicBezTo>
                      <a:pt x="11889" y="3016"/>
                      <a:pt x="12740" y="2553"/>
                      <a:pt x="11994" y="1911"/>
                    </a:cubicBezTo>
                    <a:cubicBezTo>
                      <a:pt x="11800" y="1748"/>
                      <a:pt x="11553" y="1688"/>
                      <a:pt x="11294" y="1688"/>
                    </a:cubicBezTo>
                    <a:cubicBezTo>
                      <a:pt x="10553" y="1688"/>
                      <a:pt x="9708" y="2180"/>
                      <a:pt x="9708" y="2180"/>
                    </a:cubicBezTo>
                    <a:cubicBezTo>
                      <a:pt x="9708" y="2180"/>
                      <a:pt x="10933" y="1149"/>
                      <a:pt x="9828" y="552"/>
                    </a:cubicBezTo>
                    <a:cubicBezTo>
                      <a:pt x="9676" y="470"/>
                      <a:pt x="9516" y="435"/>
                      <a:pt x="9353" y="435"/>
                    </a:cubicBezTo>
                    <a:cubicBezTo>
                      <a:pt x="8385" y="435"/>
                      <a:pt x="7328" y="1679"/>
                      <a:pt x="7262" y="1758"/>
                    </a:cubicBezTo>
                    <a:lnTo>
                      <a:pt x="7262" y="1758"/>
                    </a:lnTo>
                    <a:cubicBezTo>
                      <a:pt x="7326" y="1680"/>
                      <a:pt x="8294" y="478"/>
                      <a:pt x="7095" y="59"/>
                    </a:cubicBezTo>
                    <a:cubicBezTo>
                      <a:pt x="6973" y="18"/>
                      <a:pt x="6850" y="0"/>
                      <a:pt x="672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7" name="Google Shape;1117;p17"/>
              <p:cNvSpPr/>
              <p:nvPr/>
            </p:nvSpPr>
            <p:spPr>
              <a:xfrm>
                <a:off x="11205750" y="7962225"/>
                <a:ext cx="346150" cy="138650"/>
              </a:xfrm>
              <a:custGeom>
                <a:avLst/>
                <a:gdLst/>
                <a:ahLst/>
                <a:cxnLst/>
                <a:rect l="l" t="t" r="r" b="b"/>
                <a:pathLst>
                  <a:path w="13846" h="5546" extrusionOk="0">
                    <a:moveTo>
                      <a:pt x="0" y="0"/>
                    </a:moveTo>
                    <a:cubicBezTo>
                      <a:pt x="0" y="0"/>
                      <a:pt x="15" y="374"/>
                      <a:pt x="508" y="553"/>
                    </a:cubicBezTo>
                    <a:cubicBezTo>
                      <a:pt x="986" y="732"/>
                      <a:pt x="1001" y="1479"/>
                      <a:pt x="1344" y="1613"/>
                    </a:cubicBezTo>
                    <a:cubicBezTo>
                      <a:pt x="1399" y="1633"/>
                      <a:pt x="1457" y="1641"/>
                      <a:pt x="1514" y="1641"/>
                    </a:cubicBezTo>
                    <a:cubicBezTo>
                      <a:pt x="1815" y="1641"/>
                      <a:pt x="2121" y="1419"/>
                      <a:pt x="2121" y="1419"/>
                    </a:cubicBezTo>
                    <a:cubicBezTo>
                      <a:pt x="2121" y="1419"/>
                      <a:pt x="2226" y="3107"/>
                      <a:pt x="3077" y="3301"/>
                    </a:cubicBezTo>
                    <a:cubicBezTo>
                      <a:pt x="3153" y="3320"/>
                      <a:pt x="3222" y="3329"/>
                      <a:pt x="3283" y="3329"/>
                    </a:cubicBezTo>
                    <a:cubicBezTo>
                      <a:pt x="3908" y="3329"/>
                      <a:pt x="3809" y="2451"/>
                      <a:pt x="3809" y="2450"/>
                    </a:cubicBezTo>
                    <a:lnTo>
                      <a:pt x="3809" y="2450"/>
                    </a:lnTo>
                    <a:cubicBezTo>
                      <a:pt x="3809" y="2451"/>
                      <a:pt x="4287" y="4780"/>
                      <a:pt x="5586" y="4884"/>
                    </a:cubicBezTo>
                    <a:cubicBezTo>
                      <a:pt x="5628" y="4888"/>
                      <a:pt x="5668" y="4889"/>
                      <a:pt x="5707" y="4889"/>
                    </a:cubicBezTo>
                    <a:cubicBezTo>
                      <a:pt x="6811" y="4889"/>
                      <a:pt x="6464" y="3554"/>
                      <a:pt x="6426" y="3417"/>
                    </a:cubicBezTo>
                    <a:lnTo>
                      <a:pt x="6426" y="3417"/>
                    </a:lnTo>
                    <a:cubicBezTo>
                      <a:pt x="6474" y="3583"/>
                      <a:pt x="7072" y="5545"/>
                      <a:pt x="8206" y="5545"/>
                    </a:cubicBezTo>
                    <a:cubicBezTo>
                      <a:pt x="8233" y="5545"/>
                      <a:pt x="8261" y="5544"/>
                      <a:pt x="8290" y="5542"/>
                    </a:cubicBezTo>
                    <a:cubicBezTo>
                      <a:pt x="9544" y="5437"/>
                      <a:pt x="8828" y="4019"/>
                      <a:pt x="8827" y="4018"/>
                    </a:cubicBezTo>
                    <a:lnTo>
                      <a:pt x="8827" y="4018"/>
                    </a:lnTo>
                    <a:cubicBezTo>
                      <a:pt x="8828" y="4019"/>
                      <a:pt x="9699" y="5209"/>
                      <a:pt x="10552" y="5209"/>
                    </a:cubicBezTo>
                    <a:cubicBezTo>
                      <a:pt x="10639" y="5209"/>
                      <a:pt x="10727" y="5196"/>
                      <a:pt x="10814" y="5168"/>
                    </a:cubicBezTo>
                    <a:cubicBezTo>
                      <a:pt x="11754" y="4884"/>
                      <a:pt x="11157" y="4138"/>
                      <a:pt x="11157" y="4138"/>
                    </a:cubicBezTo>
                    <a:lnTo>
                      <a:pt x="11157" y="4138"/>
                    </a:lnTo>
                    <a:cubicBezTo>
                      <a:pt x="11157" y="4138"/>
                      <a:pt x="11580" y="4416"/>
                      <a:pt x="11868" y="4416"/>
                    </a:cubicBezTo>
                    <a:cubicBezTo>
                      <a:pt x="11927" y="4416"/>
                      <a:pt x="11981" y="4404"/>
                      <a:pt x="12023" y="4377"/>
                    </a:cubicBezTo>
                    <a:cubicBezTo>
                      <a:pt x="12307" y="4227"/>
                      <a:pt x="11859" y="3436"/>
                      <a:pt x="11859" y="3436"/>
                    </a:cubicBezTo>
                    <a:lnTo>
                      <a:pt x="11859" y="3436"/>
                    </a:lnTo>
                    <a:cubicBezTo>
                      <a:pt x="11859" y="3436"/>
                      <a:pt x="12086" y="3460"/>
                      <a:pt x="12387" y="3460"/>
                    </a:cubicBezTo>
                    <a:cubicBezTo>
                      <a:pt x="12942" y="3460"/>
                      <a:pt x="13749" y="3378"/>
                      <a:pt x="13846" y="2913"/>
                    </a:cubicBezTo>
                    <a:lnTo>
                      <a:pt x="0"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18" name="Google Shape;1118;p17"/>
              <p:cNvGrpSpPr/>
              <p:nvPr/>
            </p:nvGrpSpPr>
            <p:grpSpPr>
              <a:xfrm>
                <a:off x="11133675" y="7514800"/>
                <a:ext cx="521650" cy="547525"/>
                <a:chOff x="11133675" y="7514800"/>
                <a:chExt cx="521650" cy="547525"/>
              </a:xfrm>
            </p:grpSpPr>
            <p:grpSp>
              <p:nvGrpSpPr>
                <p:cNvPr id="1119" name="Google Shape;1119;p17"/>
                <p:cNvGrpSpPr/>
                <p:nvPr/>
              </p:nvGrpSpPr>
              <p:grpSpPr>
                <a:xfrm>
                  <a:off x="11133675" y="7514800"/>
                  <a:ext cx="521650" cy="516150"/>
                  <a:chOff x="11133675" y="7514800"/>
                  <a:chExt cx="521650" cy="516150"/>
                </a:xfrm>
              </p:grpSpPr>
              <p:sp>
                <p:nvSpPr>
                  <p:cNvPr id="1120" name="Google Shape;1120;p17"/>
                  <p:cNvSpPr/>
                  <p:nvPr/>
                </p:nvSpPr>
                <p:spPr>
                  <a:xfrm>
                    <a:off x="11133675" y="7514800"/>
                    <a:ext cx="521650" cy="486150"/>
                  </a:xfrm>
                  <a:custGeom>
                    <a:avLst/>
                    <a:gdLst/>
                    <a:ahLst/>
                    <a:cxnLst/>
                    <a:rect l="l" t="t" r="r" b="b"/>
                    <a:pathLst>
                      <a:path w="20866" h="19446" extrusionOk="0">
                        <a:moveTo>
                          <a:pt x="20731" y="1"/>
                        </a:moveTo>
                        <a:cubicBezTo>
                          <a:pt x="20705" y="1"/>
                          <a:pt x="20679" y="12"/>
                          <a:pt x="20657" y="34"/>
                        </a:cubicBezTo>
                        <a:lnTo>
                          <a:pt x="75" y="19107"/>
                        </a:lnTo>
                        <a:cubicBezTo>
                          <a:pt x="1" y="19182"/>
                          <a:pt x="1" y="19301"/>
                          <a:pt x="60" y="19376"/>
                        </a:cubicBezTo>
                        <a:cubicBezTo>
                          <a:pt x="107" y="19423"/>
                          <a:pt x="158" y="19445"/>
                          <a:pt x="209" y="19445"/>
                        </a:cubicBezTo>
                        <a:cubicBezTo>
                          <a:pt x="255" y="19445"/>
                          <a:pt x="301" y="19427"/>
                          <a:pt x="344" y="19391"/>
                        </a:cubicBezTo>
                        <a:lnTo>
                          <a:pt x="20806" y="198"/>
                        </a:lnTo>
                        <a:cubicBezTo>
                          <a:pt x="20866" y="154"/>
                          <a:pt x="20866" y="94"/>
                          <a:pt x="20806" y="34"/>
                        </a:cubicBezTo>
                        <a:cubicBezTo>
                          <a:pt x="20784" y="12"/>
                          <a:pt x="20758" y="1"/>
                          <a:pt x="20731"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1" name="Google Shape;1121;p17"/>
                  <p:cNvSpPr/>
                  <p:nvPr/>
                </p:nvSpPr>
                <p:spPr>
                  <a:xfrm>
                    <a:off x="11180725" y="7957000"/>
                    <a:ext cx="346900" cy="73950"/>
                  </a:xfrm>
                  <a:custGeom>
                    <a:avLst/>
                    <a:gdLst/>
                    <a:ahLst/>
                    <a:cxnLst/>
                    <a:rect l="l" t="t" r="r" b="b"/>
                    <a:pathLst>
                      <a:path w="13876" h="2958" fill="none" extrusionOk="0">
                        <a:moveTo>
                          <a:pt x="0" y="0"/>
                        </a:moveTo>
                        <a:lnTo>
                          <a:pt x="13876" y="2958"/>
                        </a:lnTo>
                      </a:path>
                    </a:pathLst>
                  </a:custGeom>
                  <a:noFill/>
                  <a:ln w="52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22" name="Google Shape;1122;p17"/>
                <p:cNvGrpSpPr/>
                <p:nvPr/>
              </p:nvGrpSpPr>
              <p:grpSpPr>
                <a:xfrm>
                  <a:off x="11271075" y="7551850"/>
                  <a:ext cx="359250" cy="510475"/>
                  <a:chOff x="11271075" y="7551850"/>
                  <a:chExt cx="359250" cy="510475"/>
                </a:xfrm>
              </p:grpSpPr>
              <p:sp>
                <p:nvSpPr>
                  <p:cNvPr id="1123" name="Google Shape;1123;p17"/>
                  <p:cNvSpPr/>
                  <p:nvPr/>
                </p:nvSpPr>
                <p:spPr>
                  <a:xfrm>
                    <a:off x="11314775" y="7551850"/>
                    <a:ext cx="315550" cy="292025"/>
                  </a:xfrm>
                  <a:custGeom>
                    <a:avLst/>
                    <a:gdLst/>
                    <a:ahLst/>
                    <a:cxnLst/>
                    <a:rect l="l" t="t" r="r" b="b"/>
                    <a:pathLst>
                      <a:path w="12622" h="11681" fill="none" extrusionOk="0">
                        <a:moveTo>
                          <a:pt x="10142" y="1778"/>
                        </a:moveTo>
                        <a:lnTo>
                          <a:pt x="12621" y="2107"/>
                        </a:lnTo>
                        <a:moveTo>
                          <a:pt x="3779" y="7693"/>
                        </a:moveTo>
                        <a:lnTo>
                          <a:pt x="2017" y="4049"/>
                        </a:lnTo>
                        <a:moveTo>
                          <a:pt x="1210" y="10098"/>
                        </a:moveTo>
                        <a:lnTo>
                          <a:pt x="0" y="7917"/>
                        </a:lnTo>
                        <a:moveTo>
                          <a:pt x="598" y="10650"/>
                        </a:moveTo>
                        <a:lnTo>
                          <a:pt x="3495" y="11681"/>
                        </a:lnTo>
                        <a:moveTo>
                          <a:pt x="3047" y="8380"/>
                        </a:moveTo>
                        <a:lnTo>
                          <a:pt x="7155" y="9859"/>
                        </a:lnTo>
                        <a:moveTo>
                          <a:pt x="5840" y="5766"/>
                        </a:moveTo>
                        <a:lnTo>
                          <a:pt x="10276" y="7379"/>
                        </a:lnTo>
                        <a:moveTo>
                          <a:pt x="6617" y="5049"/>
                        </a:moveTo>
                        <a:lnTo>
                          <a:pt x="5034" y="1241"/>
                        </a:lnTo>
                        <a:moveTo>
                          <a:pt x="9171" y="2674"/>
                        </a:moveTo>
                        <a:lnTo>
                          <a:pt x="8200" y="1"/>
                        </a:lnTo>
                        <a:moveTo>
                          <a:pt x="8170" y="3600"/>
                        </a:moveTo>
                        <a:lnTo>
                          <a:pt x="11695" y="4452"/>
                        </a:lnTo>
                      </a:path>
                    </a:pathLst>
                  </a:custGeom>
                  <a:noFill/>
                  <a:ln w="26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4" name="Google Shape;1124;p17"/>
                  <p:cNvSpPr/>
                  <p:nvPr/>
                </p:nvSpPr>
                <p:spPr>
                  <a:xfrm>
                    <a:off x="11271075" y="7936450"/>
                    <a:ext cx="200550" cy="125875"/>
                  </a:xfrm>
                  <a:custGeom>
                    <a:avLst/>
                    <a:gdLst/>
                    <a:ahLst/>
                    <a:cxnLst/>
                    <a:rect l="l" t="t" r="r" b="b"/>
                    <a:pathLst>
                      <a:path w="8022" h="5035" fill="none" extrusionOk="0">
                        <a:moveTo>
                          <a:pt x="6513" y="2988"/>
                        </a:moveTo>
                        <a:lnTo>
                          <a:pt x="8021" y="1569"/>
                        </a:lnTo>
                        <a:moveTo>
                          <a:pt x="1" y="1599"/>
                        </a:moveTo>
                        <a:lnTo>
                          <a:pt x="942" y="300"/>
                        </a:lnTo>
                        <a:moveTo>
                          <a:pt x="509" y="1704"/>
                        </a:moveTo>
                        <a:lnTo>
                          <a:pt x="509" y="3093"/>
                        </a:lnTo>
                        <a:moveTo>
                          <a:pt x="2495" y="2137"/>
                        </a:moveTo>
                        <a:lnTo>
                          <a:pt x="2973" y="4452"/>
                        </a:lnTo>
                        <a:moveTo>
                          <a:pt x="2062" y="2002"/>
                        </a:moveTo>
                        <a:lnTo>
                          <a:pt x="3556" y="1"/>
                        </a:lnTo>
                        <a:moveTo>
                          <a:pt x="4452" y="2540"/>
                        </a:moveTo>
                        <a:lnTo>
                          <a:pt x="6154" y="374"/>
                        </a:lnTo>
                        <a:moveTo>
                          <a:pt x="4930" y="2644"/>
                        </a:moveTo>
                        <a:lnTo>
                          <a:pt x="5527" y="4915"/>
                        </a:lnTo>
                        <a:moveTo>
                          <a:pt x="6931" y="3063"/>
                        </a:moveTo>
                        <a:lnTo>
                          <a:pt x="7663" y="5034"/>
                        </a:lnTo>
                      </a:path>
                    </a:pathLst>
                  </a:custGeom>
                  <a:noFill/>
                  <a:ln w="2625"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sp>
          <p:nvSpPr>
            <p:cNvPr id="1125" name="Google Shape;1125;p17"/>
            <p:cNvSpPr/>
            <p:nvPr/>
          </p:nvSpPr>
          <p:spPr>
            <a:xfrm rot="5400000">
              <a:off x="5247700" y="4496161"/>
              <a:ext cx="179313" cy="389284"/>
            </a:xfrm>
            <a:custGeom>
              <a:avLst/>
              <a:gdLst/>
              <a:ahLst/>
              <a:cxnLst/>
              <a:rect l="l" t="t" r="r" b="b"/>
              <a:pathLst>
                <a:path w="4720" h="10247" fill="none" extrusionOk="0">
                  <a:moveTo>
                    <a:pt x="0" y="10247"/>
                  </a:moveTo>
                  <a:cubicBezTo>
                    <a:pt x="0" y="10247"/>
                    <a:pt x="3928" y="6020"/>
                    <a:pt x="4720" y="5647"/>
                  </a:cubicBezTo>
                  <a:moveTo>
                    <a:pt x="2763" y="2615"/>
                  </a:moveTo>
                  <a:cubicBezTo>
                    <a:pt x="2763" y="2615"/>
                    <a:pt x="3689" y="1390"/>
                    <a:pt x="4436" y="1226"/>
                  </a:cubicBezTo>
                  <a:moveTo>
                    <a:pt x="1359" y="8813"/>
                  </a:moveTo>
                  <a:cubicBezTo>
                    <a:pt x="1359" y="8813"/>
                    <a:pt x="3361" y="3735"/>
                    <a:pt x="262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26" name="Google Shape;1126;p17"/>
            <p:cNvGrpSpPr/>
            <p:nvPr/>
          </p:nvGrpSpPr>
          <p:grpSpPr>
            <a:xfrm rot="2699864" flipH="1">
              <a:off x="4192290" y="4044964"/>
              <a:ext cx="914354" cy="914430"/>
              <a:chOff x="10706150" y="7143750"/>
              <a:chExt cx="510075" cy="512300"/>
            </a:xfrm>
          </p:grpSpPr>
          <p:sp>
            <p:nvSpPr>
              <p:cNvPr id="1127" name="Google Shape;1127;p17"/>
              <p:cNvSpPr/>
              <p:nvPr/>
            </p:nvSpPr>
            <p:spPr>
              <a:xfrm>
                <a:off x="10706150" y="7143750"/>
                <a:ext cx="510075" cy="449950"/>
              </a:xfrm>
              <a:custGeom>
                <a:avLst/>
                <a:gdLst/>
                <a:ahLst/>
                <a:cxnLst/>
                <a:rect l="l" t="t" r="r" b="b"/>
                <a:pathLst>
                  <a:path w="20403" h="17998" extrusionOk="0">
                    <a:moveTo>
                      <a:pt x="10156" y="0"/>
                    </a:moveTo>
                    <a:cubicBezTo>
                      <a:pt x="10156" y="0"/>
                      <a:pt x="9783" y="2255"/>
                      <a:pt x="9051" y="2479"/>
                    </a:cubicBezTo>
                    <a:cubicBezTo>
                      <a:pt x="8947" y="2510"/>
                      <a:pt x="8847" y="2523"/>
                      <a:pt x="8753" y="2523"/>
                    </a:cubicBezTo>
                    <a:cubicBezTo>
                      <a:pt x="8201" y="2523"/>
                      <a:pt x="7842" y="2076"/>
                      <a:pt x="7841" y="2076"/>
                    </a:cubicBezTo>
                    <a:lnTo>
                      <a:pt x="7841" y="2076"/>
                    </a:lnTo>
                    <a:cubicBezTo>
                      <a:pt x="7842" y="2077"/>
                      <a:pt x="8737" y="4003"/>
                      <a:pt x="8439" y="4376"/>
                    </a:cubicBezTo>
                    <a:cubicBezTo>
                      <a:pt x="8371" y="4465"/>
                      <a:pt x="8289" y="4499"/>
                      <a:pt x="8202" y="4499"/>
                    </a:cubicBezTo>
                    <a:cubicBezTo>
                      <a:pt x="7911" y="4499"/>
                      <a:pt x="7573" y="4108"/>
                      <a:pt x="7573" y="4107"/>
                    </a:cubicBezTo>
                    <a:lnTo>
                      <a:pt x="7573" y="4107"/>
                    </a:lnTo>
                    <a:cubicBezTo>
                      <a:pt x="7573" y="4108"/>
                      <a:pt x="7916" y="5123"/>
                      <a:pt x="7363" y="5900"/>
                    </a:cubicBezTo>
                    <a:cubicBezTo>
                      <a:pt x="6826" y="6706"/>
                      <a:pt x="6333" y="6721"/>
                      <a:pt x="6333" y="6721"/>
                    </a:cubicBezTo>
                    <a:cubicBezTo>
                      <a:pt x="6333" y="6721"/>
                      <a:pt x="9798" y="7662"/>
                      <a:pt x="7916" y="10082"/>
                    </a:cubicBezTo>
                    <a:cubicBezTo>
                      <a:pt x="7580" y="10513"/>
                      <a:pt x="7291" y="10691"/>
                      <a:pt x="7041" y="10691"/>
                    </a:cubicBezTo>
                    <a:cubicBezTo>
                      <a:pt x="5893" y="10691"/>
                      <a:pt x="5601" y="6930"/>
                      <a:pt x="5601" y="6930"/>
                    </a:cubicBezTo>
                    <a:cubicBezTo>
                      <a:pt x="5601" y="6930"/>
                      <a:pt x="5278" y="8514"/>
                      <a:pt x="3936" y="8514"/>
                    </a:cubicBezTo>
                    <a:cubicBezTo>
                      <a:pt x="3923" y="8514"/>
                      <a:pt x="3911" y="8514"/>
                      <a:pt x="3898" y="8513"/>
                    </a:cubicBezTo>
                    <a:cubicBezTo>
                      <a:pt x="2524" y="8484"/>
                      <a:pt x="1643" y="7931"/>
                      <a:pt x="1643" y="7931"/>
                    </a:cubicBezTo>
                    <a:lnTo>
                      <a:pt x="1643" y="7931"/>
                    </a:lnTo>
                    <a:cubicBezTo>
                      <a:pt x="1643" y="7931"/>
                      <a:pt x="2494" y="8887"/>
                      <a:pt x="1703" y="8991"/>
                    </a:cubicBezTo>
                    <a:cubicBezTo>
                      <a:pt x="1612" y="9003"/>
                      <a:pt x="1520" y="9009"/>
                      <a:pt x="1427" y="9009"/>
                    </a:cubicBezTo>
                    <a:cubicBezTo>
                      <a:pt x="714" y="9009"/>
                      <a:pt x="0" y="8693"/>
                      <a:pt x="0" y="8693"/>
                    </a:cubicBezTo>
                    <a:lnTo>
                      <a:pt x="0" y="8693"/>
                    </a:lnTo>
                    <a:cubicBezTo>
                      <a:pt x="0" y="8693"/>
                      <a:pt x="1255" y="9843"/>
                      <a:pt x="1120" y="10560"/>
                    </a:cubicBezTo>
                    <a:cubicBezTo>
                      <a:pt x="1054" y="10948"/>
                      <a:pt x="764" y="11035"/>
                      <a:pt x="518" y="11035"/>
                    </a:cubicBezTo>
                    <a:cubicBezTo>
                      <a:pt x="320" y="11035"/>
                      <a:pt x="150" y="10978"/>
                      <a:pt x="149" y="10978"/>
                    </a:cubicBezTo>
                    <a:lnTo>
                      <a:pt x="149" y="10978"/>
                    </a:lnTo>
                    <a:cubicBezTo>
                      <a:pt x="150" y="10978"/>
                      <a:pt x="1987" y="11874"/>
                      <a:pt x="1942" y="13084"/>
                    </a:cubicBezTo>
                    <a:cubicBezTo>
                      <a:pt x="1897" y="14294"/>
                      <a:pt x="1240" y="14428"/>
                      <a:pt x="1240" y="14428"/>
                    </a:cubicBezTo>
                    <a:cubicBezTo>
                      <a:pt x="1240" y="14428"/>
                      <a:pt x="2463" y="14307"/>
                      <a:pt x="3385" y="14307"/>
                    </a:cubicBezTo>
                    <a:cubicBezTo>
                      <a:pt x="3760" y="14307"/>
                      <a:pt x="4084" y="14327"/>
                      <a:pt x="4257" y="14383"/>
                    </a:cubicBezTo>
                    <a:cubicBezTo>
                      <a:pt x="4839" y="14577"/>
                      <a:pt x="4645" y="15011"/>
                      <a:pt x="4645" y="15011"/>
                    </a:cubicBezTo>
                    <a:cubicBezTo>
                      <a:pt x="4645" y="15011"/>
                      <a:pt x="4747" y="15009"/>
                      <a:pt x="4915" y="15009"/>
                    </a:cubicBezTo>
                    <a:cubicBezTo>
                      <a:pt x="5639" y="15009"/>
                      <a:pt x="7580" y="15039"/>
                      <a:pt x="7677" y="15354"/>
                    </a:cubicBezTo>
                    <a:cubicBezTo>
                      <a:pt x="7797" y="15742"/>
                      <a:pt x="7005" y="15996"/>
                      <a:pt x="7005" y="15996"/>
                    </a:cubicBezTo>
                    <a:cubicBezTo>
                      <a:pt x="7005" y="15996"/>
                      <a:pt x="9529" y="16504"/>
                      <a:pt x="10186" y="17998"/>
                    </a:cubicBezTo>
                    <a:lnTo>
                      <a:pt x="10246" y="17998"/>
                    </a:lnTo>
                    <a:cubicBezTo>
                      <a:pt x="10903" y="16489"/>
                      <a:pt x="13427" y="15996"/>
                      <a:pt x="13427" y="15996"/>
                    </a:cubicBezTo>
                    <a:cubicBezTo>
                      <a:pt x="13427" y="15996"/>
                      <a:pt x="12636" y="15742"/>
                      <a:pt x="12755" y="15354"/>
                    </a:cubicBezTo>
                    <a:cubicBezTo>
                      <a:pt x="12864" y="15039"/>
                      <a:pt x="14798" y="15009"/>
                      <a:pt x="15519" y="15009"/>
                    </a:cubicBezTo>
                    <a:cubicBezTo>
                      <a:pt x="15685" y="15009"/>
                      <a:pt x="15787" y="15011"/>
                      <a:pt x="15787" y="15011"/>
                    </a:cubicBezTo>
                    <a:cubicBezTo>
                      <a:pt x="15787" y="15011"/>
                      <a:pt x="15593" y="14577"/>
                      <a:pt x="16176" y="14383"/>
                    </a:cubicBezTo>
                    <a:cubicBezTo>
                      <a:pt x="16348" y="14327"/>
                      <a:pt x="16673" y="14307"/>
                      <a:pt x="17047" y="14307"/>
                    </a:cubicBezTo>
                    <a:cubicBezTo>
                      <a:pt x="17969" y="14307"/>
                      <a:pt x="19193" y="14428"/>
                      <a:pt x="19193" y="14428"/>
                    </a:cubicBezTo>
                    <a:cubicBezTo>
                      <a:pt x="19193" y="14428"/>
                      <a:pt x="18520" y="14294"/>
                      <a:pt x="18476" y="13084"/>
                    </a:cubicBezTo>
                    <a:cubicBezTo>
                      <a:pt x="18431" y="11874"/>
                      <a:pt x="20282" y="10978"/>
                      <a:pt x="20283" y="10978"/>
                    </a:cubicBezTo>
                    <a:lnTo>
                      <a:pt x="20283" y="10978"/>
                    </a:lnTo>
                    <a:cubicBezTo>
                      <a:pt x="20283" y="10978"/>
                      <a:pt x="20116" y="11035"/>
                      <a:pt x="19919" y="11035"/>
                    </a:cubicBezTo>
                    <a:cubicBezTo>
                      <a:pt x="19675" y="11035"/>
                      <a:pt x="19386" y="10948"/>
                      <a:pt x="19312" y="10560"/>
                    </a:cubicBezTo>
                    <a:cubicBezTo>
                      <a:pt x="19148" y="9843"/>
                      <a:pt x="20402" y="8693"/>
                      <a:pt x="20402" y="8693"/>
                    </a:cubicBezTo>
                    <a:lnTo>
                      <a:pt x="20402" y="8693"/>
                    </a:lnTo>
                    <a:cubicBezTo>
                      <a:pt x="20402" y="8693"/>
                      <a:pt x="19670" y="9005"/>
                      <a:pt x="18948" y="9005"/>
                    </a:cubicBezTo>
                    <a:cubicBezTo>
                      <a:pt x="18865" y="9005"/>
                      <a:pt x="18782" y="9001"/>
                      <a:pt x="18700" y="8991"/>
                    </a:cubicBezTo>
                    <a:cubicBezTo>
                      <a:pt x="17908" y="8887"/>
                      <a:pt x="18759" y="7931"/>
                      <a:pt x="18759" y="7931"/>
                    </a:cubicBezTo>
                    <a:lnTo>
                      <a:pt x="18759" y="7931"/>
                    </a:lnTo>
                    <a:cubicBezTo>
                      <a:pt x="18759" y="7931"/>
                      <a:pt x="17878" y="8484"/>
                      <a:pt x="16504" y="8513"/>
                    </a:cubicBezTo>
                    <a:cubicBezTo>
                      <a:pt x="16492" y="8514"/>
                      <a:pt x="16479" y="8514"/>
                      <a:pt x="16467" y="8514"/>
                    </a:cubicBezTo>
                    <a:cubicBezTo>
                      <a:pt x="15124" y="8514"/>
                      <a:pt x="14801" y="6930"/>
                      <a:pt x="14801" y="6930"/>
                    </a:cubicBezTo>
                    <a:cubicBezTo>
                      <a:pt x="14801" y="6930"/>
                      <a:pt x="14509" y="10696"/>
                      <a:pt x="13363" y="10696"/>
                    </a:cubicBezTo>
                    <a:cubicBezTo>
                      <a:pt x="13113" y="10696"/>
                      <a:pt x="12823" y="10517"/>
                      <a:pt x="12486" y="10082"/>
                    </a:cubicBezTo>
                    <a:cubicBezTo>
                      <a:pt x="10604" y="7677"/>
                      <a:pt x="14085" y="6721"/>
                      <a:pt x="14085" y="6721"/>
                    </a:cubicBezTo>
                    <a:cubicBezTo>
                      <a:pt x="14085" y="6721"/>
                      <a:pt x="13577" y="6706"/>
                      <a:pt x="13039" y="5900"/>
                    </a:cubicBezTo>
                    <a:cubicBezTo>
                      <a:pt x="12486" y="5108"/>
                      <a:pt x="12830" y="4108"/>
                      <a:pt x="12830" y="4107"/>
                    </a:cubicBezTo>
                    <a:lnTo>
                      <a:pt x="12830" y="4107"/>
                    </a:lnTo>
                    <a:cubicBezTo>
                      <a:pt x="12830" y="4108"/>
                      <a:pt x="12494" y="4505"/>
                      <a:pt x="12203" y="4505"/>
                    </a:cubicBezTo>
                    <a:cubicBezTo>
                      <a:pt x="12116" y="4505"/>
                      <a:pt x="12033" y="4469"/>
                      <a:pt x="11964" y="4376"/>
                    </a:cubicBezTo>
                    <a:cubicBezTo>
                      <a:pt x="11665" y="4003"/>
                      <a:pt x="12576" y="2077"/>
                      <a:pt x="12576" y="2076"/>
                    </a:cubicBezTo>
                    <a:lnTo>
                      <a:pt x="12576" y="2076"/>
                    </a:lnTo>
                    <a:cubicBezTo>
                      <a:pt x="12576" y="2076"/>
                      <a:pt x="12205" y="2523"/>
                      <a:pt x="11651" y="2523"/>
                    </a:cubicBezTo>
                    <a:cubicBezTo>
                      <a:pt x="11556" y="2523"/>
                      <a:pt x="11456" y="2510"/>
                      <a:pt x="11351" y="2479"/>
                    </a:cubicBezTo>
                    <a:cubicBezTo>
                      <a:pt x="10619" y="2255"/>
                      <a:pt x="10246" y="0"/>
                      <a:pt x="10246"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8" name="Google Shape;1128;p17"/>
              <p:cNvSpPr/>
              <p:nvPr/>
            </p:nvSpPr>
            <p:spPr>
              <a:xfrm>
                <a:off x="10955575" y="7144100"/>
                <a:ext cx="12350" cy="511950"/>
              </a:xfrm>
              <a:custGeom>
                <a:avLst/>
                <a:gdLst/>
                <a:ahLst/>
                <a:cxnLst/>
                <a:rect l="l" t="t" r="r" b="b"/>
                <a:pathLst>
                  <a:path w="494" h="20478" extrusionOk="0">
                    <a:moveTo>
                      <a:pt x="60" y="1"/>
                    </a:moveTo>
                    <a:lnTo>
                      <a:pt x="0" y="20478"/>
                    </a:lnTo>
                    <a:lnTo>
                      <a:pt x="493" y="20478"/>
                    </a:lnTo>
                    <a:lnTo>
                      <a:pt x="359"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9" name="Google Shape;1129;p17"/>
              <p:cNvSpPr/>
              <p:nvPr/>
            </p:nvSpPr>
            <p:spPr>
              <a:xfrm>
                <a:off x="10781575" y="7277775"/>
                <a:ext cx="366325" cy="244975"/>
              </a:xfrm>
              <a:custGeom>
                <a:avLst/>
                <a:gdLst/>
                <a:ahLst/>
                <a:cxnLst/>
                <a:rect l="l" t="t" r="r" b="b"/>
                <a:pathLst>
                  <a:path w="14653" h="9799" fill="none" extrusionOk="0">
                    <a:moveTo>
                      <a:pt x="7184" y="7902"/>
                    </a:moveTo>
                    <a:cubicBezTo>
                      <a:pt x="7184" y="7902"/>
                      <a:pt x="3405" y="5856"/>
                      <a:pt x="0" y="5751"/>
                    </a:cubicBezTo>
                    <a:moveTo>
                      <a:pt x="7184" y="8694"/>
                    </a:moveTo>
                    <a:cubicBezTo>
                      <a:pt x="7184" y="8694"/>
                      <a:pt x="11232" y="6364"/>
                      <a:pt x="14652" y="5751"/>
                    </a:cubicBezTo>
                    <a:moveTo>
                      <a:pt x="11262" y="5453"/>
                    </a:moveTo>
                    <a:lnTo>
                      <a:pt x="11262" y="6125"/>
                    </a:lnTo>
                    <a:moveTo>
                      <a:pt x="9738" y="7394"/>
                    </a:moveTo>
                    <a:lnTo>
                      <a:pt x="12606" y="4990"/>
                    </a:lnTo>
                    <a:moveTo>
                      <a:pt x="12935" y="6169"/>
                    </a:moveTo>
                    <a:lnTo>
                      <a:pt x="13935" y="6543"/>
                    </a:lnTo>
                    <a:moveTo>
                      <a:pt x="7184" y="2271"/>
                    </a:moveTo>
                    <a:lnTo>
                      <a:pt x="9096" y="643"/>
                    </a:lnTo>
                    <a:moveTo>
                      <a:pt x="6154" y="2749"/>
                    </a:moveTo>
                    <a:lnTo>
                      <a:pt x="7184" y="3675"/>
                    </a:lnTo>
                    <a:moveTo>
                      <a:pt x="7184" y="5781"/>
                    </a:moveTo>
                    <a:lnTo>
                      <a:pt x="8289" y="4885"/>
                    </a:lnTo>
                    <a:moveTo>
                      <a:pt x="5735" y="643"/>
                    </a:moveTo>
                    <a:lnTo>
                      <a:pt x="6393" y="583"/>
                    </a:lnTo>
                    <a:moveTo>
                      <a:pt x="5616" y="1"/>
                    </a:moveTo>
                    <a:lnTo>
                      <a:pt x="7184" y="1181"/>
                    </a:lnTo>
                    <a:moveTo>
                      <a:pt x="8394" y="419"/>
                    </a:moveTo>
                    <a:lnTo>
                      <a:pt x="8200" y="1405"/>
                    </a:lnTo>
                    <a:moveTo>
                      <a:pt x="4824" y="8694"/>
                    </a:moveTo>
                    <a:lnTo>
                      <a:pt x="7184" y="9799"/>
                    </a:lnTo>
                    <a:moveTo>
                      <a:pt x="3585" y="7992"/>
                    </a:moveTo>
                    <a:lnTo>
                      <a:pt x="4272" y="7394"/>
                    </a:lnTo>
                    <a:moveTo>
                      <a:pt x="6154" y="7394"/>
                    </a:moveTo>
                    <a:lnTo>
                      <a:pt x="2913" y="7394"/>
                    </a:lnTo>
                    <a:moveTo>
                      <a:pt x="672" y="6543"/>
                    </a:moveTo>
                    <a:lnTo>
                      <a:pt x="1897" y="597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0" name="Google Shape;1130;p17"/>
            <p:cNvGrpSpPr/>
            <p:nvPr/>
          </p:nvGrpSpPr>
          <p:grpSpPr>
            <a:xfrm rot="5400000">
              <a:off x="5197321" y="4168498"/>
              <a:ext cx="280103" cy="333022"/>
              <a:chOff x="5532358" y="120998"/>
              <a:chExt cx="280103" cy="333022"/>
            </a:xfrm>
          </p:grpSpPr>
          <p:sp>
            <p:nvSpPr>
              <p:cNvPr id="1131" name="Google Shape;1131;p17"/>
              <p:cNvSpPr/>
              <p:nvPr/>
            </p:nvSpPr>
            <p:spPr>
              <a:xfrm>
                <a:off x="5629561" y="33851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2" name="Google Shape;1132;p17"/>
              <p:cNvSpPr/>
              <p:nvPr/>
            </p:nvSpPr>
            <p:spPr>
              <a:xfrm rot="5400000">
                <a:off x="5663269" y="15468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3" name="Google Shape;1133;p17"/>
              <p:cNvSpPr/>
              <p:nvPr/>
            </p:nvSpPr>
            <p:spPr>
              <a:xfrm rot="2700000">
                <a:off x="5546413" y="22511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4" name="Google Shape;1134;p17"/>
            <p:cNvGrpSpPr/>
            <p:nvPr/>
          </p:nvGrpSpPr>
          <p:grpSpPr>
            <a:xfrm rot="5400000">
              <a:off x="1483861" y="2736873"/>
              <a:ext cx="182900" cy="333022"/>
              <a:chOff x="3426361" y="367748"/>
              <a:chExt cx="182900" cy="333022"/>
            </a:xfrm>
          </p:grpSpPr>
          <p:sp>
            <p:nvSpPr>
              <p:cNvPr id="1135" name="Google Shape;1135;p17"/>
              <p:cNvSpPr/>
              <p:nvPr/>
            </p:nvSpPr>
            <p:spPr>
              <a:xfrm>
                <a:off x="3426361" y="58526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6" name="Google Shape;1136;p17"/>
              <p:cNvSpPr/>
              <p:nvPr/>
            </p:nvSpPr>
            <p:spPr>
              <a:xfrm rot="5400000">
                <a:off x="3460069" y="40143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137" name="Google Shape;1137;p17"/>
            <p:cNvSpPr/>
            <p:nvPr/>
          </p:nvSpPr>
          <p:spPr>
            <a:xfrm rot="8100000">
              <a:off x="3362149" y="4828199"/>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38" name="Google Shape;1138;p17"/>
          <p:cNvGrpSpPr/>
          <p:nvPr/>
        </p:nvGrpSpPr>
        <p:grpSpPr>
          <a:xfrm>
            <a:off x="3611880" y="-1033725"/>
            <a:ext cx="6269727" cy="5181193"/>
            <a:chOff x="3611880" y="-1033725"/>
            <a:chExt cx="6269727" cy="5181193"/>
          </a:xfrm>
        </p:grpSpPr>
        <p:grpSp>
          <p:nvGrpSpPr>
            <p:cNvPr id="1139" name="Google Shape;1139;p17"/>
            <p:cNvGrpSpPr/>
            <p:nvPr/>
          </p:nvGrpSpPr>
          <p:grpSpPr>
            <a:xfrm>
              <a:off x="7620100" y="356625"/>
              <a:ext cx="810675" cy="646375"/>
              <a:chOff x="12004800" y="5638575"/>
              <a:chExt cx="810675" cy="646375"/>
            </a:xfrm>
          </p:grpSpPr>
          <p:grpSp>
            <p:nvGrpSpPr>
              <p:cNvPr id="1140" name="Google Shape;1140;p17"/>
              <p:cNvGrpSpPr/>
              <p:nvPr/>
            </p:nvGrpSpPr>
            <p:grpSpPr>
              <a:xfrm>
                <a:off x="12004800" y="5638575"/>
                <a:ext cx="810675" cy="646375"/>
                <a:chOff x="12004800" y="5638575"/>
                <a:chExt cx="810675" cy="646375"/>
              </a:xfrm>
            </p:grpSpPr>
            <p:sp>
              <p:nvSpPr>
                <p:cNvPr id="1141" name="Google Shape;1141;p17"/>
                <p:cNvSpPr/>
                <p:nvPr/>
              </p:nvSpPr>
              <p:spPr>
                <a:xfrm>
                  <a:off x="12004800" y="5638950"/>
                  <a:ext cx="587750" cy="461350"/>
                </a:xfrm>
                <a:custGeom>
                  <a:avLst/>
                  <a:gdLst/>
                  <a:ahLst/>
                  <a:cxnLst/>
                  <a:rect l="l" t="t" r="r" b="b"/>
                  <a:pathLst>
                    <a:path w="23510" h="18454" extrusionOk="0">
                      <a:moveTo>
                        <a:pt x="23510" y="1"/>
                      </a:moveTo>
                      <a:cubicBezTo>
                        <a:pt x="23092" y="598"/>
                        <a:pt x="20702" y="3077"/>
                        <a:pt x="20702" y="3077"/>
                      </a:cubicBezTo>
                      <a:lnTo>
                        <a:pt x="20478" y="2599"/>
                      </a:lnTo>
                      <a:cubicBezTo>
                        <a:pt x="19880" y="3481"/>
                        <a:pt x="18521" y="4810"/>
                        <a:pt x="18521" y="4810"/>
                      </a:cubicBezTo>
                      <a:lnTo>
                        <a:pt x="18222" y="4332"/>
                      </a:lnTo>
                      <a:cubicBezTo>
                        <a:pt x="17595" y="4840"/>
                        <a:pt x="16565" y="6647"/>
                        <a:pt x="16565" y="6647"/>
                      </a:cubicBezTo>
                      <a:lnTo>
                        <a:pt x="16176" y="6124"/>
                      </a:lnTo>
                      <a:cubicBezTo>
                        <a:pt x="15566" y="7129"/>
                        <a:pt x="15497" y="8268"/>
                        <a:pt x="15490" y="8468"/>
                      </a:cubicBezTo>
                      <a:lnTo>
                        <a:pt x="15490" y="8468"/>
                      </a:lnTo>
                      <a:cubicBezTo>
                        <a:pt x="15519" y="7158"/>
                        <a:pt x="14578" y="5452"/>
                        <a:pt x="14578" y="5452"/>
                      </a:cubicBezTo>
                      <a:lnTo>
                        <a:pt x="14399" y="6020"/>
                      </a:lnTo>
                      <a:cubicBezTo>
                        <a:pt x="13936" y="4974"/>
                        <a:pt x="12562" y="3690"/>
                        <a:pt x="12562" y="3690"/>
                      </a:cubicBezTo>
                      <a:lnTo>
                        <a:pt x="12383" y="4123"/>
                      </a:lnTo>
                      <a:cubicBezTo>
                        <a:pt x="11979" y="3481"/>
                        <a:pt x="10560" y="1957"/>
                        <a:pt x="10560" y="1957"/>
                      </a:cubicBezTo>
                      <a:lnTo>
                        <a:pt x="10531" y="2495"/>
                      </a:lnTo>
                      <a:cubicBezTo>
                        <a:pt x="9709" y="1763"/>
                        <a:pt x="7424" y="61"/>
                        <a:pt x="7424" y="60"/>
                      </a:cubicBezTo>
                      <a:lnTo>
                        <a:pt x="7424" y="60"/>
                      </a:lnTo>
                      <a:cubicBezTo>
                        <a:pt x="7767" y="777"/>
                        <a:pt x="7917" y="3062"/>
                        <a:pt x="7917" y="3062"/>
                      </a:cubicBezTo>
                      <a:lnTo>
                        <a:pt x="7469" y="3062"/>
                      </a:lnTo>
                      <a:cubicBezTo>
                        <a:pt x="7842" y="3944"/>
                        <a:pt x="8260" y="5721"/>
                        <a:pt x="8260" y="5721"/>
                      </a:cubicBezTo>
                      <a:lnTo>
                        <a:pt x="7723" y="5661"/>
                      </a:lnTo>
                      <a:lnTo>
                        <a:pt x="7723" y="5661"/>
                      </a:lnTo>
                      <a:cubicBezTo>
                        <a:pt x="7887" y="6617"/>
                        <a:pt x="8768" y="8141"/>
                        <a:pt x="8768" y="8141"/>
                      </a:cubicBezTo>
                      <a:lnTo>
                        <a:pt x="8051" y="8141"/>
                      </a:lnTo>
                      <a:cubicBezTo>
                        <a:pt x="8678" y="9365"/>
                        <a:pt x="10112" y="10500"/>
                        <a:pt x="10112" y="10500"/>
                      </a:cubicBezTo>
                      <a:cubicBezTo>
                        <a:pt x="9052" y="9813"/>
                        <a:pt x="6752" y="9679"/>
                        <a:pt x="6752" y="9679"/>
                      </a:cubicBezTo>
                      <a:lnTo>
                        <a:pt x="6752" y="9679"/>
                      </a:lnTo>
                      <a:lnTo>
                        <a:pt x="6841" y="10187"/>
                      </a:lnTo>
                      <a:cubicBezTo>
                        <a:pt x="6162" y="10086"/>
                        <a:pt x="5549" y="10057"/>
                        <a:pt x="5067" y="10057"/>
                      </a:cubicBezTo>
                      <a:cubicBezTo>
                        <a:pt x="4404" y="10057"/>
                        <a:pt x="3989" y="10112"/>
                        <a:pt x="3989" y="10112"/>
                      </a:cubicBezTo>
                      <a:lnTo>
                        <a:pt x="4317" y="10485"/>
                      </a:lnTo>
                      <a:cubicBezTo>
                        <a:pt x="3033" y="10530"/>
                        <a:pt x="1" y="11307"/>
                        <a:pt x="1" y="11307"/>
                      </a:cubicBezTo>
                      <a:cubicBezTo>
                        <a:pt x="1793" y="12756"/>
                        <a:pt x="3839" y="13921"/>
                        <a:pt x="3839" y="13921"/>
                      </a:cubicBezTo>
                      <a:lnTo>
                        <a:pt x="3436" y="14175"/>
                      </a:lnTo>
                      <a:cubicBezTo>
                        <a:pt x="4482" y="14712"/>
                        <a:pt x="6767" y="16505"/>
                        <a:pt x="6767" y="16505"/>
                      </a:cubicBezTo>
                      <a:lnTo>
                        <a:pt x="6423" y="16788"/>
                      </a:lnTo>
                      <a:cubicBezTo>
                        <a:pt x="7648" y="17640"/>
                        <a:pt x="10277" y="17983"/>
                        <a:pt x="10277" y="17983"/>
                      </a:cubicBezTo>
                      <a:lnTo>
                        <a:pt x="10067" y="18431"/>
                      </a:lnTo>
                      <a:cubicBezTo>
                        <a:pt x="10308" y="18447"/>
                        <a:pt x="10537" y="18454"/>
                        <a:pt x="10755" y="18454"/>
                      </a:cubicBezTo>
                      <a:cubicBezTo>
                        <a:pt x="13074" y="18454"/>
                        <a:pt x="14085" y="17655"/>
                        <a:pt x="14085" y="17655"/>
                      </a:cubicBezTo>
                      <a:lnTo>
                        <a:pt x="23510"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2" name="Google Shape;1142;p17"/>
                <p:cNvSpPr/>
                <p:nvPr/>
              </p:nvSpPr>
              <p:spPr>
                <a:xfrm>
                  <a:off x="12354300" y="5638575"/>
                  <a:ext cx="461175" cy="646375"/>
                </a:xfrm>
                <a:custGeom>
                  <a:avLst/>
                  <a:gdLst/>
                  <a:ahLst/>
                  <a:cxnLst/>
                  <a:rect l="l" t="t" r="r" b="b"/>
                  <a:pathLst>
                    <a:path w="18447" h="25855" extrusionOk="0">
                      <a:moveTo>
                        <a:pt x="9545" y="1"/>
                      </a:moveTo>
                      <a:lnTo>
                        <a:pt x="105" y="17670"/>
                      </a:lnTo>
                      <a:cubicBezTo>
                        <a:pt x="105" y="17670"/>
                        <a:pt x="1" y="19208"/>
                        <a:pt x="1688" y="21434"/>
                      </a:cubicBezTo>
                      <a:lnTo>
                        <a:pt x="1957" y="21015"/>
                      </a:lnTo>
                      <a:cubicBezTo>
                        <a:pt x="1957" y="21015"/>
                        <a:pt x="3705" y="23017"/>
                        <a:pt x="5079" y="23554"/>
                      </a:cubicBezTo>
                      <a:lnTo>
                        <a:pt x="5124" y="23106"/>
                      </a:lnTo>
                      <a:cubicBezTo>
                        <a:pt x="5124" y="23106"/>
                        <a:pt x="7872" y="24017"/>
                        <a:pt x="8917" y="24585"/>
                      </a:cubicBezTo>
                      <a:lnTo>
                        <a:pt x="8902" y="24107"/>
                      </a:lnTo>
                      <a:lnTo>
                        <a:pt x="8902" y="24107"/>
                      </a:lnTo>
                      <a:cubicBezTo>
                        <a:pt x="8903" y="24107"/>
                        <a:pt x="11023" y="25153"/>
                        <a:pt x="13219" y="25855"/>
                      </a:cubicBezTo>
                      <a:cubicBezTo>
                        <a:pt x="13219" y="25855"/>
                        <a:pt x="12173" y="22897"/>
                        <a:pt x="11501" y="21792"/>
                      </a:cubicBezTo>
                      <a:lnTo>
                        <a:pt x="11501" y="21792"/>
                      </a:lnTo>
                      <a:lnTo>
                        <a:pt x="11994" y="21852"/>
                      </a:lnTo>
                      <a:cubicBezTo>
                        <a:pt x="11994" y="21852"/>
                        <a:pt x="11441" y="20717"/>
                        <a:pt x="10351" y="19522"/>
                      </a:cubicBezTo>
                      <a:lnTo>
                        <a:pt x="10814" y="19313"/>
                      </a:lnTo>
                      <a:cubicBezTo>
                        <a:pt x="10814" y="19313"/>
                        <a:pt x="9410" y="17461"/>
                        <a:pt x="8260" y="16983"/>
                      </a:cubicBezTo>
                      <a:lnTo>
                        <a:pt x="8260" y="16983"/>
                      </a:lnTo>
                      <a:cubicBezTo>
                        <a:pt x="8261" y="16983"/>
                        <a:pt x="9641" y="17407"/>
                        <a:pt x="10902" y="17407"/>
                      </a:cubicBezTo>
                      <a:cubicBezTo>
                        <a:pt x="11060" y="17407"/>
                        <a:pt x="11216" y="17401"/>
                        <a:pt x="11367" y="17386"/>
                      </a:cubicBezTo>
                      <a:lnTo>
                        <a:pt x="10964" y="16803"/>
                      </a:lnTo>
                      <a:cubicBezTo>
                        <a:pt x="10964" y="16803"/>
                        <a:pt x="12726" y="16669"/>
                        <a:pt x="13607" y="16296"/>
                      </a:cubicBezTo>
                      <a:lnTo>
                        <a:pt x="13249" y="15892"/>
                      </a:lnTo>
                      <a:cubicBezTo>
                        <a:pt x="13249" y="15892"/>
                        <a:pt x="14966" y="15250"/>
                        <a:pt x="15922" y="15071"/>
                      </a:cubicBezTo>
                      <a:lnTo>
                        <a:pt x="15668" y="14683"/>
                      </a:lnTo>
                      <a:cubicBezTo>
                        <a:pt x="15668" y="14683"/>
                        <a:pt x="17655" y="13532"/>
                        <a:pt x="18446" y="13428"/>
                      </a:cubicBezTo>
                      <a:cubicBezTo>
                        <a:pt x="18446" y="13428"/>
                        <a:pt x="15758" y="12457"/>
                        <a:pt x="14683" y="12218"/>
                      </a:cubicBezTo>
                      <a:lnTo>
                        <a:pt x="15116" y="11875"/>
                      </a:lnTo>
                      <a:cubicBezTo>
                        <a:pt x="15116" y="11875"/>
                        <a:pt x="13335" y="11587"/>
                        <a:pt x="12471" y="11587"/>
                      </a:cubicBezTo>
                      <a:cubicBezTo>
                        <a:pt x="12412" y="11587"/>
                        <a:pt x="12357" y="11588"/>
                        <a:pt x="12308" y="11591"/>
                      </a:cubicBezTo>
                      <a:lnTo>
                        <a:pt x="12577" y="11202"/>
                      </a:lnTo>
                      <a:cubicBezTo>
                        <a:pt x="12577" y="11202"/>
                        <a:pt x="11336" y="10900"/>
                        <a:pt x="10272" y="10900"/>
                      </a:cubicBezTo>
                      <a:cubicBezTo>
                        <a:pt x="10041" y="10900"/>
                        <a:pt x="9819" y="10914"/>
                        <a:pt x="9619" y="10949"/>
                      </a:cubicBezTo>
                      <a:lnTo>
                        <a:pt x="9978" y="10471"/>
                      </a:lnTo>
                      <a:lnTo>
                        <a:pt x="9978" y="10471"/>
                      </a:lnTo>
                      <a:cubicBezTo>
                        <a:pt x="9977" y="10471"/>
                        <a:pt x="8024" y="10650"/>
                        <a:pt x="6948" y="11410"/>
                      </a:cubicBezTo>
                      <a:lnTo>
                        <a:pt x="6948" y="11410"/>
                      </a:lnTo>
                      <a:cubicBezTo>
                        <a:pt x="7006" y="11369"/>
                        <a:pt x="8007" y="10646"/>
                        <a:pt x="8529" y="9515"/>
                      </a:cubicBezTo>
                      <a:lnTo>
                        <a:pt x="7887" y="9470"/>
                      </a:lnTo>
                      <a:cubicBezTo>
                        <a:pt x="7887" y="9470"/>
                        <a:pt x="8813" y="7603"/>
                        <a:pt x="8873" y="6811"/>
                      </a:cubicBezTo>
                      <a:lnTo>
                        <a:pt x="8873" y="6811"/>
                      </a:lnTo>
                      <a:lnTo>
                        <a:pt x="8320" y="6826"/>
                      </a:lnTo>
                      <a:cubicBezTo>
                        <a:pt x="8320" y="6826"/>
                        <a:pt x="8678" y="4944"/>
                        <a:pt x="9052" y="3974"/>
                      </a:cubicBezTo>
                      <a:lnTo>
                        <a:pt x="9052" y="3974"/>
                      </a:lnTo>
                      <a:lnTo>
                        <a:pt x="8529" y="4033"/>
                      </a:lnTo>
                      <a:cubicBezTo>
                        <a:pt x="8529" y="4033"/>
                        <a:pt x="9276" y="658"/>
                        <a:pt x="954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43" name="Google Shape;1143;p17"/>
              <p:cNvGrpSpPr/>
              <p:nvPr/>
            </p:nvGrpSpPr>
            <p:grpSpPr>
              <a:xfrm>
                <a:off x="12117950" y="5719225"/>
                <a:ext cx="604550" cy="543325"/>
                <a:chOff x="12117950" y="5719225"/>
                <a:chExt cx="604550" cy="543325"/>
              </a:xfrm>
            </p:grpSpPr>
            <p:sp>
              <p:nvSpPr>
                <p:cNvPr id="1144" name="Google Shape;1144;p17"/>
                <p:cNvSpPr/>
                <p:nvPr/>
              </p:nvSpPr>
              <p:spPr>
                <a:xfrm>
                  <a:off x="12263575" y="5772250"/>
                  <a:ext cx="258025" cy="490300"/>
                </a:xfrm>
                <a:custGeom>
                  <a:avLst/>
                  <a:gdLst/>
                  <a:ahLst/>
                  <a:cxnLst/>
                  <a:rect l="l" t="t" r="r" b="b"/>
                  <a:pathLst>
                    <a:path w="10321" h="19612" extrusionOk="0">
                      <a:moveTo>
                        <a:pt x="10276" y="1"/>
                      </a:moveTo>
                      <a:cubicBezTo>
                        <a:pt x="9410" y="1599"/>
                        <a:pt x="8558" y="3212"/>
                        <a:pt x="7677" y="4795"/>
                      </a:cubicBezTo>
                      <a:cubicBezTo>
                        <a:pt x="6453" y="7006"/>
                        <a:pt x="4287" y="10993"/>
                        <a:pt x="3062" y="13174"/>
                      </a:cubicBezTo>
                      <a:cubicBezTo>
                        <a:pt x="2091" y="14981"/>
                        <a:pt x="1016" y="16803"/>
                        <a:pt x="239" y="18715"/>
                      </a:cubicBezTo>
                      <a:cubicBezTo>
                        <a:pt x="150" y="18924"/>
                        <a:pt x="75" y="19178"/>
                        <a:pt x="0" y="19417"/>
                      </a:cubicBezTo>
                      <a:lnTo>
                        <a:pt x="1135" y="19611"/>
                      </a:lnTo>
                      <a:cubicBezTo>
                        <a:pt x="1195" y="18790"/>
                        <a:pt x="1494" y="17894"/>
                        <a:pt x="1778" y="17087"/>
                      </a:cubicBezTo>
                      <a:cubicBezTo>
                        <a:pt x="2644" y="14608"/>
                        <a:pt x="4063" y="12054"/>
                        <a:pt x="5258" y="9709"/>
                      </a:cubicBezTo>
                      <a:cubicBezTo>
                        <a:pt x="6736" y="6886"/>
                        <a:pt x="8827" y="2809"/>
                        <a:pt x="10321" y="30"/>
                      </a:cubicBezTo>
                      <a:cubicBezTo>
                        <a:pt x="10321" y="30"/>
                        <a:pt x="10276" y="16"/>
                        <a:pt x="1027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5" name="Google Shape;1145;p17"/>
                <p:cNvSpPr/>
                <p:nvPr/>
              </p:nvSpPr>
              <p:spPr>
                <a:xfrm>
                  <a:off x="12383800" y="6029900"/>
                  <a:ext cx="217725" cy="173650"/>
                </a:xfrm>
                <a:custGeom>
                  <a:avLst/>
                  <a:gdLst/>
                  <a:ahLst/>
                  <a:cxnLst/>
                  <a:rect l="l" t="t" r="r" b="b"/>
                  <a:pathLst>
                    <a:path w="8709" h="6946" fill="none" extrusionOk="0">
                      <a:moveTo>
                        <a:pt x="1" y="0"/>
                      </a:moveTo>
                      <a:cubicBezTo>
                        <a:pt x="1" y="0"/>
                        <a:pt x="5497" y="2928"/>
                        <a:pt x="8708" y="6946"/>
                      </a:cubicBez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6" name="Google Shape;1146;p17"/>
                <p:cNvSpPr/>
                <p:nvPr/>
              </p:nvSpPr>
              <p:spPr>
                <a:xfrm>
                  <a:off x="12538025" y="6137800"/>
                  <a:ext cx="6000" cy="39975"/>
                </a:xfrm>
                <a:custGeom>
                  <a:avLst/>
                  <a:gdLst/>
                  <a:ahLst/>
                  <a:cxnLst/>
                  <a:rect l="l" t="t" r="r" b="b"/>
                  <a:pathLst>
                    <a:path w="240" h="1599" fill="none" extrusionOk="0">
                      <a:moveTo>
                        <a:pt x="0" y="1"/>
                      </a:moveTo>
                      <a:lnTo>
                        <a:pt x="239" y="1599"/>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7" name="Google Shape;1147;p17"/>
                <p:cNvSpPr/>
                <p:nvPr/>
              </p:nvSpPr>
              <p:spPr>
                <a:xfrm>
                  <a:off x="12472300" y="6085525"/>
                  <a:ext cx="66100" cy="5625"/>
                </a:xfrm>
                <a:custGeom>
                  <a:avLst/>
                  <a:gdLst/>
                  <a:ahLst/>
                  <a:cxnLst/>
                  <a:rect l="l" t="t" r="r" b="b"/>
                  <a:pathLst>
                    <a:path w="2644" h="225" fill="none" extrusionOk="0">
                      <a:moveTo>
                        <a:pt x="0" y="1"/>
                      </a:moveTo>
                      <a:lnTo>
                        <a:pt x="2644" y="225"/>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8" name="Google Shape;1148;p17"/>
                <p:cNvSpPr/>
                <p:nvPr/>
              </p:nvSpPr>
              <p:spPr>
                <a:xfrm>
                  <a:off x="12400600" y="5975375"/>
                  <a:ext cx="321900" cy="22800"/>
                </a:xfrm>
                <a:custGeom>
                  <a:avLst/>
                  <a:gdLst/>
                  <a:ahLst/>
                  <a:cxnLst/>
                  <a:rect l="l" t="t" r="r" b="b"/>
                  <a:pathLst>
                    <a:path w="12876" h="912" fill="none" extrusionOk="0">
                      <a:moveTo>
                        <a:pt x="1" y="912"/>
                      </a:moveTo>
                      <a:cubicBezTo>
                        <a:pt x="1" y="912"/>
                        <a:pt x="7484" y="1"/>
                        <a:pt x="12875" y="105"/>
                      </a:cubicBez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9" name="Google Shape;1149;p17"/>
                <p:cNvSpPr/>
                <p:nvPr/>
              </p:nvSpPr>
              <p:spPr>
                <a:xfrm>
                  <a:off x="12617175" y="5979500"/>
                  <a:ext cx="67975" cy="23525"/>
                </a:xfrm>
                <a:custGeom>
                  <a:avLst/>
                  <a:gdLst/>
                  <a:ahLst/>
                  <a:cxnLst/>
                  <a:rect l="l" t="t" r="r" b="b"/>
                  <a:pathLst>
                    <a:path w="2719" h="941" fill="none" extrusionOk="0">
                      <a:moveTo>
                        <a:pt x="0" y="0"/>
                      </a:moveTo>
                      <a:lnTo>
                        <a:pt x="2719" y="94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0" name="Google Shape;1150;p17"/>
                <p:cNvSpPr/>
                <p:nvPr/>
              </p:nvSpPr>
              <p:spPr>
                <a:xfrm>
                  <a:off x="12525700" y="5955600"/>
                  <a:ext cx="22800" cy="30250"/>
                </a:xfrm>
                <a:custGeom>
                  <a:avLst/>
                  <a:gdLst/>
                  <a:ahLst/>
                  <a:cxnLst/>
                  <a:rect l="l" t="t" r="r" b="b"/>
                  <a:pathLst>
                    <a:path w="912" h="1210" fill="none" extrusionOk="0">
                      <a:moveTo>
                        <a:pt x="0" y="1210"/>
                      </a:moveTo>
                      <a:lnTo>
                        <a:pt x="911" y="0"/>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1" name="Google Shape;1151;p17"/>
                <p:cNvSpPr/>
                <p:nvPr/>
              </p:nvSpPr>
              <p:spPr>
                <a:xfrm>
                  <a:off x="12117950" y="5945500"/>
                  <a:ext cx="265875" cy="84425"/>
                </a:xfrm>
                <a:custGeom>
                  <a:avLst/>
                  <a:gdLst/>
                  <a:ahLst/>
                  <a:cxnLst/>
                  <a:rect l="l" t="t" r="r" b="b"/>
                  <a:pathLst>
                    <a:path w="10635" h="3377" fill="none" extrusionOk="0">
                      <a:moveTo>
                        <a:pt x="10635" y="3376"/>
                      </a:moveTo>
                      <a:cubicBezTo>
                        <a:pt x="10635" y="3376"/>
                        <a:pt x="5138" y="434"/>
                        <a:pt x="0" y="1"/>
                      </a:cubicBez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2" name="Google Shape;1152;p17"/>
                <p:cNvSpPr/>
                <p:nvPr/>
              </p:nvSpPr>
              <p:spPr>
                <a:xfrm>
                  <a:off x="12171350" y="5961575"/>
                  <a:ext cx="36975" cy="17575"/>
                </a:xfrm>
                <a:custGeom>
                  <a:avLst/>
                  <a:gdLst/>
                  <a:ahLst/>
                  <a:cxnLst/>
                  <a:rect l="l" t="t" r="r" b="b"/>
                  <a:pathLst>
                    <a:path w="1479" h="703" fill="none" extrusionOk="0">
                      <a:moveTo>
                        <a:pt x="1479" y="0"/>
                      </a:moveTo>
                      <a:lnTo>
                        <a:pt x="0" y="702"/>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3" name="Google Shape;1153;p17"/>
                <p:cNvSpPr/>
                <p:nvPr/>
              </p:nvSpPr>
              <p:spPr>
                <a:xfrm>
                  <a:off x="12246775" y="5935050"/>
                  <a:ext cx="41475" cy="52300"/>
                </a:xfrm>
                <a:custGeom>
                  <a:avLst/>
                  <a:gdLst/>
                  <a:ahLst/>
                  <a:cxnLst/>
                  <a:rect l="l" t="t" r="r" b="b"/>
                  <a:pathLst>
                    <a:path w="1659" h="2092" fill="none" extrusionOk="0">
                      <a:moveTo>
                        <a:pt x="1658" y="2092"/>
                      </a:moveTo>
                      <a:lnTo>
                        <a:pt x="0" y="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4" name="Google Shape;1154;p17"/>
                <p:cNvSpPr/>
                <p:nvPr/>
              </p:nvSpPr>
              <p:spPr>
                <a:xfrm>
                  <a:off x="12238550" y="5719225"/>
                  <a:ext cx="162075" cy="278950"/>
                </a:xfrm>
                <a:custGeom>
                  <a:avLst/>
                  <a:gdLst/>
                  <a:ahLst/>
                  <a:cxnLst/>
                  <a:rect l="l" t="t" r="r" b="b"/>
                  <a:pathLst>
                    <a:path w="6483" h="11158" fill="none" extrusionOk="0">
                      <a:moveTo>
                        <a:pt x="6483" y="11158"/>
                      </a:moveTo>
                      <a:cubicBezTo>
                        <a:pt x="6483" y="11158"/>
                        <a:pt x="3077" y="4452"/>
                        <a:pt x="1" y="1"/>
                      </a:cubicBez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5" name="Google Shape;1155;p17"/>
                <p:cNvSpPr/>
                <p:nvPr/>
              </p:nvSpPr>
              <p:spPr>
                <a:xfrm>
                  <a:off x="12238550" y="5764400"/>
                  <a:ext cx="57150" cy="43725"/>
                </a:xfrm>
                <a:custGeom>
                  <a:avLst/>
                  <a:gdLst/>
                  <a:ahLst/>
                  <a:cxnLst/>
                  <a:rect l="l" t="t" r="r" b="b"/>
                  <a:pathLst>
                    <a:path w="2286" h="1749" fill="none" extrusionOk="0">
                      <a:moveTo>
                        <a:pt x="2286" y="1748"/>
                      </a:moveTo>
                      <a:lnTo>
                        <a:pt x="1" y="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6" name="Google Shape;1156;p17"/>
                <p:cNvSpPr/>
                <p:nvPr/>
              </p:nvSpPr>
              <p:spPr>
                <a:xfrm>
                  <a:off x="12341225" y="5851775"/>
                  <a:ext cx="12725" cy="35500"/>
                </a:xfrm>
                <a:custGeom>
                  <a:avLst/>
                  <a:gdLst/>
                  <a:ahLst/>
                  <a:cxnLst/>
                  <a:rect l="l" t="t" r="r" b="b"/>
                  <a:pathLst>
                    <a:path w="509" h="1420" fill="none" extrusionOk="0">
                      <a:moveTo>
                        <a:pt x="1" y="1420"/>
                      </a:moveTo>
                      <a:lnTo>
                        <a:pt x="509" y="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7" name="Google Shape;1157;p17"/>
                <p:cNvSpPr/>
                <p:nvPr/>
              </p:nvSpPr>
              <p:spPr>
                <a:xfrm>
                  <a:off x="12474525" y="5840200"/>
                  <a:ext cx="56800" cy="19825"/>
                </a:xfrm>
                <a:custGeom>
                  <a:avLst/>
                  <a:gdLst/>
                  <a:ahLst/>
                  <a:cxnLst/>
                  <a:rect l="l" t="t" r="r" b="b"/>
                  <a:pathLst>
                    <a:path w="2272" h="793" fill="none" extrusionOk="0">
                      <a:moveTo>
                        <a:pt x="1" y="793"/>
                      </a:moveTo>
                      <a:lnTo>
                        <a:pt x="2271" y="1"/>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8" name="Google Shape;1158;p17"/>
                <p:cNvSpPr/>
                <p:nvPr/>
              </p:nvSpPr>
              <p:spPr>
                <a:xfrm>
                  <a:off x="12483875" y="5783075"/>
                  <a:ext cx="12725" cy="35125"/>
                </a:xfrm>
                <a:custGeom>
                  <a:avLst/>
                  <a:gdLst/>
                  <a:ahLst/>
                  <a:cxnLst/>
                  <a:rect l="l" t="t" r="r" b="b"/>
                  <a:pathLst>
                    <a:path w="509" h="1405" fill="none" extrusionOk="0">
                      <a:moveTo>
                        <a:pt x="0" y="1"/>
                      </a:moveTo>
                      <a:lnTo>
                        <a:pt x="508" y="1405"/>
                      </a:lnTo>
                    </a:path>
                  </a:pathLst>
                </a:custGeom>
                <a:noFill/>
                <a:ln w="29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159" name="Google Shape;1159;p17"/>
            <p:cNvSpPr/>
            <p:nvPr/>
          </p:nvSpPr>
          <p:spPr>
            <a:xfrm>
              <a:off x="8604504" y="3758184"/>
              <a:ext cx="179313" cy="389284"/>
            </a:xfrm>
            <a:custGeom>
              <a:avLst/>
              <a:gdLst/>
              <a:ahLst/>
              <a:cxnLst/>
              <a:rect l="l" t="t" r="r" b="b"/>
              <a:pathLst>
                <a:path w="4720" h="10247" fill="none" extrusionOk="0">
                  <a:moveTo>
                    <a:pt x="0" y="10247"/>
                  </a:moveTo>
                  <a:cubicBezTo>
                    <a:pt x="0" y="10247"/>
                    <a:pt x="3928" y="6020"/>
                    <a:pt x="4720" y="5647"/>
                  </a:cubicBezTo>
                  <a:moveTo>
                    <a:pt x="2763" y="2615"/>
                  </a:moveTo>
                  <a:cubicBezTo>
                    <a:pt x="2763" y="2615"/>
                    <a:pt x="3689" y="1390"/>
                    <a:pt x="4436" y="1226"/>
                  </a:cubicBezTo>
                  <a:moveTo>
                    <a:pt x="1359" y="8813"/>
                  </a:moveTo>
                  <a:cubicBezTo>
                    <a:pt x="1359" y="8813"/>
                    <a:pt x="3361" y="3735"/>
                    <a:pt x="262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160" name="Google Shape;1160;p17"/>
            <p:cNvGrpSpPr/>
            <p:nvPr/>
          </p:nvGrpSpPr>
          <p:grpSpPr>
            <a:xfrm flipH="1">
              <a:off x="7402163" y="2286372"/>
              <a:ext cx="1562761" cy="1584426"/>
              <a:chOff x="2660614" y="2853545"/>
              <a:chExt cx="1726616" cy="1750553"/>
            </a:xfrm>
          </p:grpSpPr>
          <p:grpSp>
            <p:nvGrpSpPr>
              <p:cNvPr id="1161" name="Google Shape;1161;p17"/>
              <p:cNvGrpSpPr/>
              <p:nvPr/>
            </p:nvGrpSpPr>
            <p:grpSpPr>
              <a:xfrm rot="388164">
                <a:off x="2736258" y="2919416"/>
                <a:ext cx="1249118" cy="1413316"/>
                <a:chOff x="2058325" y="8270725"/>
                <a:chExt cx="1008175" cy="1140700"/>
              </a:xfrm>
            </p:grpSpPr>
            <p:sp>
              <p:nvSpPr>
                <p:cNvPr id="1162" name="Google Shape;1162;p17"/>
                <p:cNvSpPr/>
                <p:nvPr/>
              </p:nvSpPr>
              <p:spPr>
                <a:xfrm>
                  <a:off x="2058325" y="8304625"/>
                  <a:ext cx="973075" cy="1106800"/>
                </a:xfrm>
                <a:custGeom>
                  <a:avLst/>
                  <a:gdLst/>
                  <a:ahLst/>
                  <a:cxnLst/>
                  <a:rect l="l" t="t" r="r" b="b"/>
                  <a:pathLst>
                    <a:path w="38923" h="44272" extrusionOk="0">
                      <a:moveTo>
                        <a:pt x="4675" y="1"/>
                      </a:moveTo>
                      <a:cubicBezTo>
                        <a:pt x="4675" y="1"/>
                        <a:pt x="3913" y="3615"/>
                        <a:pt x="3017" y="8604"/>
                      </a:cubicBezTo>
                      <a:cubicBezTo>
                        <a:pt x="3017" y="8633"/>
                        <a:pt x="3002" y="8663"/>
                        <a:pt x="3002" y="8708"/>
                      </a:cubicBezTo>
                      <a:cubicBezTo>
                        <a:pt x="2778" y="10052"/>
                        <a:pt x="2509" y="11501"/>
                        <a:pt x="2270" y="13010"/>
                      </a:cubicBezTo>
                      <a:cubicBezTo>
                        <a:pt x="1718" y="16251"/>
                        <a:pt x="1195" y="19761"/>
                        <a:pt x="792" y="23062"/>
                      </a:cubicBezTo>
                      <a:cubicBezTo>
                        <a:pt x="732" y="23644"/>
                        <a:pt x="657" y="24227"/>
                        <a:pt x="612" y="24809"/>
                      </a:cubicBezTo>
                      <a:cubicBezTo>
                        <a:pt x="612" y="24839"/>
                        <a:pt x="597" y="24884"/>
                        <a:pt x="597" y="24929"/>
                      </a:cubicBezTo>
                      <a:cubicBezTo>
                        <a:pt x="523" y="25586"/>
                        <a:pt x="463" y="26228"/>
                        <a:pt x="418" y="26855"/>
                      </a:cubicBezTo>
                      <a:cubicBezTo>
                        <a:pt x="403" y="27094"/>
                        <a:pt x="373" y="27348"/>
                        <a:pt x="359" y="27587"/>
                      </a:cubicBezTo>
                      <a:cubicBezTo>
                        <a:pt x="344" y="27632"/>
                        <a:pt x="344" y="27692"/>
                        <a:pt x="344" y="27722"/>
                      </a:cubicBezTo>
                      <a:cubicBezTo>
                        <a:pt x="0" y="32128"/>
                        <a:pt x="105" y="35608"/>
                        <a:pt x="1031" y="36668"/>
                      </a:cubicBezTo>
                      <a:cubicBezTo>
                        <a:pt x="1882" y="37639"/>
                        <a:pt x="3839" y="38804"/>
                        <a:pt x="6437" y="39894"/>
                      </a:cubicBezTo>
                      <a:cubicBezTo>
                        <a:pt x="6482" y="39924"/>
                        <a:pt x="6512" y="39939"/>
                        <a:pt x="6542" y="39954"/>
                      </a:cubicBezTo>
                      <a:cubicBezTo>
                        <a:pt x="7602" y="40402"/>
                        <a:pt x="8752" y="40850"/>
                        <a:pt x="9992" y="41253"/>
                      </a:cubicBezTo>
                      <a:cubicBezTo>
                        <a:pt x="10769" y="41522"/>
                        <a:pt x="11590" y="41776"/>
                        <a:pt x="12442" y="42030"/>
                      </a:cubicBezTo>
                      <a:cubicBezTo>
                        <a:pt x="12471" y="42030"/>
                        <a:pt x="12501" y="42030"/>
                        <a:pt x="12546" y="42045"/>
                      </a:cubicBezTo>
                      <a:cubicBezTo>
                        <a:pt x="15309" y="42866"/>
                        <a:pt x="18267" y="43524"/>
                        <a:pt x="21134" y="43897"/>
                      </a:cubicBezTo>
                      <a:cubicBezTo>
                        <a:pt x="21179" y="43897"/>
                        <a:pt x="21209" y="43912"/>
                        <a:pt x="21239" y="43912"/>
                      </a:cubicBezTo>
                      <a:cubicBezTo>
                        <a:pt x="22959" y="44140"/>
                        <a:pt x="24642" y="44271"/>
                        <a:pt x="26216" y="44271"/>
                      </a:cubicBezTo>
                      <a:cubicBezTo>
                        <a:pt x="27117" y="44271"/>
                        <a:pt x="27981" y="44228"/>
                        <a:pt x="28796" y="44136"/>
                      </a:cubicBezTo>
                      <a:cubicBezTo>
                        <a:pt x="29259" y="44076"/>
                        <a:pt x="29707" y="44017"/>
                        <a:pt x="30140" y="43927"/>
                      </a:cubicBezTo>
                      <a:cubicBezTo>
                        <a:pt x="30185" y="43912"/>
                        <a:pt x="30230" y="43912"/>
                        <a:pt x="30290" y="43897"/>
                      </a:cubicBezTo>
                      <a:cubicBezTo>
                        <a:pt x="30902" y="43778"/>
                        <a:pt x="31485" y="43613"/>
                        <a:pt x="32022" y="43404"/>
                      </a:cubicBezTo>
                      <a:cubicBezTo>
                        <a:pt x="33710" y="42777"/>
                        <a:pt x="34920" y="42000"/>
                        <a:pt x="35741" y="41164"/>
                      </a:cubicBezTo>
                      <a:cubicBezTo>
                        <a:pt x="35786" y="41104"/>
                        <a:pt x="35831" y="41059"/>
                        <a:pt x="35876" y="41014"/>
                      </a:cubicBezTo>
                      <a:cubicBezTo>
                        <a:pt x="38923" y="37714"/>
                        <a:pt x="36399" y="33427"/>
                        <a:pt x="34323" y="32322"/>
                      </a:cubicBezTo>
                      <a:cubicBezTo>
                        <a:pt x="34024" y="32172"/>
                        <a:pt x="33621" y="31963"/>
                        <a:pt x="33143" y="31739"/>
                      </a:cubicBezTo>
                      <a:cubicBezTo>
                        <a:pt x="32515" y="31455"/>
                        <a:pt x="31768" y="31127"/>
                        <a:pt x="30932" y="30768"/>
                      </a:cubicBezTo>
                      <a:cubicBezTo>
                        <a:pt x="30887" y="30753"/>
                        <a:pt x="30857" y="30739"/>
                        <a:pt x="30813" y="30724"/>
                      </a:cubicBezTo>
                      <a:cubicBezTo>
                        <a:pt x="30215" y="30470"/>
                        <a:pt x="29573" y="30201"/>
                        <a:pt x="28901" y="29917"/>
                      </a:cubicBezTo>
                      <a:cubicBezTo>
                        <a:pt x="28856" y="29902"/>
                        <a:pt x="28826" y="29887"/>
                        <a:pt x="28796" y="29887"/>
                      </a:cubicBezTo>
                      <a:cubicBezTo>
                        <a:pt x="26242" y="28827"/>
                        <a:pt x="23464" y="27722"/>
                        <a:pt x="21776" y="27064"/>
                      </a:cubicBezTo>
                      <a:cubicBezTo>
                        <a:pt x="21732" y="27034"/>
                        <a:pt x="21702" y="27020"/>
                        <a:pt x="21657" y="27020"/>
                      </a:cubicBezTo>
                      <a:cubicBezTo>
                        <a:pt x="20746" y="26661"/>
                        <a:pt x="20193" y="26437"/>
                        <a:pt x="20193" y="26437"/>
                      </a:cubicBezTo>
                      <a:lnTo>
                        <a:pt x="20865" y="22613"/>
                      </a:lnTo>
                      <a:lnTo>
                        <a:pt x="20925" y="22330"/>
                      </a:lnTo>
                      <a:lnTo>
                        <a:pt x="21552" y="18805"/>
                      </a:lnTo>
                      <a:lnTo>
                        <a:pt x="21582" y="18685"/>
                      </a:lnTo>
                      <a:lnTo>
                        <a:pt x="21971" y="16564"/>
                      </a:lnTo>
                      <a:lnTo>
                        <a:pt x="22120" y="15698"/>
                      </a:lnTo>
                      <a:lnTo>
                        <a:pt x="22135" y="15579"/>
                      </a:lnTo>
                      <a:lnTo>
                        <a:pt x="22613" y="12905"/>
                      </a:lnTo>
                      <a:lnTo>
                        <a:pt x="22643" y="12786"/>
                      </a:lnTo>
                      <a:lnTo>
                        <a:pt x="23165" y="9828"/>
                      </a:lnTo>
                      <a:lnTo>
                        <a:pt x="23180" y="9724"/>
                      </a:lnTo>
                      <a:lnTo>
                        <a:pt x="24002" y="5139"/>
                      </a:lnTo>
                      <a:lnTo>
                        <a:pt x="467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3" name="Google Shape;1163;p17"/>
                <p:cNvSpPr/>
                <p:nvPr/>
              </p:nvSpPr>
              <p:spPr>
                <a:xfrm>
                  <a:off x="2066525" y="8519700"/>
                  <a:ext cx="888700" cy="882725"/>
                </a:xfrm>
                <a:custGeom>
                  <a:avLst/>
                  <a:gdLst/>
                  <a:ahLst/>
                  <a:cxnLst/>
                  <a:rect l="l" t="t" r="r" b="b"/>
                  <a:pathLst>
                    <a:path w="35548" h="35309" extrusionOk="0">
                      <a:moveTo>
                        <a:pt x="22315" y="4183"/>
                      </a:moveTo>
                      <a:lnTo>
                        <a:pt x="22315" y="4183"/>
                      </a:lnTo>
                      <a:cubicBezTo>
                        <a:pt x="20582" y="4392"/>
                        <a:pt x="19044" y="4646"/>
                        <a:pt x="18626" y="5153"/>
                      </a:cubicBezTo>
                      <a:cubicBezTo>
                        <a:pt x="18536" y="5258"/>
                        <a:pt x="18521" y="5392"/>
                        <a:pt x="18521" y="5512"/>
                      </a:cubicBezTo>
                      <a:cubicBezTo>
                        <a:pt x="18626" y="6124"/>
                        <a:pt x="19701" y="6647"/>
                        <a:pt x="21792" y="7095"/>
                      </a:cubicBezTo>
                      <a:lnTo>
                        <a:pt x="21807" y="6976"/>
                      </a:lnTo>
                      <a:cubicBezTo>
                        <a:pt x="19806" y="6557"/>
                        <a:pt x="18715" y="6065"/>
                        <a:pt x="18641" y="5497"/>
                      </a:cubicBezTo>
                      <a:cubicBezTo>
                        <a:pt x="18626" y="5407"/>
                        <a:pt x="18655" y="5303"/>
                        <a:pt x="18715" y="5228"/>
                      </a:cubicBezTo>
                      <a:cubicBezTo>
                        <a:pt x="19089" y="4750"/>
                        <a:pt x="20597" y="4496"/>
                        <a:pt x="22285" y="4302"/>
                      </a:cubicBezTo>
                      <a:lnTo>
                        <a:pt x="22315" y="4183"/>
                      </a:lnTo>
                      <a:close/>
                      <a:moveTo>
                        <a:pt x="22867" y="1121"/>
                      </a:moveTo>
                      <a:lnTo>
                        <a:pt x="22867" y="1121"/>
                      </a:lnTo>
                      <a:cubicBezTo>
                        <a:pt x="20433" y="1195"/>
                        <a:pt x="18148" y="2211"/>
                        <a:pt x="16893" y="3645"/>
                      </a:cubicBezTo>
                      <a:cubicBezTo>
                        <a:pt x="15728" y="5004"/>
                        <a:pt x="15623" y="6528"/>
                        <a:pt x="16579" y="7946"/>
                      </a:cubicBezTo>
                      <a:cubicBezTo>
                        <a:pt x="17266" y="8947"/>
                        <a:pt x="18835" y="9694"/>
                        <a:pt x="21239" y="10187"/>
                      </a:cubicBezTo>
                      <a:lnTo>
                        <a:pt x="21284" y="10067"/>
                      </a:lnTo>
                      <a:cubicBezTo>
                        <a:pt x="18909" y="9575"/>
                        <a:pt x="17341" y="8828"/>
                        <a:pt x="16684" y="7872"/>
                      </a:cubicBezTo>
                      <a:cubicBezTo>
                        <a:pt x="15743" y="6513"/>
                        <a:pt x="15848" y="5034"/>
                        <a:pt x="16998" y="3720"/>
                      </a:cubicBezTo>
                      <a:cubicBezTo>
                        <a:pt x="18207" y="2301"/>
                        <a:pt x="20463" y="1300"/>
                        <a:pt x="22852" y="1225"/>
                      </a:cubicBezTo>
                      <a:lnTo>
                        <a:pt x="22867" y="1121"/>
                      </a:lnTo>
                      <a:close/>
                      <a:moveTo>
                        <a:pt x="2704" y="1"/>
                      </a:moveTo>
                      <a:cubicBezTo>
                        <a:pt x="2704" y="30"/>
                        <a:pt x="2689" y="60"/>
                        <a:pt x="2689" y="105"/>
                      </a:cubicBezTo>
                      <a:cubicBezTo>
                        <a:pt x="7648" y="1972"/>
                        <a:pt x="9530" y="4690"/>
                        <a:pt x="10217" y="6737"/>
                      </a:cubicBezTo>
                      <a:cubicBezTo>
                        <a:pt x="11770" y="11382"/>
                        <a:pt x="6094" y="13757"/>
                        <a:pt x="628" y="16057"/>
                      </a:cubicBezTo>
                      <a:cubicBezTo>
                        <a:pt x="508" y="16087"/>
                        <a:pt x="404" y="16146"/>
                        <a:pt x="299" y="16191"/>
                      </a:cubicBezTo>
                      <a:cubicBezTo>
                        <a:pt x="299" y="16221"/>
                        <a:pt x="284" y="16266"/>
                        <a:pt x="284" y="16311"/>
                      </a:cubicBezTo>
                      <a:cubicBezTo>
                        <a:pt x="404" y="16251"/>
                        <a:pt x="523" y="16206"/>
                        <a:pt x="658" y="16146"/>
                      </a:cubicBezTo>
                      <a:cubicBezTo>
                        <a:pt x="6199" y="13846"/>
                        <a:pt x="11904" y="11456"/>
                        <a:pt x="10321" y="6707"/>
                      </a:cubicBezTo>
                      <a:cubicBezTo>
                        <a:pt x="9156" y="3227"/>
                        <a:pt x="5841" y="1181"/>
                        <a:pt x="2704" y="1"/>
                      </a:cubicBezTo>
                      <a:close/>
                      <a:moveTo>
                        <a:pt x="21359" y="18402"/>
                      </a:moveTo>
                      <a:lnTo>
                        <a:pt x="21359" y="18402"/>
                      </a:lnTo>
                      <a:cubicBezTo>
                        <a:pt x="21792" y="20552"/>
                        <a:pt x="22479" y="22688"/>
                        <a:pt x="23749" y="23390"/>
                      </a:cubicBezTo>
                      <a:cubicBezTo>
                        <a:pt x="24280" y="23688"/>
                        <a:pt x="24763" y="23818"/>
                        <a:pt x="25209" y="23818"/>
                      </a:cubicBezTo>
                      <a:cubicBezTo>
                        <a:pt x="26594" y="23818"/>
                        <a:pt x="27620" y="22572"/>
                        <a:pt x="28603" y="21284"/>
                      </a:cubicBezTo>
                      <a:cubicBezTo>
                        <a:pt x="28558" y="21284"/>
                        <a:pt x="28528" y="21269"/>
                        <a:pt x="28483" y="21254"/>
                      </a:cubicBezTo>
                      <a:cubicBezTo>
                        <a:pt x="27544" y="22510"/>
                        <a:pt x="26545" y="23706"/>
                        <a:pt x="25201" y="23706"/>
                      </a:cubicBezTo>
                      <a:cubicBezTo>
                        <a:pt x="24770" y="23706"/>
                        <a:pt x="24304" y="23583"/>
                        <a:pt x="23793" y="23301"/>
                      </a:cubicBezTo>
                      <a:cubicBezTo>
                        <a:pt x="22584" y="22628"/>
                        <a:pt x="21911" y="20567"/>
                        <a:pt x="21478" y="18446"/>
                      </a:cubicBezTo>
                      <a:cubicBezTo>
                        <a:pt x="21434" y="18417"/>
                        <a:pt x="21389" y="18417"/>
                        <a:pt x="21359" y="18402"/>
                      </a:cubicBezTo>
                      <a:close/>
                      <a:moveTo>
                        <a:pt x="12033" y="14431"/>
                      </a:moveTo>
                      <a:cubicBezTo>
                        <a:pt x="8726" y="14431"/>
                        <a:pt x="4098" y="16714"/>
                        <a:pt x="16" y="18954"/>
                      </a:cubicBezTo>
                      <a:cubicBezTo>
                        <a:pt x="1" y="18999"/>
                        <a:pt x="1" y="19059"/>
                        <a:pt x="1" y="19089"/>
                      </a:cubicBezTo>
                      <a:cubicBezTo>
                        <a:pt x="4098" y="16840"/>
                        <a:pt x="8737" y="14539"/>
                        <a:pt x="12030" y="14539"/>
                      </a:cubicBezTo>
                      <a:cubicBezTo>
                        <a:pt x="13046" y="14539"/>
                        <a:pt x="13933" y="14758"/>
                        <a:pt x="14638" y="15265"/>
                      </a:cubicBezTo>
                      <a:cubicBezTo>
                        <a:pt x="15370" y="15818"/>
                        <a:pt x="15773" y="16550"/>
                        <a:pt x="15803" y="17491"/>
                      </a:cubicBezTo>
                      <a:cubicBezTo>
                        <a:pt x="15877" y="19925"/>
                        <a:pt x="13458" y="23749"/>
                        <a:pt x="8843" y="28558"/>
                      </a:cubicBezTo>
                      <a:cubicBezTo>
                        <a:pt x="7917" y="29544"/>
                        <a:pt x="6991" y="30455"/>
                        <a:pt x="6109" y="31276"/>
                      </a:cubicBezTo>
                      <a:cubicBezTo>
                        <a:pt x="6154" y="31306"/>
                        <a:pt x="6184" y="31321"/>
                        <a:pt x="6214" y="31336"/>
                      </a:cubicBezTo>
                      <a:cubicBezTo>
                        <a:pt x="7080" y="30515"/>
                        <a:pt x="8006" y="29603"/>
                        <a:pt x="8917" y="28648"/>
                      </a:cubicBezTo>
                      <a:cubicBezTo>
                        <a:pt x="13637" y="23734"/>
                        <a:pt x="15997" y="19985"/>
                        <a:pt x="15922" y="17491"/>
                      </a:cubicBezTo>
                      <a:cubicBezTo>
                        <a:pt x="15892" y="16535"/>
                        <a:pt x="15474" y="15743"/>
                        <a:pt x="14697" y="15175"/>
                      </a:cubicBezTo>
                      <a:cubicBezTo>
                        <a:pt x="13977" y="14655"/>
                        <a:pt x="13070" y="14431"/>
                        <a:pt x="12033" y="14431"/>
                      </a:cubicBezTo>
                      <a:close/>
                      <a:moveTo>
                        <a:pt x="30529" y="22121"/>
                      </a:moveTo>
                      <a:cubicBezTo>
                        <a:pt x="28916" y="24988"/>
                        <a:pt x="27348" y="28931"/>
                        <a:pt x="31276" y="31620"/>
                      </a:cubicBezTo>
                      <a:cubicBezTo>
                        <a:pt x="32268" y="32289"/>
                        <a:pt x="33355" y="32624"/>
                        <a:pt x="34523" y="32624"/>
                      </a:cubicBezTo>
                      <a:cubicBezTo>
                        <a:pt x="34815" y="32624"/>
                        <a:pt x="35112" y="32603"/>
                        <a:pt x="35413" y="32561"/>
                      </a:cubicBezTo>
                      <a:cubicBezTo>
                        <a:pt x="35458" y="32501"/>
                        <a:pt x="35503" y="32456"/>
                        <a:pt x="35548" y="32411"/>
                      </a:cubicBezTo>
                      <a:lnTo>
                        <a:pt x="35548" y="32411"/>
                      </a:lnTo>
                      <a:cubicBezTo>
                        <a:pt x="35185" y="32474"/>
                        <a:pt x="34830" y="32505"/>
                        <a:pt x="34482" y="32505"/>
                      </a:cubicBezTo>
                      <a:cubicBezTo>
                        <a:pt x="33341" y="32505"/>
                        <a:pt x="32286" y="32171"/>
                        <a:pt x="31336" y="31530"/>
                      </a:cubicBezTo>
                      <a:cubicBezTo>
                        <a:pt x="27497" y="28872"/>
                        <a:pt x="29051" y="24988"/>
                        <a:pt x="30649" y="22150"/>
                      </a:cubicBezTo>
                      <a:cubicBezTo>
                        <a:pt x="30604" y="22136"/>
                        <a:pt x="30574" y="22121"/>
                        <a:pt x="30529" y="22121"/>
                      </a:cubicBezTo>
                      <a:close/>
                      <a:moveTo>
                        <a:pt x="16356" y="27364"/>
                      </a:moveTo>
                      <a:cubicBezTo>
                        <a:pt x="13813" y="27364"/>
                        <a:pt x="13215" y="29512"/>
                        <a:pt x="12666" y="31575"/>
                      </a:cubicBezTo>
                      <a:cubicBezTo>
                        <a:pt x="12487" y="32232"/>
                        <a:pt x="12323" y="32859"/>
                        <a:pt x="12099" y="33412"/>
                      </a:cubicBezTo>
                      <a:cubicBezTo>
                        <a:pt x="12143" y="33412"/>
                        <a:pt x="12173" y="33427"/>
                        <a:pt x="12218" y="33427"/>
                      </a:cubicBezTo>
                      <a:cubicBezTo>
                        <a:pt x="12442" y="32859"/>
                        <a:pt x="12606" y="32232"/>
                        <a:pt x="12786" y="31605"/>
                      </a:cubicBezTo>
                      <a:cubicBezTo>
                        <a:pt x="13338" y="29585"/>
                        <a:pt x="13902" y="27479"/>
                        <a:pt x="16406" y="27479"/>
                      </a:cubicBezTo>
                      <a:cubicBezTo>
                        <a:pt x="16679" y="27479"/>
                        <a:pt x="16975" y="27504"/>
                        <a:pt x="17296" y="27557"/>
                      </a:cubicBezTo>
                      <a:cubicBezTo>
                        <a:pt x="18297" y="27722"/>
                        <a:pt x="19089" y="28259"/>
                        <a:pt x="19671" y="29140"/>
                      </a:cubicBezTo>
                      <a:cubicBezTo>
                        <a:pt x="20657" y="30649"/>
                        <a:pt x="20881" y="33009"/>
                        <a:pt x="20806" y="35279"/>
                      </a:cubicBezTo>
                      <a:cubicBezTo>
                        <a:pt x="20851" y="35279"/>
                        <a:pt x="20881" y="35294"/>
                        <a:pt x="20911" y="35294"/>
                      </a:cubicBezTo>
                      <a:cubicBezTo>
                        <a:pt x="21000" y="32994"/>
                        <a:pt x="20761" y="30604"/>
                        <a:pt x="19746" y="29081"/>
                      </a:cubicBezTo>
                      <a:cubicBezTo>
                        <a:pt x="19163" y="28185"/>
                        <a:pt x="18342" y="27632"/>
                        <a:pt x="17311" y="27453"/>
                      </a:cubicBezTo>
                      <a:cubicBezTo>
                        <a:pt x="16965" y="27393"/>
                        <a:pt x="16648" y="27364"/>
                        <a:pt x="16356" y="27364"/>
                      </a:cubicBezTo>
                      <a:close/>
                      <a:moveTo>
                        <a:pt x="20061" y="12770"/>
                      </a:moveTo>
                      <a:cubicBezTo>
                        <a:pt x="19748" y="12770"/>
                        <a:pt x="19313" y="13302"/>
                        <a:pt x="18267" y="16983"/>
                      </a:cubicBezTo>
                      <a:cubicBezTo>
                        <a:pt x="15997" y="24988"/>
                        <a:pt x="24316" y="31202"/>
                        <a:pt x="29290" y="34921"/>
                      </a:cubicBezTo>
                      <a:cubicBezTo>
                        <a:pt x="29469" y="35055"/>
                        <a:pt x="29648" y="35189"/>
                        <a:pt x="29812" y="35309"/>
                      </a:cubicBezTo>
                      <a:cubicBezTo>
                        <a:pt x="29857" y="35294"/>
                        <a:pt x="29902" y="35294"/>
                        <a:pt x="29962" y="35279"/>
                      </a:cubicBezTo>
                      <a:cubicBezTo>
                        <a:pt x="29768" y="35130"/>
                        <a:pt x="29559" y="34980"/>
                        <a:pt x="29349" y="34831"/>
                      </a:cubicBezTo>
                      <a:cubicBezTo>
                        <a:pt x="24406" y="31127"/>
                        <a:pt x="16131" y="24943"/>
                        <a:pt x="18357" y="17013"/>
                      </a:cubicBezTo>
                      <a:cubicBezTo>
                        <a:pt x="18669" y="15987"/>
                        <a:pt x="19528" y="12875"/>
                        <a:pt x="20052" y="12875"/>
                      </a:cubicBezTo>
                      <a:cubicBezTo>
                        <a:pt x="20054" y="12875"/>
                        <a:pt x="20057" y="12875"/>
                        <a:pt x="20059" y="12875"/>
                      </a:cubicBezTo>
                      <a:cubicBezTo>
                        <a:pt x="20254" y="12890"/>
                        <a:pt x="20403" y="13338"/>
                        <a:pt x="20552" y="13996"/>
                      </a:cubicBezTo>
                      <a:lnTo>
                        <a:pt x="20612" y="13712"/>
                      </a:lnTo>
                      <a:cubicBezTo>
                        <a:pt x="20463" y="13099"/>
                        <a:pt x="20313" y="12786"/>
                        <a:pt x="20074" y="12771"/>
                      </a:cubicBezTo>
                      <a:cubicBezTo>
                        <a:pt x="20070" y="12771"/>
                        <a:pt x="20065" y="12770"/>
                        <a:pt x="20061" y="1277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4" name="Google Shape;1164;p17"/>
                <p:cNvSpPr/>
                <p:nvPr/>
              </p:nvSpPr>
              <p:spPr>
                <a:xfrm>
                  <a:off x="2100875" y="8270725"/>
                  <a:ext cx="599700" cy="352800"/>
                </a:xfrm>
                <a:custGeom>
                  <a:avLst/>
                  <a:gdLst/>
                  <a:ahLst/>
                  <a:cxnLst/>
                  <a:rect l="l" t="t" r="r" b="b"/>
                  <a:pathLst>
                    <a:path w="23988" h="14112" extrusionOk="0">
                      <a:moveTo>
                        <a:pt x="3198" y="1"/>
                      </a:moveTo>
                      <a:cubicBezTo>
                        <a:pt x="2400" y="1"/>
                        <a:pt x="1685" y="574"/>
                        <a:pt x="1539" y="1372"/>
                      </a:cubicBezTo>
                      <a:lnTo>
                        <a:pt x="165" y="8720"/>
                      </a:lnTo>
                      <a:cubicBezTo>
                        <a:pt x="1" y="9586"/>
                        <a:pt x="523" y="10408"/>
                        <a:pt x="1330" y="10647"/>
                      </a:cubicBezTo>
                      <a:cubicBezTo>
                        <a:pt x="1405" y="10662"/>
                        <a:pt x="1450" y="10677"/>
                        <a:pt x="1524" y="10691"/>
                      </a:cubicBezTo>
                      <a:lnTo>
                        <a:pt x="1554" y="10691"/>
                      </a:lnTo>
                      <a:lnTo>
                        <a:pt x="3466" y="11035"/>
                      </a:lnTo>
                      <a:lnTo>
                        <a:pt x="3675" y="11080"/>
                      </a:lnTo>
                      <a:lnTo>
                        <a:pt x="5587" y="11423"/>
                      </a:lnTo>
                      <a:lnTo>
                        <a:pt x="5811" y="11468"/>
                      </a:lnTo>
                      <a:lnTo>
                        <a:pt x="7708" y="11812"/>
                      </a:lnTo>
                      <a:lnTo>
                        <a:pt x="7932" y="11842"/>
                      </a:lnTo>
                      <a:lnTo>
                        <a:pt x="9843" y="12185"/>
                      </a:lnTo>
                      <a:lnTo>
                        <a:pt x="10053" y="12230"/>
                      </a:lnTo>
                      <a:lnTo>
                        <a:pt x="11964" y="12573"/>
                      </a:lnTo>
                      <a:lnTo>
                        <a:pt x="12188" y="12618"/>
                      </a:lnTo>
                      <a:lnTo>
                        <a:pt x="14100" y="12962"/>
                      </a:lnTo>
                      <a:lnTo>
                        <a:pt x="14309" y="13007"/>
                      </a:lnTo>
                      <a:lnTo>
                        <a:pt x="16221" y="13350"/>
                      </a:lnTo>
                      <a:lnTo>
                        <a:pt x="16445" y="13380"/>
                      </a:lnTo>
                      <a:lnTo>
                        <a:pt x="18342" y="13723"/>
                      </a:lnTo>
                      <a:lnTo>
                        <a:pt x="18566" y="13768"/>
                      </a:lnTo>
                      <a:lnTo>
                        <a:pt x="20313" y="14082"/>
                      </a:lnTo>
                      <a:cubicBezTo>
                        <a:pt x="20358" y="14097"/>
                        <a:pt x="20418" y="14112"/>
                        <a:pt x="20478" y="14112"/>
                      </a:cubicBezTo>
                      <a:lnTo>
                        <a:pt x="20702" y="14112"/>
                      </a:lnTo>
                      <a:cubicBezTo>
                        <a:pt x="21449" y="14067"/>
                        <a:pt x="22106" y="13529"/>
                        <a:pt x="22240" y="12768"/>
                      </a:cubicBezTo>
                      <a:lnTo>
                        <a:pt x="23808" y="5344"/>
                      </a:lnTo>
                      <a:cubicBezTo>
                        <a:pt x="23988" y="4553"/>
                        <a:pt x="23554" y="3761"/>
                        <a:pt x="22867" y="3448"/>
                      </a:cubicBezTo>
                      <a:cubicBezTo>
                        <a:pt x="22793" y="3418"/>
                        <a:pt x="22703" y="3403"/>
                        <a:pt x="22643" y="3373"/>
                      </a:cubicBezTo>
                      <a:cubicBezTo>
                        <a:pt x="22584" y="3358"/>
                        <a:pt x="22524" y="3343"/>
                        <a:pt x="22449" y="3328"/>
                      </a:cubicBezTo>
                      <a:lnTo>
                        <a:pt x="20747" y="3029"/>
                      </a:lnTo>
                      <a:lnTo>
                        <a:pt x="20523" y="2985"/>
                      </a:lnTo>
                      <a:lnTo>
                        <a:pt x="18626" y="2656"/>
                      </a:lnTo>
                      <a:lnTo>
                        <a:pt x="18402" y="2611"/>
                      </a:lnTo>
                      <a:lnTo>
                        <a:pt x="16490" y="2283"/>
                      </a:lnTo>
                      <a:lnTo>
                        <a:pt x="16281" y="2238"/>
                      </a:lnTo>
                      <a:lnTo>
                        <a:pt x="14369" y="1909"/>
                      </a:lnTo>
                      <a:lnTo>
                        <a:pt x="14145" y="1879"/>
                      </a:lnTo>
                      <a:lnTo>
                        <a:pt x="12248" y="1551"/>
                      </a:lnTo>
                      <a:lnTo>
                        <a:pt x="12024" y="1506"/>
                      </a:lnTo>
                      <a:lnTo>
                        <a:pt x="10112" y="1177"/>
                      </a:lnTo>
                      <a:lnTo>
                        <a:pt x="9888" y="1133"/>
                      </a:lnTo>
                      <a:lnTo>
                        <a:pt x="7991" y="804"/>
                      </a:lnTo>
                      <a:lnTo>
                        <a:pt x="7767" y="759"/>
                      </a:lnTo>
                      <a:lnTo>
                        <a:pt x="5856" y="431"/>
                      </a:lnTo>
                      <a:lnTo>
                        <a:pt x="5646" y="386"/>
                      </a:lnTo>
                      <a:lnTo>
                        <a:pt x="3735" y="57"/>
                      </a:lnTo>
                      <a:lnTo>
                        <a:pt x="3511" y="27"/>
                      </a:lnTo>
                      <a:lnTo>
                        <a:pt x="3496" y="27"/>
                      </a:lnTo>
                      <a:cubicBezTo>
                        <a:pt x="3396" y="9"/>
                        <a:pt x="3296" y="1"/>
                        <a:pt x="319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5" name="Google Shape;1165;p17"/>
                <p:cNvSpPr/>
                <p:nvPr/>
              </p:nvSpPr>
              <p:spPr>
                <a:xfrm>
                  <a:off x="2058675" y="8975250"/>
                  <a:ext cx="253200" cy="359975"/>
                </a:xfrm>
                <a:custGeom>
                  <a:avLst/>
                  <a:gdLst/>
                  <a:ahLst/>
                  <a:cxnLst/>
                  <a:rect l="l" t="t" r="r" b="b"/>
                  <a:pathLst>
                    <a:path w="10128" h="14399" extrusionOk="0">
                      <a:moveTo>
                        <a:pt x="419" y="0"/>
                      </a:moveTo>
                      <a:lnTo>
                        <a:pt x="419" y="0"/>
                      </a:lnTo>
                      <a:cubicBezTo>
                        <a:pt x="1" y="4810"/>
                        <a:pt x="46" y="8678"/>
                        <a:pt x="1032" y="9813"/>
                      </a:cubicBezTo>
                      <a:cubicBezTo>
                        <a:pt x="2241" y="11217"/>
                        <a:pt x="5692" y="12950"/>
                        <a:pt x="9993" y="14399"/>
                      </a:cubicBezTo>
                      <a:cubicBezTo>
                        <a:pt x="10127" y="11830"/>
                        <a:pt x="9888" y="8813"/>
                        <a:pt x="8589" y="6169"/>
                      </a:cubicBezTo>
                      <a:cubicBezTo>
                        <a:pt x="6692" y="2315"/>
                        <a:pt x="2973" y="687"/>
                        <a:pt x="41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6" name="Google Shape;1166;p17"/>
                <p:cNvSpPr/>
                <p:nvPr/>
              </p:nvSpPr>
              <p:spPr>
                <a:xfrm>
                  <a:off x="2777100" y="9098100"/>
                  <a:ext cx="289400" cy="309575"/>
                </a:xfrm>
                <a:custGeom>
                  <a:avLst/>
                  <a:gdLst/>
                  <a:ahLst/>
                  <a:cxnLst/>
                  <a:rect l="l" t="t" r="r" b="b"/>
                  <a:pathLst>
                    <a:path w="11576" h="12383" extrusionOk="0">
                      <a:moveTo>
                        <a:pt x="4421" y="0"/>
                      </a:moveTo>
                      <a:cubicBezTo>
                        <a:pt x="3137" y="1091"/>
                        <a:pt x="1673" y="3077"/>
                        <a:pt x="717" y="6632"/>
                      </a:cubicBezTo>
                      <a:cubicBezTo>
                        <a:pt x="180" y="8663"/>
                        <a:pt x="0" y="10620"/>
                        <a:pt x="45" y="12382"/>
                      </a:cubicBezTo>
                      <a:cubicBezTo>
                        <a:pt x="1240" y="12248"/>
                        <a:pt x="2330" y="12009"/>
                        <a:pt x="3271" y="11650"/>
                      </a:cubicBezTo>
                      <a:cubicBezTo>
                        <a:pt x="11576" y="8529"/>
                        <a:pt x="8215" y="2002"/>
                        <a:pt x="5601" y="568"/>
                      </a:cubicBezTo>
                      <a:cubicBezTo>
                        <a:pt x="5303" y="418"/>
                        <a:pt x="4899" y="209"/>
                        <a:pt x="4421"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7" name="Google Shape;1167;p17"/>
                <p:cNvSpPr/>
                <p:nvPr/>
              </p:nvSpPr>
              <p:spPr>
                <a:xfrm>
                  <a:off x="2078475" y="8629475"/>
                  <a:ext cx="529500" cy="335725"/>
                </a:xfrm>
                <a:custGeom>
                  <a:avLst/>
                  <a:gdLst/>
                  <a:ahLst/>
                  <a:cxnLst/>
                  <a:rect l="l" t="t" r="r" b="b"/>
                  <a:pathLst>
                    <a:path w="21180" h="13429" extrusionOk="0">
                      <a:moveTo>
                        <a:pt x="1479" y="1"/>
                      </a:moveTo>
                      <a:cubicBezTo>
                        <a:pt x="927" y="3242"/>
                        <a:pt x="404" y="6767"/>
                        <a:pt x="1" y="10053"/>
                      </a:cubicBezTo>
                      <a:lnTo>
                        <a:pt x="19402" y="13428"/>
                      </a:lnTo>
                      <a:lnTo>
                        <a:pt x="21180" y="3555"/>
                      </a:lnTo>
                      <a:lnTo>
                        <a:pt x="147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8" name="Google Shape;1168;p17"/>
                <p:cNvSpPr/>
                <p:nvPr/>
              </p:nvSpPr>
              <p:spPr>
                <a:xfrm>
                  <a:off x="2105350" y="8670400"/>
                  <a:ext cx="197925" cy="183625"/>
                </a:xfrm>
                <a:custGeom>
                  <a:avLst/>
                  <a:gdLst/>
                  <a:ahLst/>
                  <a:cxnLst/>
                  <a:rect l="l" t="t" r="r" b="b"/>
                  <a:pathLst>
                    <a:path w="7917" h="7345" extrusionOk="0">
                      <a:moveTo>
                        <a:pt x="6034" y="0"/>
                      </a:moveTo>
                      <a:cubicBezTo>
                        <a:pt x="4841" y="0"/>
                        <a:pt x="3750" y="2770"/>
                        <a:pt x="3750" y="2770"/>
                      </a:cubicBezTo>
                      <a:cubicBezTo>
                        <a:pt x="3750" y="2770"/>
                        <a:pt x="3059" y="1626"/>
                        <a:pt x="2348" y="1626"/>
                      </a:cubicBezTo>
                      <a:cubicBezTo>
                        <a:pt x="2243" y="1626"/>
                        <a:pt x="2137" y="1651"/>
                        <a:pt x="2032" y="1709"/>
                      </a:cubicBezTo>
                      <a:cubicBezTo>
                        <a:pt x="1241" y="2157"/>
                        <a:pt x="2630" y="4413"/>
                        <a:pt x="2630" y="4413"/>
                      </a:cubicBezTo>
                      <a:cubicBezTo>
                        <a:pt x="2630" y="4413"/>
                        <a:pt x="1816" y="4033"/>
                        <a:pt x="1140" y="4033"/>
                      </a:cubicBezTo>
                      <a:cubicBezTo>
                        <a:pt x="744" y="4033"/>
                        <a:pt x="395" y="4163"/>
                        <a:pt x="285" y="4577"/>
                      </a:cubicBezTo>
                      <a:cubicBezTo>
                        <a:pt x="1" y="5667"/>
                        <a:pt x="3033" y="6877"/>
                        <a:pt x="3033" y="6877"/>
                      </a:cubicBezTo>
                      <a:cubicBezTo>
                        <a:pt x="3033" y="6877"/>
                        <a:pt x="4545" y="7344"/>
                        <a:pt x="5685" y="7344"/>
                      </a:cubicBezTo>
                      <a:cubicBezTo>
                        <a:pt x="6263" y="7344"/>
                        <a:pt x="6746" y="7224"/>
                        <a:pt x="6886" y="6862"/>
                      </a:cubicBezTo>
                      <a:cubicBezTo>
                        <a:pt x="7320" y="5802"/>
                        <a:pt x="5019" y="5324"/>
                        <a:pt x="5019" y="5324"/>
                      </a:cubicBezTo>
                      <a:cubicBezTo>
                        <a:pt x="5019" y="5324"/>
                        <a:pt x="7917" y="4965"/>
                        <a:pt x="7917" y="3815"/>
                      </a:cubicBezTo>
                      <a:cubicBezTo>
                        <a:pt x="7917" y="3388"/>
                        <a:pt x="7561" y="3253"/>
                        <a:pt x="7115" y="3253"/>
                      </a:cubicBezTo>
                      <a:cubicBezTo>
                        <a:pt x="6361" y="3253"/>
                        <a:pt x="5348" y="3636"/>
                        <a:pt x="5348" y="3636"/>
                      </a:cubicBezTo>
                      <a:cubicBezTo>
                        <a:pt x="5348" y="3636"/>
                        <a:pt x="7723" y="813"/>
                        <a:pt x="6408" y="96"/>
                      </a:cubicBezTo>
                      <a:cubicBezTo>
                        <a:pt x="6283" y="30"/>
                        <a:pt x="6158" y="0"/>
                        <a:pt x="603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9" name="Google Shape;1169;p17"/>
                <p:cNvSpPr/>
                <p:nvPr/>
              </p:nvSpPr>
              <p:spPr>
                <a:xfrm>
                  <a:off x="2141200" y="8715725"/>
                  <a:ext cx="129975" cy="163200"/>
                </a:xfrm>
                <a:custGeom>
                  <a:avLst/>
                  <a:gdLst/>
                  <a:ahLst/>
                  <a:cxnLst/>
                  <a:rect l="l" t="t" r="r" b="b"/>
                  <a:pathLst>
                    <a:path w="5199" h="6528" fill="none" extrusionOk="0">
                      <a:moveTo>
                        <a:pt x="1240" y="6528"/>
                      </a:moveTo>
                      <a:cubicBezTo>
                        <a:pt x="1240" y="6528"/>
                        <a:pt x="1733" y="3511"/>
                        <a:pt x="4004" y="1"/>
                      </a:cubicBezTo>
                      <a:moveTo>
                        <a:pt x="1898" y="4213"/>
                      </a:moveTo>
                      <a:lnTo>
                        <a:pt x="4392" y="4661"/>
                      </a:lnTo>
                      <a:moveTo>
                        <a:pt x="3630" y="4512"/>
                      </a:moveTo>
                      <a:lnTo>
                        <a:pt x="4019" y="4317"/>
                      </a:lnTo>
                      <a:moveTo>
                        <a:pt x="2032" y="3825"/>
                      </a:moveTo>
                      <a:lnTo>
                        <a:pt x="1" y="3167"/>
                      </a:lnTo>
                      <a:moveTo>
                        <a:pt x="464" y="3003"/>
                      </a:moveTo>
                      <a:lnTo>
                        <a:pt x="688" y="3391"/>
                      </a:lnTo>
                      <a:moveTo>
                        <a:pt x="2704" y="2331"/>
                      </a:moveTo>
                      <a:lnTo>
                        <a:pt x="1315" y="1017"/>
                      </a:lnTo>
                      <a:moveTo>
                        <a:pt x="1196" y="1420"/>
                      </a:moveTo>
                      <a:lnTo>
                        <a:pt x="1793" y="1480"/>
                      </a:lnTo>
                      <a:moveTo>
                        <a:pt x="4825" y="2570"/>
                      </a:moveTo>
                      <a:lnTo>
                        <a:pt x="4362" y="2406"/>
                      </a:lnTo>
                      <a:moveTo>
                        <a:pt x="2495" y="2764"/>
                      </a:moveTo>
                      <a:lnTo>
                        <a:pt x="5198" y="2241"/>
                      </a:lnTo>
                    </a:path>
                  </a:pathLst>
                </a:custGeom>
                <a:noFill/>
                <a:ln w="150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0" name="Google Shape;1170;p17"/>
                <p:cNvSpPr/>
                <p:nvPr/>
              </p:nvSpPr>
              <p:spPr>
                <a:xfrm>
                  <a:off x="2519075" y="8788850"/>
                  <a:ext cx="81050" cy="66925"/>
                </a:xfrm>
                <a:custGeom>
                  <a:avLst/>
                  <a:gdLst/>
                  <a:ahLst/>
                  <a:cxnLst/>
                  <a:rect l="l" t="t" r="r" b="b"/>
                  <a:pathLst>
                    <a:path w="3242" h="2677" extrusionOk="0">
                      <a:moveTo>
                        <a:pt x="1549" y="0"/>
                      </a:moveTo>
                      <a:cubicBezTo>
                        <a:pt x="663" y="0"/>
                        <a:pt x="1" y="2677"/>
                        <a:pt x="1" y="2677"/>
                      </a:cubicBezTo>
                      <a:cubicBezTo>
                        <a:pt x="1748" y="2079"/>
                        <a:pt x="3242" y="198"/>
                        <a:pt x="1599" y="3"/>
                      </a:cubicBezTo>
                      <a:cubicBezTo>
                        <a:pt x="1582" y="1"/>
                        <a:pt x="1565" y="0"/>
                        <a:pt x="154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1" name="Google Shape;1171;p17"/>
                <p:cNvSpPr/>
                <p:nvPr/>
              </p:nvSpPr>
              <p:spPr>
                <a:xfrm>
                  <a:off x="2495175" y="8729650"/>
                  <a:ext cx="60050" cy="77225"/>
                </a:xfrm>
                <a:custGeom>
                  <a:avLst/>
                  <a:gdLst/>
                  <a:ahLst/>
                  <a:cxnLst/>
                  <a:rect l="l" t="t" r="r" b="b"/>
                  <a:pathLst>
                    <a:path w="2402" h="3089" extrusionOk="0">
                      <a:moveTo>
                        <a:pt x="1208" y="1"/>
                      </a:moveTo>
                      <a:cubicBezTo>
                        <a:pt x="1112" y="1"/>
                        <a:pt x="1004" y="14"/>
                        <a:pt x="882" y="41"/>
                      </a:cubicBezTo>
                      <a:cubicBezTo>
                        <a:pt x="1" y="236"/>
                        <a:pt x="270" y="3088"/>
                        <a:pt x="270" y="3088"/>
                      </a:cubicBezTo>
                      <a:cubicBezTo>
                        <a:pt x="1611" y="2037"/>
                        <a:pt x="2402" y="1"/>
                        <a:pt x="12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2" name="Google Shape;1172;p17"/>
                <p:cNvSpPr/>
                <p:nvPr/>
              </p:nvSpPr>
              <p:spPr>
                <a:xfrm>
                  <a:off x="2424775" y="8713000"/>
                  <a:ext cx="59225" cy="77825"/>
                </a:xfrm>
                <a:custGeom>
                  <a:avLst/>
                  <a:gdLst/>
                  <a:ahLst/>
                  <a:cxnLst/>
                  <a:rect l="l" t="t" r="r" b="b"/>
                  <a:pathLst>
                    <a:path w="2369" h="3113" extrusionOk="0">
                      <a:moveTo>
                        <a:pt x="1141" y="0"/>
                      </a:moveTo>
                      <a:cubicBezTo>
                        <a:pt x="0" y="0"/>
                        <a:pt x="735" y="2042"/>
                        <a:pt x="2025" y="3112"/>
                      </a:cubicBezTo>
                      <a:cubicBezTo>
                        <a:pt x="2025" y="3112"/>
                        <a:pt x="2369" y="274"/>
                        <a:pt x="1488" y="50"/>
                      </a:cubicBezTo>
                      <a:cubicBezTo>
                        <a:pt x="1357" y="16"/>
                        <a:pt x="1241" y="0"/>
                        <a:pt x="114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3" name="Google Shape;1173;p17"/>
                <p:cNvSpPr/>
                <p:nvPr/>
              </p:nvSpPr>
              <p:spPr>
                <a:xfrm>
                  <a:off x="2458975" y="8744850"/>
                  <a:ext cx="90000" cy="168075"/>
                </a:xfrm>
                <a:custGeom>
                  <a:avLst/>
                  <a:gdLst/>
                  <a:ahLst/>
                  <a:cxnLst/>
                  <a:rect l="l" t="t" r="r" b="b"/>
                  <a:pathLst>
                    <a:path w="3600" h="6723" fill="none" extrusionOk="0">
                      <a:moveTo>
                        <a:pt x="1643" y="2824"/>
                      </a:moveTo>
                      <a:cubicBezTo>
                        <a:pt x="1643" y="2824"/>
                        <a:pt x="15" y="1659"/>
                        <a:pt x="0" y="1"/>
                      </a:cubicBezTo>
                      <a:moveTo>
                        <a:pt x="1120" y="5199"/>
                      </a:moveTo>
                      <a:cubicBezTo>
                        <a:pt x="1120" y="5199"/>
                        <a:pt x="2644" y="4377"/>
                        <a:pt x="3600" y="2928"/>
                      </a:cubicBezTo>
                      <a:moveTo>
                        <a:pt x="866" y="6722"/>
                      </a:moveTo>
                      <a:cubicBezTo>
                        <a:pt x="866" y="6722"/>
                        <a:pt x="1046" y="4706"/>
                        <a:pt x="2390" y="554"/>
                      </a:cubicBezTo>
                    </a:path>
                  </a:pathLst>
                </a:custGeom>
                <a:noFill/>
                <a:ln w="22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4" name="Google Shape;1174;p17"/>
                <p:cNvSpPr/>
                <p:nvPr/>
              </p:nvSpPr>
              <p:spPr>
                <a:xfrm>
                  <a:off x="2305875" y="8792275"/>
                  <a:ext cx="73575" cy="81050"/>
                </a:xfrm>
                <a:custGeom>
                  <a:avLst/>
                  <a:gdLst/>
                  <a:ahLst/>
                  <a:cxnLst/>
                  <a:rect l="l" t="t" r="r" b="b"/>
                  <a:pathLst>
                    <a:path w="2943" h="3242" extrusionOk="0">
                      <a:moveTo>
                        <a:pt x="0" y="1"/>
                      </a:moveTo>
                      <a:cubicBezTo>
                        <a:pt x="1" y="1"/>
                        <a:pt x="269" y="1136"/>
                        <a:pt x="1434" y="2092"/>
                      </a:cubicBezTo>
                      <a:lnTo>
                        <a:pt x="1225" y="2062"/>
                      </a:lnTo>
                      <a:lnTo>
                        <a:pt x="1225" y="2062"/>
                      </a:lnTo>
                      <a:cubicBezTo>
                        <a:pt x="1210" y="2077"/>
                        <a:pt x="2017" y="3063"/>
                        <a:pt x="2883" y="3242"/>
                      </a:cubicBezTo>
                      <a:cubicBezTo>
                        <a:pt x="2883" y="3242"/>
                        <a:pt x="2943" y="2405"/>
                        <a:pt x="2271" y="1420"/>
                      </a:cubicBezTo>
                      <a:lnTo>
                        <a:pt x="2241" y="1539"/>
                      </a:lnTo>
                      <a:cubicBezTo>
                        <a:pt x="2241" y="1539"/>
                        <a:pt x="1643" y="538"/>
                        <a:pt x="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5" name="Google Shape;1175;p17"/>
                <p:cNvSpPr/>
                <p:nvPr/>
              </p:nvSpPr>
              <p:spPr>
                <a:xfrm>
                  <a:off x="2391000" y="8772875"/>
                  <a:ext cx="45600" cy="88500"/>
                </a:xfrm>
                <a:custGeom>
                  <a:avLst/>
                  <a:gdLst/>
                  <a:ahLst/>
                  <a:cxnLst/>
                  <a:rect l="l" t="t" r="r" b="b"/>
                  <a:pathLst>
                    <a:path w="1824" h="3540" extrusionOk="0">
                      <a:moveTo>
                        <a:pt x="1584" y="2046"/>
                      </a:moveTo>
                      <a:cubicBezTo>
                        <a:pt x="1584" y="2046"/>
                        <a:pt x="1584" y="2046"/>
                        <a:pt x="1584" y="2046"/>
                      </a:cubicBezTo>
                      <a:lnTo>
                        <a:pt x="1584" y="2046"/>
                      </a:lnTo>
                      <a:lnTo>
                        <a:pt x="1584" y="2046"/>
                      </a:lnTo>
                      <a:close/>
                      <a:moveTo>
                        <a:pt x="1748" y="0"/>
                      </a:moveTo>
                      <a:cubicBezTo>
                        <a:pt x="1106" y="314"/>
                        <a:pt x="553" y="1658"/>
                        <a:pt x="553" y="1658"/>
                      </a:cubicBezTo>
                      <a:lnTo>
                        <a:pt x="449" y="1553"/>
                      </a:lnTo>
                      <a:cubicBezTo>
                        <a:pt x="1" y="2539"/>
                        <a:pt x="120" y="3540"/>
                        <a:pt x="120" y="3540"/>
                      </a:cubicBezTo>
                      <a:cubicBezTo>
                        <a:pt x="996" y="3273"/>
                        <a:pt x="1562" y="2062"/>
                        <a:pt x="1584" y="2046"/>
                      </a:cubicBezTo>
                      <a:lnTo>
                        <a:pt x="1584" y="2046"/>
                      </a:lnTo>
                      <a:lnTo>
                        <a:pt x="1405" y="2121"/>
                      </a:lnTo>
                      <a:cubicBezTo>
                        <a:pt x="1823" y="1210"/>
                        <a:pt x="1748" y="0"/>
                        <a:pt x="174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6" name="Google Shape;1176;p17"/>
                <p:cNvSpPr/>
                <p:nvPr/>
              </p:nvSpPr>
              <p:spPr>
                <a:xfrm>
                  <a:off x="2358150" y="8707525"/>
                  <a:ext cx="39225" cy="116525"/>
                </a:xfrm>
                <a:custGeom>
                  <a:avLst/>
                  <a:gdLst/>
                  <a:ahLst/>
                  <a:cxnLst/>
                  <a:rect l="l" t="t" r="r" b="b"/>
                  <a:pathLst>
                    <a:path w="1569" h="4661" extrusionOk="0">
                      <a:moveTo>
                        <a:pt x="538" y="0"/>
                      </a:moveTo>
                      <a:cubicBezTo>
                        <a:pt x="90" y="1554"/>
                        <a:pt x="165" y="1972"/>
                        <a:pt x="165" y="1972"/>
                      </a:cubicBezTo>
                      <a:lnTo>
                        <a:pt x="0" y="1942"/>
                      </a:lnTo>
                      <a:lnTo>
                        <a:pt x="0" y="1942"/>
                      </a:lnTo>
                      <a:cubicBezTo>
                        <a:pt x="75" y="3570"/>
                        <a:pt x="1061" y="4660"/>
                        <a:pt x="1061" y="4660"/>
                      </a:cubicBezTo>
                      <a:cubicBezTo>
                        <a:pt x="1569" y="3809"/>
                        <a:pt x="1539" y="2002"/>
                        <a:pt x="1539" y="2002"/>
                      </a:cubicBezTo>
                      <a:lnTo>
                        <a:pt x="1539" y="2002"/>
                      </a:lnTo>
                      <a:lnTo>
                        <a:pt x="1390" y="2091"/>
                      </a:lnTo>
                      <a:cubicBezTo>
                        <a:pt x="1121" y="852"/>
                        <a:pt x="538" y="0"/>
                        <a:pt x="53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7" name="Google Shape;1177;p17"/>
                <p:cNvSpPr/>
                <p:nvPr/>
              </p:nvSpPr>
              <p:spPr>
                <a:xfrm>
                  <a:off x="2372350" y="8731425"/>
                  <a:ext cx="21675" cy="177750"/>
                </a:xfrm>
                <a:custGeom>
                  <a:avLst/>
                  <a:gdLst/>
                  <a:ahLst/>
                  <a:cxnLst/>
                  <a:rect l="l" t="t" r="r" b="b"/>
                  <a:pathLst>
                    <a:path w="867" h="7110" extrusionOk="0">
                      <a:moveTo>
                        <a:pt x="90" y="0"/>
                      </a:moveTo>
                      <a:lnTo>
                        <a:pt x="0" y="15"/>
                      </a:lnTo>
                      <a:cubicBezTo>
                        <a:pt x="373" y="2360"/>
                        <a:pt x="642" y="4735"/>
                        <a:pt x="657" y="7110"/>
                      </a:cubicBezTo>
                      <a:lnTo>
                        <a:pt x="866" y="7110"/>
                      </a:lnTo>
                      <a:cubicBezTo>
                        <a:pt x="807" y="4720"/>
                        <a:pt x="523" y="2360"/>
                        <a:pt x="9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8" name="Google Shape;1178;p17"/>
                <p:cNvSpPr/>
                <p:nvPr/>
              </p:nvSpPr>
              <p:spPr>
                <a:xfrm>
                  <a:off x="2318200" y="8805350"/>
                  <a:ext cx="72450" cy="84425"/>
                </a:xfrm>
                <a:custGeom>
                  <a:avLst/>
                  <a:gdLst/>
                  <a:ahLst/>
                  <a:cxnLst/>
                  <a:rect l="l" t="t" r="r" b="b"/>
                  <a:pathLst>
                    <a:path w="2898" h="3377" fill="none" extrusionOk="0">
                      <a:moveTo>
                        <a:pt x="0" y="1"/>
                      </a:moveTo>
                      <a:cubicBezTo>
                        <a:pt x="0" y="1"/>
                        <a:pt x="2300" y="2435"/>
                        <a:pt x="2898" y="3376"/>
                      </a:cubicBezTo>
                    </a:path>
                  </a:pathLst>
                </a:custGeom>
                <a:noFill/>
                <a:ln w="1125" cap="flat" cmpd="sng">
                  <a:solidFill>
                    <a:srgbClr val="380B0B"/>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9" name="Google Shape;1179;p17"/>
                <p:cNvSpPr/>
                <p:nvPr/>
              </p:nvSpPr>
              <p:spPr>
                <a:xfrm>
                  <a:off x="2346575" y="8752325"/>
                  <a:ext cx="81800" cy="114650"/>
                </a:xfrm>
                <a:custGeom>
                  <a:avLst/>
                  <a:gdLst/>
                  <a:ahLst/>
                  <a:cxnLst/>
                  <a:rect l="l" t="t" r="r" b="b"/>
                  <a:pathLst>
                    <a:path w="3272" h="4586" fill="none" extrusionOk="0">
                      <a:moveTo>
                        <a:pt x="0" y="3600"/>
                      </a:moveTo>
                      <a:lnTo>
                        <a:pt x="329" y="3735"/>
                      </a:lnTo>
                      <a:moveTo>
                        <a:pt x="3271" y="1479"/>
                      </a:moveTo>
                      <a:cubicBezTo>
                        <a:pt x="3271" y="1479"/>
                        <a:pt x="2450" y="3675"/>
                        <a:pt x="1733" y="4586"/>
                      </a:cubicBezTo>
                      <a:moveTo>
                        <a:pt x="2151" y="3301"/>
                      </a:moveTo>
                      <a:lnTo>
                        <a:pt x="2226" y="3809"/>
                      </a:lnTo>
                      <a:moveTo>
                        <a:pt x="2958" y="3092"/>
                      </a:moveTo>
                      <a:lnTo>
                        <a:pt x="2510" y="3227"/>
                      </a:lnTo>
                      <a:moveTo>
                        <a:pt x="2838" y="1987"/>
                      </a:moveTo>
                      <a:lnTo>
                        <a:pt x="2868" y="2450"/>
                      </a:lnTo>
                      <a:moveTo>
                        <a:pt x="1509" y="2181"/>
                      </a:moveTo>
                      <a:lnTo>
                        <a:pt x="1061" y="1629"/>
                      </a:lnTo>
                      <a:moveTo>
                        <a:pt x="1673" y="703"/>
                      </a:moveTo>
                      <a:lnTo>
                        <a:pt x="1404" y="1196"/>
                      </a:lnTo>
                      <a:moveTo>
                        <a:pt x="822" y="1"/>
                      </a:moveTo>
                      <a:lnTo>
                        <a:pt x="1285" y="508"/>
                      </a:lnTo>
                      <a:moveTo>
                        <a:pt x="807" y="3705"/>
                      </a:moveTo>
                      <a:lnTo>
                        <a:pt x="897" y="4377"/>
                      </a:lnTo>
                    </a:path>
                  </a:pathLst>
                </a:custGeom>
                <a:noFill/>
                <a:ln w="11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0" name="Google Shape;1180;p17"/>
                <p:cNvSpPr/>
                <p:nvPr/>
              </p:nvSpPr>
              <p:spPr>
                <a:xfrm>
                  <a:off x="2134475" y="8271400"/>
                  <a:ext cx="538475" cy="352125"/>
                </a:xfrm>
                <a:custGeom>
                  <a:avLst/>
                  <a:gdLst/>
                  <a:ahLst/>
                  <a:cxnLst/>
                  <a:rect l="l" t="t" r="r" b="b"/>
                  <a:pathLst>
                    <a:path w="21539" h="14085" extrusionOk="0">
                      <a:moveTo>
                        <a:pt x="2167" y="0"/>
                      </a:moveTo>
                      <a:lnTo>
                        <a:pt x="1" y="10620"/>
                      </a:lnTo>
                      <a:cubicBezTo>
                        <a:pt x="76" y="10635"/>
                        <a:pt x="120" y="10635"/>
                        <a:pt x="195" y="10650"/>
                      </a:cubicBezTo>
                      <a:lnTo>
                        <a:pt x="225" y="10650"/>
                      </a:lnTo>
                      <a:lnTo>
                        <a:pt x="2391" y="30"/>
                      </a:lnTo>
                      <a:lnTo>
                        <a:pt x="2167" y="0"/>
                      </a:lnTo>
                      <a:close/>
                      <a:moveTo>
                        <a:pt x="4317" y="359"/>
                      </a:moveTo>
                      <a:lnTo>
                        <a:pt x="2137" y="11008"/>
                      </a:lnTo>
                      <a:lnTo>
                        <a:pt x="2346" y="11053"/>
                      </a:lnTo>
                      <a:lnTo>
                        <a:pt x="4527" y="404"/>
                      </a:lnTo>
                      <a:lnTo>
                        <a:pt x="4317" y="359"/>
                      </a:lnTo>
                      <a:close/>
                      <a:moveTo>
                        <a:pt x="6438" y="732"/>
                      </a:moveTo>
                      <a:lnTo>
                        <a:pt x="4258" y="11396"/>
                      </a:lnTo>
                      <a:lnTo>
                        <a:pt x="4482" y="11441"/>
                      </a:lnTo>
                      <a:lnTo>
                        <a:pt x="6662" y="777"/>
                      </a:lnTo>
                      <a:lnTo>
                        <a:pt x="6438" y="732"/>
                      </a:lnTo>
                      <a:close/>
                      <a:moveTo>
                        <a:pt x="8544" y="1120"/>
                      </a:moveTo>
                      <a:lnTo>
                        <a:pt x="6379" y="11785"/>
                      </a:lnTo>
                      <a:lnTo>
                        <a:pt x="6603" y="11815"/>
                      </a:lnTo>
                      <a:lnTo>
                        <a:pt x="8783" y="1150"/>
                      </a:lnTo>
                      <a:lnTo>
                        <a:pt x="8544" y="1120"/>
                      </a:lnTo>
                      <a:close/>
                      <a:moveTo>
                        <a:pt x="10695" y="1494"/>
                      </a:moveTo>
                      <a:lnTo>
                        <a:pt x="8514" y="12158"/>
                      </a:lnTo>
                      <a:lnTo>
                        <a:pt x="8723" y="12203"/>
                      </a:lnTo>
                      <a:lnTo>
                        <a:pt x="10919" y="1524"/>
                      </a:lnTo>
                      <a:lnTo>
                        <a:pt x="10695" y="1494"/>
                      </a:lnTo>
                      <a:close/>
                      <a:moveTo>
                        <a:pt x="12816" y="1867"/>
                      </a:moveTo>
                      <a:lnTo>
                        <a:pt x="10620" y="12546"/>
                      </a:lnTo>
                      <a:lnTo>
                        <a:pt x="10859" y="12591"/>
                      </a:lnTo>
                      <a:lnTo>
                        <a:pt x="13040" y="1897"/>
                      </a:lnTo>
                      <a:lnTo>
                        <a:pt x="12816" y="1867"/>
                      </a:lnTo>
                      <a:close/>
                      <a:moveTo>
                        <a:pt x="14952" y="2226"/>
                      </a:moveTo>
                      <a:lnTo>
                        <a:pt x="12756" y="12935"/>
                      </a:lnTo>
                      <a:lnTo>
                        <a:pt x="12965" y="12980"/>
                      </a:lnTo>
                      <a:lnTo>
                        <a:pt x="15161" y="2271"/>
                      </a:lnTo>
                      <a:lnTo>
                        <a:pt x="14952" y="2226"/>
                      </a:lnTo>
                      <a:close/>
                      <a:moveTo>
                        <a:pt x="17073" y="2599"/>
                      </a:moveTo>
                      <a:lnTo>
                        <a:pt x="14877" y="13323"/>
                      </a:lnTo>
                      <a:lnTo>
                        <a:pt x="15101" y="13353"/>
                      </a:lnTo>
                      <a:lnTo>
                        <a:pt x="17297" y="2644"/>
                      </a:lnTo>
                      <a:lnTo>
                        <a:pt x="17073" y="2599"/>
                      </a:lnTo>
                      <a:close/>
                      <a:moveTo>
                        <a:pt x="19193" y="2973"/>
                      </a:moveTo>
                      <a:lnTo>
                        <a:pt x="16998" y="13711"/>
                      </a:lnTo>
                      <a:lnTo>
                        <a:pt x="17222" y="13756"/>
                      </a:lnTo>
                      <a:lnTo>
                        <a:pt x="19417" y="3017"/>
                      </a:lnTo>
                      <a:lnTo>
                        <a:pt x="19193" y="2973"/>
                      </a:lnTo>
                      <a:close/>
                      <a:moveTo>
                        <a:pt x="21329" y="3361"/>
                      </a:moveTo>
                      <a:lnTo>
                        <a:pt x="19134" y="14085"/>
                      </a:lnTo>
                      <a:lnTo>
                        <a:pt x="19358" y="14085"/>
                      </a:lnTo>
                      <a:lnTo>
                        <a:pt x="21538" y="3436"/>
                      </a:lnTo>
                      <a:cubicBezTo>
                        <a:pt x="21479" y="3406"/>
                        <a:pt x="21389" y="3391"/>
                        <a:pt x="21329" y="336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1" name="Google Shape;1181;p17"/>
                <p:cNvSpPr/>
                <p:nvPr/>
              </p:nvSpPr>
              <p:spPr>
                <a:xfrm>
                  <a:off x="2066900" y="8996900"/>
                  <a:ext cx="12350" cy="2650"/>
                </a:xfrm>
                <a:custGeom>
                  <a:avLst/>
                  <a:gdLst/>
                  <a:ahLst/>
                  <a:cxnLst/>
                  <a:rect l="l" t="t" r="r" b="b"/>
                  <a:pathLst>
                    <a:path w="494" h="106" fill="none" extrusionOk="0">
                      <a:moveTo>
                        <a:pt x="1" y="1"/>
                      </a:moveTo>
                      <a:cubicBezTo>
                        <a:pt x="1" y="1"/>
                        <a:pt x="180" y="31"/>
                        <a:pt x="493" y="105"/>
                      </a:cubicBezTo>
                    </a:path>
                  </a:pathLst>
                </a:custGeom>
                <a:noFill/>
                <a:ln w="5600"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2" name="Google Shape;1182;p17"/>
                <p:cNvSpPr/>
                <p:nvPr/>
              </p:nvSpPr>
              <p:spPr>
                <a:xfrm>
                  <a:off x="2102375" y="9005875"/>
                  <a:ext cx="178875" cy="295000"/>
                </a:xfrm>
                <a:custGeom>
                  <a:avLst/>
                  <a:gdLst/>
                  <a:ahLst/>
                  <a:cxnLst/>
                  <a:rect l="l" t="t" r="r" b="b"/>
                  <a:pathLst>
                    <a:path w="7155" h="11800" fill="none" extrusionOk="0">
                      <a:moveTo>
                        <a:pt x="0" y="0"/>
                      </a:moveTo>
                      <a:cubicBezTo>
                        <a:pt x="2420" y="822"/>
                        <a:pt x="7155" y="3510"/>
                        <a:pt x="7140" y="11799"/>
                      </a:cubicBezTo>
                    </a:path>
                  </a:pathLst>
                </a:custGeom>
                <a:noFill/>
                <a:ln w="5600"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3" name="Google Shape;1183;p17"/>
                <p:cNvSpPr/>
                <p:nvPr/>
              </p:nvSpPr>
              <p:spPr>
                <a:xfrm>
                  <a:off x="2280850" y="9313175"/>
                  <a:ext cx="25" cy="12350"/>
                </a:xfrm>
                <a:custGeom>
                  <a:avLst/>
                  <a:gdLst/>
                  <a:ahLst/>
                  <a:cxnLst/>
                  <a:rect l="l" t="t" r="r" b="b"/>
                  <a:pathLst>
                    <a:path w="1" h="494" fill="none" extrusionOk="0">
                      <a:moveTo>
                        <a:pt x="1" y="0"/>
                      </a:moveTo>
                      <a:cubicBezTo>
                        <a:pt x="1" y="165"/>
                        <a:pt x="1" y="329"/>
                        <a:pt x="1" y="493"/>
                      </a:cubicBezTo>
                    </a:path>
                  </a:pathLst>
                </a:custGeom>
                <a:noFill/>
                <a:ln w="5600"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4" name="Google Shape;1184;p17"/>
                <p:cNvSpPr/>
                <p:nvPr/>
              </p:nvSpPr>
              <p:spPr>
                <a:xfrm>
                  <a:off x="2798375" y="9104075"/>
                  <a:ext cx="102350" cy="300975"/>
                </a:xfrm>
                <a:custGeom>
                  <a:avLst/>
                  <a:gdLst/>
                  <a:ahLst/>
                  <a:cxnLst/>
                  <a:rect l="l" t="t" r="r" b="b"/>
                  <a:pathLst>
                    <a:path w="4094" h="12039" fill="none" extrusionOk="0">
                      <a:moveTo>
                        <a:pt x="4093" y="0"/>
                      </a:moveTo>
                      <a:cubicBezTo>
                        <a:pt x="4093" y="0"/>
                        <a:pt x="165" y="3391"/>
                        <a:pt x="1" y="12039"/>
                      </a:cubicBezTo>
                    </a:path>
                  </a:pathLst>
                </a:custGeom>
                <a:noFill/>
                <a:ln w="5600"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185" name="Google Shape;1185;p17"/>
              <p:cNvGrpSpPr/>
              <p:nvPr/>
            </p:nvGrpSpPr>
            <p:grpSpPr>
              <a:xfrm rot="-290565">
                <a:off x="3080650" y="3140539"/>
                <a:ext cx="1249152" cy="1413354"/>
                <a:chOff x="2058325" y="8270725"/>
                <a:chExt cx="1008175" cy="1140700"/>
              </a:xfrm>
            </p:grpSpPr>
            <p:sp>
              <p:nvSpPr>
                <p:cNvPr id="1186" name="Google Shape;1186;p17"/>
                <p:cNvSpPr/>
                <p:nvPr/>
              </p:nvSpPr>
              <p:spPr>
                <a:xfrm>
                  <a:off x="2058325" y="8304625"/>
                  <a:ext cx="973075" cy="1106800"/>
                </a:xfrm>
                <a:custGeom>
                  <a:avLst/>
                  <a:gdLst/>
                  <a:ahLst/>
                  <a:cxnLst/>
                  <a:rect l="l" t="t" r="r" b="b"/>
                  <a:pathLst>
                    <a:path w="38923" h="44272" extrusionOk="0">
                      <a:moveTo>
                        <a:pt x="4675" y="1"/>
                      </a:moveTo>
                      <a:cubicBezTo>
                        <a:pt x="4675" y="1"/>
                        <a:pt x="3913" y="3615"/>
                        <a:pt x="3017" y="8604"/>
                      </a:cubicBezTo>
                      <a:cubicBezTo>
                        <a:pt x="3017" y="8633"/>
                        <a:pt x="3002" y="8663"/>
                        <a:pt x="3002" y="8708"/>
                      </a:cubicBezTo>
                      <a:cubicBezTo>
                        <a:pt x="2778" y="10052"/>
                        <a:pt x="2509" y="11501"/>
                        <a:pt x="2270" y="13010"/>
                      </a:cubicBezTo>
                      <a:cubicBezTo>
                        <a:pt x="1718" y="16251"/>
                        <a:pt x="1195" y="19761"/>
                        <a:pt x="792" y="23062"/>
                      </a:cubicBezTo>
                      <a:cubicBezTo>
                        <a:pt x="732" y="23644"/>
                        <a:pt x="657" y="24227"/>
                        <a:pt x="612" y="24809"/>
                      </a:cubicBezTo>
                      <a:cubicBezTo>
                        <a:pt x="612" y="24839"/>
                        <a:pt x="597" y="24884"/>
                        <a:pt x="597" y="24929"/>
                      </a:cubicBezTo>
                      <a:cubicBezTo>
                        <a:pt x="523" y="25586"/>
                        <a:pt x="463" y="26228"/>
                        <a:pt x="418" y="26855"/>
                      </a:cubicBezTo>
                      <a:cubicBezTo>
                        <a:pt x="403" y="27094"/>
                        <a:pt x="373" y="27348"/>
                        <a:pt x="359" y="27587"/>
                      </a:cubicBezTo>
                      <a:cubicBezTo>
                        <a:pt x="344" y="27632"/>
                        <a:pt x="344" y="27692"/>
                        <a:pt x="344" y="27722"/>
                      </a:cubicBezTo>
                      <a:cubicBezTo>
                        <a:pt x="0" y="32128"/>
                        <a:pt x="105" y="35608"/>
                        <a:pt x="1031" y="36668"/>
                      </a:cubicBezTo>
                      <a:cubicBezTo>
                        <a:pt x="1882" y="37639"/>
                        <a:pt x="3839" y="38804"/>
                        <a:pt x="6437" y="39894"/>
                      </a:cubicBezTo>
                      <a:cubicBezTo>
                        <a:pt x="6482" y="39924"/>
                        <a:pt x="6512" y="39939"/>
                        <a:pt x="6542" y="39954"/>
                      </a:cubicBezTo>
                      <a:cubicBezTo>
                        <a:pt x="7602" y="40402"/>
                        <a:pt x="8752" y="40850"/>
                        <a:pt x="9992" y="41253"/>
                      </a:cubicBezTo>
                      <a:cubicBezTo>
                        <a:pt x="10769" y="41522"/>
                        <a:pt x="11590" y="41776"/>
                        <a:pt x="12442" y="42030"/>
                      </a:cubicBezTo>
                      <a:cubicBezTo>
                        <a:pt x="12471" y="42030"/>
                        <a:pt x="12501" y="42030"/>
                        <a:pt x="12546" y="42045"/>
                      </a:cubicBezTo>
                      <a:cubicBezTo>
                        <a:pt x="15309" y="42866"/>
                        <a:pt x="18267" y="43524"/>
                        <a:pt x="21134" y="43897"/>
                      </a:cubicBezTo>
                      <a:cubicBezTo>
                        <a:pt x="21179" y="43897"/>
                        <a:pt x="21209" y="43912"/>
                        <a:pt x="21239" y="43912"/>
                      </a:cubicBezTo>
                      <a:cubicBezTo>
                        <a:pt x="22959" y="44140"/>
                        <a:pt x="24642" y="44271"/>
                        <a:pt x="26216" y="44271"/>
                      </a:cubicBezTo>
                      <a:cubicBezTo>
                        <a:pt x="27117" y="44271"/>
                        <a:pt x="27981" y="44228"/>
                        <a:pt x="28796" y="44136"/>
                      </a:cubicBezTo>
                      <a:cubicBezTo>
                        <a:pt x="29259" y="44076"/>
                        <a:pt x="29707" y="44017"/>
                        <a:pt x="30140" y="43927"/>
                      </a:cubicBezTo>
                      <a:cubicBezTo>
                        <a:pt x="30185" y="43912"/>
                        <a:pt x="30230" y="43912"/>
                        <a:pt x="30290" y="43897"/>
                      </a:cubicBezTo>
                      <a:cubicBezTo>
                        <a:pt x="30902" y="43778"/>
                        <a:pt x="31485" y="43613"/>
                        <a:pt x="32022" y="43404"/>
                      </a:cubicBezTo>
                      <a:cubicBezTo>
                        <a:pt x="33710" y="42777"/>
                        <a:pt x="34920" y="42000"/>
                        <a:pt x="35741" y="41164"/>
                      </a:cubicBezTo>
                      <a:cubicBezTo>
                        <a:pt x="35786" y="41104"/>
                        <a:pt x="35831" y="41059"/>
                        <a:pt x="35876" y="41014"/>
                      </a:cubicBezTo>
                      <a:cubicBezTo>
                        <a:pt x="38923" y="37714"/>
                        <a:pt x="36399" y="33427"/>
                        <a:pt x="34323" y="32322"/>
                      </a:cubicBezTo>
                      <a:cubicBezTo>
                        <a:pt x="34024" y="32172"/>
                        <a:pt x="33621" y="31963"/>
                        <a:pt x="33143" y="31739"/>
                      </a:cubicBezTo>
                      <a:cubicBezTo>
                        <a:pt x="32515" y="31455"/>
                        <a:pt x="31768" y="31127"/>
                        <a:pt x="30932" y="30768"/>
                      </a:cubicBezTo>
                      <a:cubicBezTo>
                        <a:pt x="30887" y="30753"/>
                        <a:pt x="30857" y="30739"/>
                        <a:pt x="30813" y="30724"/>
                      </a:cubicBezTo>
                      <a:cubicBezTo>
                        <a:pt x="30215" y="30470"/>
                        <a:pt x="29573" y="30201"/>
                        <a:pt x="28901" y="29917"/>
                      </a:cubicBezTo>
                      <a:cubicBezTo>
                        <a:pt x="28856" y="29902"/>
                        <a:pt x="28826" y="29887"/>
                        <a:pt x="28796" y="29887"/>
                      </a:cubicBezTo>
                      <a:cubicBezTo>
                        <a:pt x="26242" y="28827"/>
                        <a:pt x="23464" y="27722"/>
                        <a:pt x="21776" y="27064"/>
                      </a:cubicBezTo>
                      <a:cubicBezTo>
                        <a:pt x="21732" y="27034"/>
                        <a:pt x="21702" y="27020"/>
                        <a:pt x="21657" y="27020"/>
                      </a:cubicBezTo>
                      <a:cubicBezTo>
                        <a:pt x="20746" y="26661"/>
                        <a:pt x="20193" y="26437"/>
                        <a:pt x="20193" y="26437"/>
                      </a:cubicBezTo>
                      <a:lnTo>
                        <a:pt x="20865" y="22613"/>
                      </a:lnTo>
                      <a:lnTo>
                        <a:pt x="20925" y="22330"/>
                      </a:lnTo>
                      <a:lnTo>
                        <a:pt x="21552" y="18805"/>
                      </a:lnTo>
                      <a:lnTo>
                        <a:pt x="21582" y="18685"/>
                      </a:lnTo>
                      <a:lnTo>
                        <a:pt x="21971" y="16564"/>
                      </a:lnTo>
                      <a:lnTo>
                        <a:pt x="22120" y="15698"/>
                      </a:lnTo>
                      <a:lnTo>
                        <a:pt x="22135" y="15579"/>
                      </a:lnTo>
                      <a:lnTo>
                        <a:pt x="22613" y="12905"/>
                      </a:lnTo>
                      <a:lnTo>
                        <a:pt x="22643" y="12786"/>
                      </a:lnTo>
                      <a:lnTo>
                        <a:pt x="23165" y="9828"/>
                      </a:lnTo>
                      <a:lnTo>
                        <a:pt x="23180" y="9724"/>
                      </a:lnTo>
                      <a:lnTo>
                        <a:pt x="24002" y="5139"/>
                      </a:lnTo>
                      <a:lnTo>
                        <a:pt x="4675"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7" name="Google Shape;1187;p17"/>
                <p:cNvSpPr/>
                <p:nvPr/>
              </p:nvSpPr>
              <p:spPr>
                <a:xfrm>
                  <a:off x="2066525" y="8519700"/>
                  <a:ext cx="888700" cy="882725"/>
                </a:xfrm>
                <a:custGeom>
                  <a:avLst/>
                  <a:gdLst/>
                  <a:ahLst/>
                  <a:cxnLst/>
                  <a:rect l="l" t="t" r="r" b="b"/>
                  <a:pathLst>
                    <a:path w="35548" h="35309" extrusionOk="0">
                      <a:moveTo>
                        <a:pt x="22315" y="4183"/>
                      </a:moveTo>
                      <a:lnTo>
                        <a:pt x="22315" y="4183"/>
                      </a:lnTo>
                      <a:cubicBezTo>
                        <a:pt x="20582" y="4392"/>
                        <a:pt x="19044" y="4646"/>
                        <a:pt x="18626" y="5153"/>
                      </a:cubicBezTo>
                      <a:cubicBezTo>
                        <a:pt x="18536" y="5258"/>
                        <a:pt x="18521" y="5392"/>
                        <a:pt x="18521" y="5512"/>
                      </a:cubicBezTo>
                      <a:cubicBezTo>
                        <a:pt x="18626" y="6124"/>
                        <a:pt x="19701" y="6647"/>
                        <a:pt x="21792" y="7095"/>
                      </a:cubicBezTo>
                      <a:lnTo>
                        <a:pt x="21807" y="6976"/>
                      </a:lnTo>
                      <a:cubicBezTo>
                        <a:pt x="19806" y="6557"/>
                        <a:pt x="18715" y="6065"/>
                        <a:pt x="18641" y="5497"/>
                      </a:cubicBezTo>
                      <a:cubicBezTo>
                        <a:pt x="18626" y="5407"/>
                        <a:pt x="18655" y="5303"/>
                        <a:pt x="18715" y="5228"/>
                      </a:cubicBezTo>
                      <a:cubicBezTo>
                        <a:pt x="19089" y="4750"/>
                        <a:pt x="20597" y="4496"/>
                        <a:pt x="22285" y="4302"/>
                      </a:cubicBezTo>
                      <a:lnTo>
                        <a:pt x="22315" y="4183"/>
                      </a:lnTo>
                      <a:close/>
                      <a:moveTo>
                        <a:pt x="22867" y="1121"/>
                      </a:moveTo>
                      <a:lnTo>
                        <a:pt x="22867" y="1121"/>
                      </a:lnTo>
                      <a:cubicBezTo>
                        <a:pt x="20433" y="1195"/>
                        <a:pt x="18148" y="2211"/>
                        <a:pt x="16893" y="3645"/>
                      </a:cubicBezTo>
                      <a:cubicBezTo>
                        <a:pt x="15728" y="5004"/>
                        <a:pt x="15623" y="6528"/>
                        <a:pt x="16579" y="7946"/>
                      </a:cubicBezTo>
                      <a:cubicBezTo>
                        <a:pt x="17266" y="8947"/>
                        <a:pt x="18835" y="9694"/>
                        <a:pt x="21239" y="10187"/>
                      </a:cubicBezTo>
                      <a:lnTo>
                        <a:pt x="21284" y="10067"/>
                      </a:lnTo>
                      <a:cubicBezTo>
                        <a:pt x="18909" y="9575"/>
                        <a:pt x="17341" y="8828"/>
                        <a:pt x="16684" y="7872"/>
                      </a:cubicBezTo>
                      <a:cubicBezTo>
                        <a:pt x="15743" y="6513"/>
                        <a:pt x="15848" y="5034"/>
                        <a:pt x="16998" y="3720"/>
                      </a:cubicBezTo>
                      <a:cubicBezTo>
                        <a:pt x="18207" y="2301"/>
                        <a:pt x="20463" y="1300"/>
                        <a:pt x="22852" y="1225"/>
                      </a:cubicBezTo>
                      <a:lnTo>
                        <a:pt x="22867" y="1121"/>
                      </a:lnTo>
                      <a:close/>
                      <a:moveTo>
                        <a:pt x="2704" y="1"/>
                      </a:moveTo>
                      <a:cubicBezTo>
                        <a:pt x="2704" y="30"/>
                        <a:pt x="2689" y="60"/>
                        <a:pt x="2689" y="105"/>
                      </a:cubicBezTo>
                      <a:cubicBezTo>
                        <a:pt x="7648" y="1972"/>
                        <a:pt x="9530" y="4690"/>
                        <a:pt x="10217" y="6737"/>
                      </a:cubicBezTo>
                      <a:cubicBezTo>
                        <a:pt x="11770" y="11382"/>
                        <a:pt x="6094" y="13757"/>
                        <a:pt x="628" y="16057"/>
                      </a:cubicBezTo>
                      <a:cubicBezTo>
                        <a:pt x="508" y="16087"/>
                        <a:pt x="404" y="16146"/>
                        <a:pt x="299" y="16191"/>
                      </a:cubicBezTo>
                      <a:cubicBezTo>
                        <a:pt x="299" y="16221"/>
                        <a:pt x="284" y="16266"/>
                        <a:pt x="284" y="16311"/>
                      </a:cubicBezTo>
                      <a:cubicBezTo>
                        <a:pt x="404" y="16251"/>
                        <a:pt x="523" y="16206"/>
                        <a:pt x="658" y="16146"/>
                      </a:cubicBezTo>
                      <a:cubicBezTo>
                        <a:pt x="6199" y="13846"/>
                        <a:pt x="11904" y="11456"/>
                        <a:pt x="10321" y="6707"/>
                      </a:cubicBezTo>
                      <a:cubicBezTo>
                        <a:pt x="9156" y="3227"/>
                        <a:pt x="5841" y="1181"/>
                        <a:pt x="2704" y="1"/>
                      </a:cubicBezTo>
                      <a:close/>
                      <a:moveTo>
                        <a:pt x="21359" y="18402"/>
                      </a:moveTo>
                      <a:lnTo>
                        <a:pt x="21359" y="18402"/>
                      </a:lnTo>
                      <a:cubicBezTo>
                        <a:pt x="21792" y="20552"/>
                        <a:pt x="22479" y="22688"/>
                        <a:pt x="23749" y="23390"/>
                      </a:cubicBezTo>
                      <a:cubicBezTo>
                        <a:pt x="24280" y="23688"/>
                        <a:pt x="24763" y="23818"/>
                        <a:pt x="25209" y="23818"/>
                      </a:cubicBezTo>
                      <a:cubicBezTo>
                        <a:pt x="26594" y="23818"/>
                        <a:pt x="27620" y="22572"/>
                        <a:pt x="28603" y="21284"/>
                      </a:cubicBezTo>
                      <a:cubicBezTo>
                        <a:pt x="28558" y="21284"/>
                        <a:pt x="28528" y="21269"/>
                        <a:pt x="28483" y="21254"/>
                      </a:cubicBezTo>
                      <a:cubicBezTo>
                        <a:pt x="27544" y="22510"/>
                        <a:pt x="26545" y="23706"/>
                        <a:pt x="25201" y="23706"/>
                      </a:cubicBezTo>
                      <a:cubicBezTo>
                        <a:pt x="24770" y="23706"/>
                        <a:pt x="24304" y="23583"/>
                        <a:pt x="23793" y="23301"/>
                      </a:cubicBezTo>
                      <a:cubicBezTo>
                        <a:pt x="22584" y="22628"/>
                        <a:pt x="21911" y="20567"/>
                        <a:pt x="21478" y="18446"/>
                      </a:cubicBezTo>
                      <a:cubicBezTo>
                        <a:pt x="21434" y="18417"/>
                        <a:pt x="21389" y="18417"/>
                        <a:pt x="21359" y="18402"/>
                      </a:cubicBezTo>
                      <a:close/>
                      <a:moveTo>
                        <a:pt x="12033" y="14431"/>
                      </a:moveTo>
                      <a:cubicBezTo>
                        <a:pt x="8726" y="14431"/>
                        <a:pt x="4098" y="16714"/>
                        <a:pt x="16" y="18954"/>
                      </a:cubicBezTo>
                      <a:cubicBezTo>
                        <a:pt x="1" y="18999"/>
                        <a:pt x="1" y="19059"/>
                        <a:pt x="1" y="19089"/>
                      </a:cubicBezTo>
                      <a:cubicBezTo>
                        <a:pt x="4098" y="16840"/>
                        <a:pt x="8737" y="14539"/>
                        <a:pt x="12030" y="14539"/>
                      </a:cubicBezTo>
                      <a:cubicBezTo>
                        <a:pt x="13046" y="14539"/>
                        <a:pt x="13933" y="14758"/>
                        <a:pt x="14638" y="15265"/>
                      </a:cubicBezTo>
                      <a:cubicBezTo>
                        <a:pt x="15370" y="15818"/>
                        <a:pt x="15773" y="16550"/>
                        <a:pt x="15803" y="17491"/>
                      </a:cubicBezTo>
                      <a:cubicBezTo>
                        <a:pt x="15877" y="19925"/>
                        <a:pt x="13458" y="23749"/>
                        <a:pt x="8843" y="28558"/>
                      </a:cubicBezTo>
                      <a:cubicBezTo>
                        <a:pt x="7917" y="29544"/>
                        <a:pt x="6991" y="30455"/>
                        <a:pt x="6109" y="31276"/>
                      </a:cubicBezTo>
                      <a:cubicBezTo>
                        <a:pt x="6154" y="31306"/>
                        <a:pt x="6184" y="31321"/>
                        <a:pt x="6214" y="31336"/>
                      </a:cubicBezTo>
                      <a:cubicBezTo>
                        <a:pt x="7080" y="30515"/>
                        <a:pt x="8006" y="29603"/>
                        <a:pt x="8917" y="28648"/>
                      </a:cubicBezTo>
                      <a:cubicBezTo>
                        <a:pt x="13637" y="23734"/>
                        <a:pt x="15997" y="19985"/>
                        <a:pt x="15922" y="17491"/>
                      </a:cubicBezTo>
                      <a:cubicBezTo>
                        <a:pt x="15892" y="16535"/>
                        <a:pt x="15474" y="15743"/>
                        <a:pt x="14697" y="15175"/>
                      </a:cubicBezTo>
                      <a:cubicBezTo>
                        <a:pt x="13977" y="14655"/>
                        <a:pt x="13070" y="14431"/>
                        <a:pt x="12033" y="14431"/>
                      </a:cubicBezTo>
                      <a:close/>
                      <a:moveTo>
                        <a:pt x="30529" y="22121"/>
                      </a:moveTo>
                      <a:cubicBezTo>
                        <a:pt x="28916" y="24988"/>
                        <a:pt x="27348" y="28931"/>
                        <a:pt x="31276" y="31620"/>
                      </a:cubicBezTo>
                      <a:cubicBezTo>
                        <a:pt x="32268" y="32289"/>
                        <a:pt x="33355" y="32624"/>
                        <a:pt x="34523" y="32624"/>
                      </a:cubicBezTo>
                      <a:cubicBezTo>
                        <a:pt x="34815" y="32624"/>
                        <a:pt x="35112" y="32603"/>
                        <a:pt x="35413" y="32561"/>
                      </a:cubicBezTo>
                      <a:cubicBezTo>
                        <a:pt x="35458" y="32501"/>
                        <a:pt x="35503" y="32456"/>
                        <a:pt x="35548" y="32411"/>
                      </a:cubicBezTo>
                      <a:lnTo>
                        <a:pt x="35548" y="32411"/>
                      </a:lnTo>
                      <a:cubicBezTo>
                        <a:pt x="35185" y="32474"/>
                        <a:pt x="34830" y="32505"/>
                        <a:pt x="34482" y="32505"/>
                      </a:cubicBezTo>
                      <a:cubicBezTo>
                        <a:pt x="33341" y="32505"/>
                        <a:pt x="32286" y="32171"/>
                        <a:pt x="31336" y="31530"/>
                      </a:cubicBezTo>
                      <a:cubicBezTo>
                        <a:pt x="27497" y="28872"/>
                        <a:pt x="29051" y="24988"/>
                        <a:pt x="30649" y="22150"/>
                      </a:cubicBezTo>
                      <a:cubicBezTo>
                        <a:pt x="30604" y="22136"/>
                        <a:pt x="30574" y="22121"/>
                        <a:pt x="30529" y="22121"/>
                      </a:cubicBezTo>
                      <a:close/>
                      <a:moveTo>
                        <a:pt x="16356" y="27364"/>
                      </a:moveTo>
                      <a:cubicBezTo>
                        <a:pt x="13813" y="27364"/>
                        <a:pt x="13215" y="29512"/>
                        <a:pt x="12666" y="31575"/>
                      </a:cubicBezTo>
                      <a:cubicBezTo>
                        <a:pt x="12487" y="32232"/>
                        <a:pt x="12323" y="32859"/>
                        <a:pt x="12099" y="33412"/>
                      </a:cubicBezTo>
                      <a:cubicBezTo>
                        <a:pt x="12143" y="33412"/>
                        <a:pt x="12173" y="33427"/>
                        <a:pt x="12218" y="33427"/>
                      </a:cubicBezTo>
                      <a:cubicBezTo>
                        <a:pt x="12442" y="32859"/>
                        <a:pt x="12606" y="32232"/>
                        <a:pt x="12786" y="31605"/>
                      </a:cubicBezTo>
                      <a:cubicBezTo>
                        <a:pt x="13338" y="29585"/>
                        <a:pt x="13902" y="27479"/>
                        <a:pt x="16406" y="27479"/>
                      </a:cubicBezTo>
                      <a:cubicBezTo>
                        <a:pt x="16679" y="27479"/>
                        <a:pt x="16975" y="27504"/>
                        <a:pt x="17296" y="27557"/>
                      </a:cubicBezTo>
                      <a:cubicBezTo>
                        <a:pt x="18297" y="27722"/>
                        <a:pt x="19089" y="28259"/>
                        <a:pt x="19671" y="29140"/>
                      </a:cubicBezTo>
                      <a:cubicBezTo>
                        <a:pt x="20657" y="30649"/>
                        <a:pt x="20881" y="33009"/>
                        <a:pt x="20806" y="35279"/>
                      </a:cubicBezTo>
                      <a:cubicBezTo>
                        <a:pt x="20851" y="35279"/>
                        <a:pt x="20881" y="35294"/>
                        <a:pt x="20911" y="35294"/>
                      </a:cubicBezTo>
                      <a:cubicBezTo>
                        <a:pt x="21000" y="32994"/>
                        <a:pt x="20761" y="30604"/>
                        <a:pt x="19746" y="29081"/>
                      </a:cubicBezTo>
                      <a:cubicBezTo>
                        <a:pt x="19163" y="28185"/>
                        <a:pt x="18342" y="27632"/>
                        <a:pt x="17311" y="27453"/>
                      </a:cubicBezTo>
                      <a:cubicBezTo>
                        <a:pt x="16965" y="27393"/>
                        <a:pt x="16648" y="27364"/>
                        <a:pt x="16356" y="27364"/>
                      </a:cubicBezTo>
                      <a:close/>
                      <a:moveTo>
                        <a:pt x="20061" y="12770"/>
                      </a:moveTo>
                      <a:cubicBezTo>
                        <a:pt x="19748" y="12770"/>
                        <a:pt x="19313" y="13302"/>
                        <a:pt x="18267" y="16983"/>
                      </a:cubicBezTo>
                      <a:cubicBezTo>
                        <a:pt x="15997" y="24988"/>
                        <a:pt x="24316" y="31202"/>
                        <a:pt x="29290" y="34921"/>
                      </a:cubicBezTo>
                      <a:cubicBezTo>
                        <a:pt x="29469" y="35055"/>
                        <a:pt x="29648" y="35189"/>
                        <a:pt x="29812" y="35309"/>
                      </a:cubicBezTo>
                      <a:cubicBezTo>
                        <a:pt x="29857" y="35294"/>
                        <a:pt x="29902" y="35294"/>
                        <a:pt x="29962" y="35279"/>
                      </a:cubicBezTo>
                      <a:cubicBezTo>
                        <a:pt x="29768" y="35130"/>
                        <a:pt x="29559" y="34980"/>
                        <a:pt x="29349" y="34831"/>
                      </a:cubicBezTo>
                      <a:cubicBezTo>
                        <a:pt x="24406" y="31127"/>
                        <a:pt x="16131" y="24943"/>
                        <a:pt x="18357" y="17013"/>
                      </a:cubicBezTo>
                      <a:cubicBezTo>
                        <a:pt x="18669" y="15987"/>
                        <a:pt x="19528" y="12875"/>
                        <a:pt x="20052" y="12875"/>
                      </a:cubicBezTo>
                      <a:cubicBezTo>
                        <a:pt x="20054" y="12875"/>
                        <a:pt x="20057" y="12875"/>
                        <a:pt x="20059" y="12875"/>
                      </a:cubicBezTo>
                      <a:cubicBezTo>
                        <a:pt x="20254" y="12890"/>
                        <a:pt x="20403" y="13338"/>
                        <a:pt x="20552" y="13996"/>
                      </a:cubicBezTo>
                      <a:lnTo>
                        <a:pt x="20612" y="13712"/>
                      </a:lnTo>
                      <a:cubicBezTo>
                        <a:pt x="20463" y="13099"/>
                        <a:pt x="20313" y="12786"/>
                        <a:pt x="20074" y="12771"/>
                      </a:cubicBezTo>
                      <a:cubicBezTo>
                        <a:pt x="20070" y="12771"/>
                        <a:pt x="20065" y="12770"/>
                        <a:pt x="20061" y="1277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8" name="Google Shape;1188;p17"/>
                <p:cNvSpPr/>
                <p:nvPr/>
              </p:nvSpPr>
              <p:spPr>
                <a:xfrm>
                  <a:off x="2100875" y="8270725"/>
                  <a:ext cx="599700" cy="352800"/>
                </a:xfrm>
                <a:custGeom>
                  <a:avLst/>
                  <a:gdLst/>
                  <a:ahLst/>
                  <a:cxnLst/>
                  <a:rect l="l" t="t" r="r" b="b"/>
                  <a:pathLst>
                    <a:path w="23988" h="14112" extrusionOk="0">
                      <a:moveTo>
                        <a:pt x="3198" y="1"/>
                      </a:moveTo>
                      <a:cubicBezTo>
                        <a:pt x="2400" y="1"/>
                        <a:pt x="1685" y="574"/>
                        <a:pt x="1539" y="1372"/>
                      </a:cubicBezTo>
                      <a:lnTo>
                        <a:pt x="165" y="8720"/>
                      </a:lnTo>
                      <a:cubicBezTo>
                        <a:pt x="1" y="9586"/>
                        <a:pt x="523" y="10408"/>
                        <a:pt x="1330" y="10647"/>
                      </a:cubicBezTo>
                      <a:cubicBezTo>
                        <a:pt x="1405" y="10662"/>
                        <a:pt x="1450" y="10677"/>
                        <a:pt x="1524" y="10691"/>
                      </a:cubicBezTo>
                      <a:lnTo>
                        <a:pt x="1554" y="10691"/>
                      </a:lnTo>
                      <a:lnTo>
                        <a:pt x="3466" y="11035"/>
                      </a:lnTo>
                      <a:lnTo>
                        <a:pt x="3675" y="11080"/>
                      </a:lnTo>
                      <a:lnTo>
                        <a:pt x="5587" y="11423"/>
                      </a:lnTo>
                      <a:lnTo>
                        <a:pt x="5811" y="11468"/>
                      </a:lnTo>
                      <a:lnTo>
                        <a:pt x="7708" y="11812"/>
                      </a:lnTo>
                      <a:lnTo>
                        <a:pt x="7932" y="11842"/>
                      </a:lnTo>
                      <a:lnTo>
                        <a:pt x="9843" y="12185"/>
                      </a:lnTo>
                      <a:lnTo>
                        <a:pt x="10053" y="12230"/>
                      </a:lnTo>
                      <a:lnTo>
                        <a:pt x="11964" y="12573"/>
                      </a:lnTo>
                      <a:lnTo>
                        <a:pt x="12188" y="12618"/>
                      </a:lnTo>
                      <a:lnTo>
                        <a:pt x="14100" y="12962"/>
                      </a:lnTo>
                      <a:lnTo>
                        <a:pt x="14309" y="13007"/>
                      </a:lnTo>
                      <a:lnTo>
                        <a:pt x="16221" y="13350"/>
                      </a:lnTo>
                      <a:lnTo>
                        <a:pt x="16445" y="13380"/>
                      </a:lnTo>
                      <a:lnTo>
                        <a:pt x="18342" y="13723"/>
                      </a:lnTo>
                      <a:lnTo>
                        <a:pt x="18566" y="13768"/>
                      </a:lnTo>
                      <a:lnTo>
                        <a:pt x="20313" y="14082"/>
                      </a:lnTo>
                      <a:cubicBezTo>
                        <a:pt x="20358" y="14097"/>
                        <a:pt x="20418" y="14112"/>
                        <a:pt x="20478" y="14112"/>
                      </a:cubicBezTo>
                      <a:lnTo>
                        <a:pt x="20702" y="14112"/>
                      </a:lnTo>
                      <a:cubicBezTo>
                        <a:pt x="21449" y="14067"/>
                        <a:pt x="22106" y="13529"/>
                        <a:pt x="22240" y="12768"/>
                      </a:cubicBezTo>
                      <a:lnTo>
                        <a:pt x="23808" y="5344"/>
                      </a:lnTo>
                      <a:cubicBezTo>
                        <a:pt x="23988" y="4553"/>
                        <a:pt x="23554" y="3761"/>
                        <a:pt x="22867" y="3448"/>
                      </a:cubicBezTo>
                      <a:cubicBezTo>
                        <a:pt x="22793" y="3418"/>
                        <a:pt x="22703" y="3403"/>
                        <a:pt x="22643" y="3373"/>
                      </a:cubicBezTo>
                      <a:cubicBezTo>
                        <a:pt x="22584" y="3358"/>
                        <a:pt x="22524" y="3343"/>
                        <a:pt x="22449" y="3328"/>
                      </a:cubicBezTo>
                      <a:lnTo>
                        <a:pt x="20747" y="3029"/>
                      </a:lnTo>
                      <a:lnTo>
                        <a:pt x="20523" y="2985"/>
                      </a:lnTo>
                      <a:lnTo>
                        <a:pt x="18626" y="2656"/>
                      </a:lnTo>
                      <a:lnTo>
                        <a:pt x="18402" y="2611"/>
                      </a:lnTo>
                      <a:lnTo>
                        <a:pt x="16490" y="2283"/>
                      </a:lnTo>
                      <a:lnTo>
                        <a:pt x="16281" y="2238"/>
                      </a:lnTo>
                      <a:lnTo>
                        <a:pt x="14369" y="1909"/>
                      </a:lnTo>
                      <a:lnTo>
                        <a:pt x="14145" y="1879"/>
                      </a:lnTo>
                      <a:lnTo>
                        <a:pt x="12248" y="1551"/>
                      </a:lnTo>
                      <a:lnTo>
                        <a:pt x="12024" y="1506"/>
                      </a:lnTo>
                      <a:lnTo>
                        <a:pt x="10112" y="1177"/>
                      </a:lnTo>
                      <a:lnTo>
                        <a:pt x="9888" y="1133"/>
                      </a:lnTo>
                      <a:lnTo>
                        <a:pt x="7991" y="804"/>
                      </a:lnTo>
                      <a:lnTo>
                        <a:pt x="7767" y="759"/>
                      </a:lnTo>
                      <a:lnTo>
                        <a:pt x="5856" y="431"/>
                      </a:lnTo>
                      <a:lnTo>
                        <a:pt x="5646" y="386"/>
                      </a:lnTo>
                      <a:lnTo>
                        <a:pt x="3735" y="57"/>
                      </a:lnTo>
                      <a:lnTo>
                        <a:pt x="3511" y="27"/>
                      </a:lnTo>
                      <a:lnTo>
                        <a:pt x="3496" y="27"/>
                      </a:lnTo>
                      <a:cubicBezTo>
                        <a:pt x="3396" y="9"/>
                        <a:pt x="3296" y="1"/>
                        <a:pt x="319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9" name="Google Shape;1189;p17"/>
                <p:cNvSpPr/>
                <p:nvPr/>
              </p:nvSpPr>
              <p:spPr>
                <a:xfrm>
                  <a:off x="2058675" y="8975250"/>
                  <a:ext cx="253200" cy="359975"/>
                </a:xfrm>
                <a:custGeom>
                  <a:avLst/>
                  <a:gdLst/>
                  <a:ahLst/>
                  <a:cxnLst/>
                  <a:rect l="l" t="t" r="r" b="b"/>
                  <a:pathLst>
                    <a:path w="10128" h="14399" extrusionOk="0">
                      <a:moveTo>
                        <a:pt x="419" y="0"/>
                      </a:moveTo>
                      <a:lnTo>
                        <a:pt x="419" y="0"/>
                      </a:lnTo>
                      <a:cubicBezTo>
                        <a:pt x="1" y="4810"/>
                        <a:pt x="46" y="8678"/>
                        <a:pt x="1032" y="9813"/>
                      </a:cubicBezTo>
                      <a:cubicBezTo>
                        <a:pt x="2241" y="11217"/>
                        <a:pt x="5692" y="12950"/>
                        <a:pt x="9993" y="14399"/>
                      </a:cubicBezTo>
                      <a:cubicBezTo>
                        <a:pt x="10127" y="11830"/>
                        <a:pt x="9888" y="8813"/>
                        <a:pt x="8589" y="6169"/>
                      </a:cubicBezTo>
                      <a:cubicBezTo>
                        <a:pt x="6692" y="2315"/>
                        <a:pt x="2973" y="687"/>
                        <a:pt x="419"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0" name="Google Shape;1190;p17"/>
                <p:cNvSpPr/>
                <p:nvPr/>
              </p:nvSpPr>
              <p:spPr>
                <a:xfrm>
                  <a:off x="2777100" y="9098100"/>
                  <a:ext cx="289400" cy="309575"/>
                </a:xfrm>
                <a:custGeom>
                  <a:avLst/>
                  <a:gdLst/>
                  <a:ahLst/>
                  <a:cxnLst/>
                  <a:rect l="l" t="t" r="r" b="b"/>
                  <a:pathLst>
                    <a:path w="11576" h="12383" extrusionOk="0">
                      <a:moveTo>
                        <a:pt x="4421" y="0"/>
                      </a:moveTo>
                      <a:cubicBezTo>
                        <a:pt x="3137" y="1091"/>
                        <a:pt x="1673" y="3077"/>
                        <a:pt x="717" y="6632"/>
                      </a:cubicBezTo>
                      <a:cubicBezTo>
                        <a:pt x="180" y="8663"/>
                        <a:pt x="0" y="10620"/>
                        <a:pt x="45" y="12382"/>
                      </a:cubicBezTo>
                      <a:cubicBezTo>
                        <a:pt x="1240" y="12248"/>
                        <a:pt x="2330" y="12009"/>
                        <a:pt x="3271" y="11650"/>
                      </a:cubicBezTo>
                      <a:cubicBezTo>
                        <a:pt x="11576" y="8529"/>
                        <a:pt x="8215" y="2002"/>
                        <a:pt x="5601" y="568"/>
                      </a:cubicBezTo>
                      <a:cubicBezTo>
                        <a:pt x="5303" y="418"/>
                        <a:pt x="4899" y="209"/>
                        <a:pt x="4421"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1" name="Google Shape;1191;p17"/>
                <p:cNvSpPr/>
                <p:nvPr/>
              </p:nvSpPr>
              <p:spPr>
                <a:xfrm>
                  <a:off x="2078475" y="8629475"/>
                  <a:ext cx="529500" cy="335725"/>
                </a:xfrm>
                <a:custGeom>
                  <a:avLst/>
                  <a:gdLst/>
                  <a:ahLst/>
                  <a:cxnLst/>
                  <a:rect l="l" t="t" r="r" b="b"/>
                  <a:pathLst>
                    <a:path w="21180" h="13429" extrusionOk="0">
                      <a:moveTo>
                        <a:pt x="1479" y="1"/>
                      </a:moveTo>
                      <a:cubicBezTo>
                        <a:pt x="927" y="3242"/>
                        <a:pt x="404" y="6767"/>
                        <a:pt x="1" y="10053"/>
                      </a:cubicBezTo>
                      <a:lnTo>
                        <a:pt x="19402" y="13428"/>
                      </a:lnTo>
                      <a:lnTo>
                        <a:pt x="21180" y="3555"/>
                      </a:lnTo>
                      <a:lnTo>
                        <a:pt x="1479" y="1"/>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2" name="Google Shape;1192;p17"/>
                <p:cNvSpPr/>
                <p:nvPr/>
              </p:nvSpPr>
              <p:spPr>
                <a:xfrm>
                  <a:off x="2105350" y="8670400"/>
                  <a:ext cx="197925" cy="183625"/>
                </a:xfrm>
                <a:custGeom>
                  <a:avLst/>
                  <a:gdLst/>
                  <a:ahLst/>
                  <a:cxnLst/>
                  <a:rect l="l" t="t" r="r" b="b"/>
                  <a:pathLst>
                    <a:path w="7917" h="7345" extrusionOk="0">
                      <a:moveTo>
                        <a:pt x="6034" y="0"/>
                      </a:moveTo>
                      <a:cubicBezTo>
                        <a:pt x="4841" y="0"/>
                        <a:pt x="3750" y="2770"/>
                        <a:pt x="3750" y="2770"/>
                      </a:cubicBezTo>
                      <a:cubicBezTo>
                        <a:pt x="3750" y="2770"/>
                        <a:pt x="3059" y="1626"/>
                        <a:pt x="2348" y="1626"/>
                      </a:cubicBezTo>
                      <a:cubicBezTo>
                        <a:pt x="2243" y="1626"/>
                        <a:pt x="2137" y="1651"/>
                        <a:pt x="2032" y="1709"/>
                      </a:cubicBezTo>
                      <a:cubicBezTo>
                        <a:pt x="1241" y="2157"/>
                        <a:pt x="2630" y="4413"/>
                        <a:pt x="2630" y="4413"/>
                      </a:cubicBezTo>
                      <a:cubicBezTo>
                        <a:pt x="2630" y="4413"/>
                        <a:pt x="1816" y="4033"/>
                        <a:pt x="1140" y="4033"/>
                      </a:cubicBezTo>
                      <a:cubicBezTo>
                        <a:pt x="744" y="4033"/>
                        <a:pt x="395" y="4163"/>
                        <a:pt x="285" y="4577"/>
                      </a:cubicBezTo>
                      <a:cubicBezTo>
                        <a:pt x="1" y="5667"/>
                        <a:pt x="3033" y="6877"/>
                        <a:pt x="3033" y="6877"/>
                      </a:cubicBezTo>
                      <a:cubicBezTo>
                        <a:pt x="3033" y="6877"/>
                        <a:pt x="4545" y="7344"/>
                        <a:pt x="5685" y="7344"/>
                      </a:cubicBezTo>
                      <a:cubicBezTo>
                        <a:pt x="6263" y="7344"/>
                        <a:pt x="6746" y="7224"/>
                        <a:pt x="6886" y="6862"/>
                      </a:cubicBezTo>
                      <a:cubicBezTo>
                        <a:pt x="7320" y="5802"/>
                        <a:pt x="5019" y="5324"/>
                        <a:pt x="5019" y="5324"/>
                      </a:cubicBezTo>
                      <a:cubicBezTo>
                        <a:pt x="5019" y="5324"/>
                        <a:pt x="7917" y="4965"/>
                        <a:pt x="7917" y="3815"/>
                      </a:cubicBezTo>
                      <a:cubicBezTo>
                        <a:pt x="7917" y="3388"/>
                        <a:pt x="7561" y="3253"/>
                        <a:pt x="7115" y="3253"/>
                      </a:cubicBezTo>
                      <a:cubicBezTo>
                        <a:pt x="6361" y="3253"/>
                        <a:pt x="5348" y="3636"/>
                        <a:pt x="5348" y="3636"/>
                      </a:cubicBezTo>
                      <a:cubicBezTo>
                        <a:pt x="5348" y="3636"/>
                        <a:pt x="7723" y="813"/>
                        <a:pt x="6408" y="96"/>
                      </a:cubicBezTo>
                      <a:cubicBezTo>
                        <a:pt x="6283" y="30"/>
                        <a:pt x="6158" y="0"/>
                        <a:pt x="6034"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3" name="Google Shape;1193;p17"/>
                <p:cNvSpPr/>
                <p:nvPr/>
              </p:nvSpPr>
              <p:spPr>
                <a:xfrm>
                  <a:off x="2141200" y="8715725"/>
                  <a:ext cx="129975" cy="163200"/>
                </a:xfrm>
                <a:custGeom>
                  <a:avLst/>
                  <a:gdLst/>
                  <a:ahLst/>
                  <a:cxnLst/>
                  <a:rect l="l" t="t" r="r" b="b"/>
                  <a:pathLst>
                    <a:path w="5199" h="6528" fill="none" extrusionOk="0">
                      <a:moveTo>
                        <a:pt x="1240" y="6528"/>
                      </a:moveTo>
                      <a:cubicBezTo>
                        <a:pt x="1240" y="6528"/>
                        <a:pt x="1733" y="3511"/>
                        <a:pt x="4004" y="1"/>
                      </a:cubicBezTo>
                      <a:moveTo>
                        <a:pt x="1898" y="4213"/>
                      </a:moveTo>
                      <a:lnTo>
                        <a:pt x="4392" y="4661"/>
                      </a:lnTo>
                      <a:moveTo>
                        <a:pt x="3630" y="4512"/>
                      </a:moveTo>
                      <a:lnTo>
                        <a:pt x="4019" y="4317"/>
                      </a:lnTo>
                      <a:moveTo>
                        <a:pt x="2032" y="3825"/>
                      </a:moveTo>
                      <a:lnTo>
                        <a:pt x="1" y="3167"/>
                      </a:lnTo>
                      <a:moveTo>
                        <a:pt x="464" y="3003"/>
                      </a:moveTo>
                      <a:lnTo>
                        <a:pt x="688" y="3391"/>
                      </a:lnTo>
                      <a:moveTo>
                        <a:pt x="2704" y="2331"/>
                      </a:moveTo>
                      <a:lnTo>
                        <a:pt x="1315" y="1017"/>
                      </a:lnTo>
                      <a:moveTo>
                        <a:pt x="1196" y="1420"/>
                      </a:moveTo>
                      <a:lnTo>
                        <a:pt x="1793" y="1480"/>
                      </a:lnTo>
                      <a:moveTo>
                        <a:pt x="4825" y="2570"/>
                      </a:moveTo>
                      <a:lnTo>
                        <a:pt x="4362" y="2406"/>
                      </a:lnTo>
                      <a:moveTo>
                        <a:pt x="2495" y="2764"/>
                      </a:moveTo>
                      <a:lnTo>
                        <a:pt x="5198" y="2241"/>
                      </a:lnTo>
                    </a:path>
                  </a:pathLst>
                </a:custGeom>
                <a:noFill/>
                <a:ln w="150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4" name="Google Shape;1194;p17"/>
                <p:cNvSpPr/>
                <p:nvPr/>
              </p:nvSpPr>
              <p:spPr>
                <a:xfrm>
                  <a:off x="2519075" y="8788850"/>
                  <a:ext cx="81050" cy="66925"/>
                </a:xfrm>
                <a:custGeom>
                  <a:avLst/>
                  <a:gdLst/>
                  <a:ahLst/>
                  <a:cxnLst/>
                  <a:rect l="l" t="t" r="r" b="b"/>
                  <a:pathLst>
                    <a:path w="3242" h="2677" extrusionOk="0">
                      <a:moveTo>
                        <a:pt x="1549" y="0"/>
                      </a:moveTo>
                      <a:cubicBezTo>
                        <a:pt x="663" y="0"/>
                        <a:pt x="1" y="2677"/>
                        <a:pt x="1" y="2677"/>
                      </a:cubicBezTo>
                      <a:cubicBezTo>
                        <a:pt x="1748" y="2079"/>
                        <a:pt x="3242" y="198"/>
                        <a:pt x="1599" y="3"/>
                      </a:cubicBezTo>
                      <a:cubicBezTo>
                        <a:pt x="1582" y="1"/>
                        <a:pt x="1565" y="0"/>
                        <a:pt x="1549"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5" name="Google Shape;1195;p17"/>
                <p:cNvSpPr/>
                <p:nvPr/>
              </p:nvSpPr>
              <p:spPr>
                <a:xfrm>
                  <a:off x="2495175" y="8729650"/>
                  <a:ext cx="60050" cy="77225"/>
                </a:xfrm>
                <a:custGeom>
                  <a:avLst/>
                  <a:gdLst/>
                  <a:ahLst/>
                  <a:cxnLst/>
                  <a:rect l="l" t="t" r="r" b="b"/>
                  <a:pathLst>
                    <a:path w="2402" h="3089" extrusionOk="0">
                      <a:moveTo>
                        <a:pt x="1208" y="1"/>
                      </a:moveTo>
                      <a:cubicBezTo>
                        <a:pt x="1112" y="1"/>
                        <a:pt x="1004" y="14"/>
                        <a:pt x="882" y="41"/>
                      </a:cubicBezTo>
                      <a:cubicBezTo>
                        <a:pt x="1" y="236"/>
                        <a:pt x="270" y="3088"/>
                        <a:pt x="270" y="3088"/>
                      </a:cubicBezTo>
                      <a:cubicBezTo>
                        <a:pt x="1611" y="2037"/>
                        <a:pt x="2402" y="1"/>
                        <a:pt x="1208"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 name="Google Shape;1196;p17"/>
                <p:cNvSpPr/>
                <p:nvPr/>
              </p:nvSpPr>
              <p:spPr>
                <a:xfrm>
                  <a:off x="2424775" y="8713000"/>
                  <a:ext cx="59225" cy="77825"/>
                </a:xfrm>
                <a:custGeom>
                  <a:avLst/>
                  <a:gdLst/>
                  <a:ahLst/>
                  <a:cxnLst/>
                  <a:rect l="l" t="t" r="r" b="b"/>
                  <a:pathLst>
                    <a:path w="2369" h="3113" extrusionOk="0">
                      <a:moveTo>
                        <a:pt x="1141" y="0"/>
                      </a:moveTo>
                      <a:cubicBezTo>
                        <a:pt x="0" y="0"/>
                        <a:pt x="735" y="2042"/>
                        <a:pt x="2025" y="3112"/>
                      </a:cubicBezTo>
                      <a:cubicBezTo>
                        <a:pt x="2025" y="3112"/>
                        <a:pt x="2369" y="274"/>
                        <a:pt x="1488" y="50"/>
                      </a:cubicBezTo>
                      <a:cubicBezTo>
                        <a:pt x="1357" y="16"/>
                        <a:pt x="1241" y="0"/>
                        <a:pt x="1141"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 name="Google Shape;1197;p17"/>
                <p:cNvSpPr/>
                <p:nvPr/>
              </p:nvSpPr>
              <p:spPr>
                <a:xfrm>
                  <a:off x="2458975" y="8744850"/>
                  <a:ext cx="90000" cy="168075"/>
                </a:xfrm>
                <a:custGeom>
                  <a:avLst/>
                  <a:gdLst/>
                  <a:ahLst/>
                  <a:cxnLst/>
                  <a:rect l="l" t="t" r="r" b="b"/>
                  <a:pathLst>
                    <a:path w="3600" h="6723" fill="none" extrusionOk="0">
                      <a:moveTo>
                        <a:pt x="1643" y="2824"/>
                      </a:moveTo>
                      <a:cubicBezTo>
                        <a:pt x="1643" y="2824"/>
                        <a:pt x="15" y="1659"/>
                        <a:pt x="0" y="1"/>
                      </a:cubicBezTo>
                      <a:moveTo>
                        <a:pt x="1120" y="5199"/>
                      </a:moveTo>
                      <a:cubicBezTo>
                        <a:pt x="1120" y="5199"/>
                        <a:pt x="2644" y="4377"/>
                        <a:pt x="3600" y="2928"/>
                      </a:cubicBezTo>
                      <a:moveTo>
                        <a:pt x="866" y="6722"/>
                      </a:moveTo>
                      <a:cubicBezTo>
                        <a:pt x="866" y="6722"/>
                        <a:pt x="1046" y="4706"/>
                        <a:pt x="2390" y="554"/>
                      </a:cubicBezTo>
                    </a:path>
                  </a:pathLst>
                </a:custGeom>
                <a:noFill/>
                <a:ln w="22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8" name="Google Shape;1198;p17"/>
                <p:cNvSpPr/>
                <p:nvPr/>
              </p:nvSpPr>
              <p:spPr>
                <a:xfrm>
                  <a:off x="2305875" y="8792275"/>
                  <a:ext cx="73575" cy="81050"/>
                </a:xfrm>
                <a:custGeom>
                  <a:avLst/>
                  <a:gdLst/>
                  <a:ahLst/>
                  <a:cxnLst/>
                  <a:rect l="l" t="t" r="r" b="b"/>
                  <a:pathLst>
                    <a:path w="2943" h="3242" extrusionOk="0">
                      <a:moveTo>
                        <a:pt x="0" y="1"/>
                      </a:moveTo>
                      <a:cubicBezTo>
                        <a:pt x="1" y="1"/>
                        <a:pt x="269" y="1136"/>
                        <a:pt x="1434" y="2092"/>
                      </a:cubicBezTo>
                      <a:lnTo>
                        <a:pt x="1225" y="2062"/>
                      </a:lnTo>
                      <a:lnTo>
                        <a:pt x="1225" y="2062"/>
                      </a:lnTo>
                      <a:cubicBezTo>
                        <a:pt x="1210" y="2077"/>
                        <a:pt x="2017" y="3063"/>
                        <a:pt x="2883" y="3242"/>
                      </a:cubicBezTo>
                      <a:cubicBezTo>
                        <a:pt x="2883" y="3242"/>
                        <a:pt x="2943" y="2405"/>
                        <a:pt x="2271" y="1420"/>
                      </a:cubicBezTo>
                      <a:lnTo>
                        <a:pt x="2241" y="1539"/>
                      </a:lnTo>
                      <a:cubicBezTo>
                        <a:pt x="2241" y="1539"/>
                        <a:pt x="1643" y="538"/>
                        <a:pt x="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9" name="Google Shape;1199;p17"/>
                <p:cNvSpPr/>
                <p:nvPr/>
              </p:nvSpPr>
              <p:spPr>
                <a:xfrm>
                  <a:off x="2391000" y="8772875"/>
                  <a:ext cx="45600" cy="88500"/>
                </a:xfrm>
                <a:custGeom>
                  <a:avLst/>
                  <a:gdLst/>
                  <a:ahLst/>
                  <a:cxnLst/>
                  <a:rect l="l" t="t" r="r" b="b"/>
                  <a:pathLst>
                    <a:path w="1824" h="3540" extrusionOk="0">
                      <a:moveTo>
                        <a:pt x="1584" y="2046"/>
                      </a:moveTo>
                      <a:cubicBezTo>
                        <a:pt x="1584" y="2046"/>
                        <a:pt x="1584" y="2046"/>
                        <a:pt x="1584" y="2046"/>
                      </a:cubicBezTo>
                      <a:lnTo>
                        <a:pt x="1584" y="2046"/>
                      </a:lnTo>
                      <a:lnTo>
                        <a:pt x="1584" y="2046"/>
                      </a:lnTo>
                      <a:close/>
                      <a:moveTo>
                        <a:pt x="1748" y="0"/>
                      </a:moveTo>
                      <a:cubicBezTo>
                        <a:pt x="1106" y="314"/>
                        <a:pt x="553" y="1658"/>
                        <a:pt x="553" y="1658"/>
                      </a:cubicBezTo>
                      <a:lnTo>
                        <a:pt x="449" y="1553"/>
                      </a:lnTo>
                      <a:cubicBezTo>
                        <a:pt x="1" y="2539"/>
                        <a:pt x="120" y="3540"/>
                        <a:pt x="120" y="3540"/>
                      </a:cubicBezTo>
                      <a:cubicBezTo>
                        <a:pt x="996" y="3273"/>
                        <a:pt x="1562" y="2062"/>
                        <a:pt x="1584" y="2046"/>
                      </a:cubicBezTo>
                      <a:lnTo>
                        <a:pt x="1584" y="2046"/>
                      </a:lnTo>
                      <a:lnTo>
                        <a:pt x="1405" y="2121"/>
                      </a:lnTo>
                      <a:cubicBezTo>
                        <a:pt x="1823" y="1210"/>
                        <a:pt x="1748" y="0"/>
                        <a:pt x="174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0" name="Google Shape;1200;p17"/>
                <p:cNvSpPr/>
                <p:nvPr/>
              </p:nvSpPr>
              <p:spPr>
                <a:xfrm>
                  <a:off x="2358150" y="8707525"/>
                  <a:ext cx="39225" cy="116525"/>
                </a:xfrm>
                <a:custGeom>
                  <a:avLst/>
                  <a:gdLst/>
                  <a:ahLst/>
                  <a:cxnLst/>
                  <a:rect l="l" t="t" r="r" b="b"/>
                  <a:pathLst>
                    <a:path w="1569" h="4661" extrusionOk="0">
                      <a:moveTo>
                        <a:pt x="538" y="0"/>
                      </a:moveTo>
                      <a:cubicBezTo>
                        <a:pt x="90" y="1554"/>
                        <a:pt x="165" y="1972"/>
                        <a:pt x="165" y="1972"/>
                      </a:cubicBezTo>
                      <a:lnTo>
                        <a:pt x="0" y="1942"/>
                      </a:lnTo>
                      <a:lnTo>
                        <a:pt x="0" y="1942"/>
                      </a:lnTo>
                      <a:cubicBezTo>
                        <a:pt x="75" y="3570"/>
                        <a:pt x="1061" y="4660"/>
                        <a:pt x="1061" y="4660"/>
                      </a:cubicBezTo>
                      <a:cubicBezTo>
                        <a:pt x="1569" y="3809"/>
                        <a:pt x="1539" y="2002"/>
                        <a:pt x="1539" y="2002"/>
                      </a:cubicBezTo>
                      <a:lnTo>
                        <a:pt x="1539" y="2002"/>
                      </a:lnTo>
                      <a:lnTo>
                        <a:pt x="1390" y="2091"/>
                      </a:lnTo>
                      <a:cubicBezTo>
                        <a:pt x="1121" y="852"/>
                        <a:pt x="538" y="0"/>
                        <a:pt x="538"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1" name="Google Shape;1201;p17"/>
                <p:cNvSpPr/>
                <p:nvPr/>
              </p:nvSpPr>
              <p:spPr>
                <a:xfrm>
                  <a:off x="2372350" y="8731425"/>
                  <a:ext cx="21675" cy="177750"/>
                </a:xfrm>
                <a:custGeom>
                  <a:avLst/>
                  <a:gdLst/>
                  <a:ahLst/>
                  <a:cxnLst/>
                  <a:rect l="l" t="t" r="r" b="b"/>
                  <a:pathLst>
                    <a:path w="867" h="7110" extrusionOk="0">
                      <a:moveTo>
                        <a:pt x="90" y="0"/>
                      </a:moveTo>
                      <a:lnTo>
                        <a:pt x="0" y="15"/>
                      </a:lnTo>
                      <a:cubicBezTo>
                        <a:pt x="373" y="2360"/>
                        <a:pt x="642" y="4735"/>
                        <a:pt x="657" y="7110"/>
                      </a:cubicBezTo>
                      <a:lnTo>
                        <a:pt x="866" y="7110"/>
                      </a:lnTo>
                      <a:cubicBezTo>
                        <a:pt x="807" y="4720"/>
                        <a:pt x="523" y="2360"/>
                        <a:pt x="9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2" name="Google Shape;1202;p17"/>
                <p:cNvSpPr/>
                <p:nvPr/>
              </p:nvSpPr>
              <p:spPr>
                <a:xfrm>
                  <a:off x="2318200" y="8805350"/>
                  <a:ext cx="72450" cy="84425"/>
                </a:xfrm>
                <a:custGeom>
                  <a:avLst/>
                  <a:gdLst/>
                  <a:ahLst/>
                  <a:cxnLst/>
                  <a:rect l="l" t="t" r="r" b="b"/>
                  <a:pathLst>
                    <a:path w="2898" h="3377" fill="none" extrusionOk="0">
                      <a:moveTo>
                        <a:pt x="0" y="1"/>
                      </a:moveTo>
                      <a:cubicBezTo>
                        <a:pt x="0" y="1"/>
                        <a:pt x="2300" y="2435"/>
                        <a:pt x="2898" y="3376"/>
                      </a:cubicBezTo>
                    </a:path>
                  </a:pathLst>
                </a:custGeom>
                <a:noFill/>
                <a:ln w="1125" cap="flat" cmpd="sng">
                  <a:solidFill>
                    <a:srgbClr val="380B0B"/>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3" name="Google Shape;1203;p17"/>
                <p:cNvSpPr/>
                <p:nvPr/>
              </p:nvSpPr>
              <p:spPr>
                <a:xfrm>
                  <a:off x="2346575" y="8752325"/>
                  <a:ext cx="81800" cy="114650"/>
                </a:xfrm>
                <a:custGeom>
                  <a:avLst/>
                  <a:gdLst/>
                  <a:ahLst/>
                  <a:cxnLst/>
                  <a:rect l="l" t="t" r="r" b="b"/>
                  <a:pathLst>
                    <a:path w="3272" h="4586" fill="none" extrusionOk="0">
                      <a:moveTo>
                        <a:pt x="0" y="3600"/>
                      </a:moveTo>
                      <a:lnTo>
                        <a:pt x="329" y="3735"/>
                      </a:lnTo>
                      <a:moveTo>
                        <a:pt x="3271" y="1479"/>
                      </a:moveTo>
                      <a:cubicBezTo>
                        <a:pt x="3271" y="1479"/>
                        <a:pt x="2450" y="3675"/>
                        <a:pt x="1733" y="4586"/>
                      </a:cubicBezTo>
                      <a:moveTo>
                        <a:pt x="2151" y="3301"/>
                      </a:moveTo>
                      <a:lnTo>
                        <a:pt x="2226" y="3809"/>
                      </a:lnTo>
                      <a:moveTo>
                        <a:pt x="2958" y="3092"/>
                      </a:moveTo>
                      <a:lnTo>
                        <a:pt x="2510" y="3227"/>
                      </a:lnTo>
                      <a:moveTo>
                        <a:pt x="2838" y="1987"/>
                      </a:moveTo>
                      <a:lnTo>
                        <a:pt x="2868" y="2450"/>
                      </a:lnTo>
                      <a:moveTo>
                        <a:pt x="1509" y="2181"/>
                      </a:moveTo>
                      <a:lnTo>
                        <a:pt x="1061" y="1629"/>
                      </a:lnTo>
                      <a:moveTo>
                        <a:pt x="1673" y="703"/>
                      </a:moveTo>
                      <a:lnTo>
                        <a:pt x="1404" y="1196"/>
                      </a:lnTo>
                      <a:moveTo>
                        <a:pt x="822" y="1"/>
                      </a:moveTo>
                      <a:lnTo>
                        <a:pt x="1285" y="508"/>
                      </a:lnTo>
                      <a:moveTo>
                        <a:pt x="807" y="3705"/>
                      </a:moveTo>
                      <a:lnTo>
                        <a:pt x="897" y="4377"/>
                      </a:lnTo>
                    </a:path>
                  </a:pathLst>
                </a:custGeom>
                <a:noFill/>
                <a:ln w="11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4" name="Google Shape;1204;p17"/>
                <p:cNvSpPr/>
                <p:nvPr/>
              </p:nvSpPr>
              <p:spPr>
                <a:xfrm>
                  <a:off x="2134475" y="8271400"/>
                  <a:ext cx="538475" cy="352125"/>
                </a:xfrm>
                <a:custGeom>
                  <a:avLst/>
                  <a:gdLst/>
                  <a:ahLst/>
                  <a:cxnLst/>
                  <a:rect l="l" t="t" r="r" b="b"/>
                  <a:pathLst>
                    <a:path w="21539" h="14085" extrusionOk="0">
                      <a:moveTo>
                        <a:pt x="2167" y="0"/>
                      </a:moveTo>
                      <a:lnTo>
                        <a:pt x="1" y="10620"/>
                      </a:lnTo>
                      <a:cubicBezTo>
                        <a:pt x="76" y="10635"/>
                        <a:pt x="120" y="10635"/>
                        <a:pt x="195" y="10650"/>
                      </a:cubicBezTo>
                      <a:lnTo>
                        <a:pt x="225" y="10650"/>
                      </a:lnTo>
                      <a:lnTo>
                        <a:pt x="2391" y="30"/>
                      </a:lnTo>
                      <a:lnTo>
                        <a:pt x="2167" y="0"/>
                      </a:lnTo>
                      <a:close/>
                      <a:moveTo>
                        <a:pt x="4317" y="359"/>
                      </a:moveTo>
                      <a:lnTo>
                        <a:pt x="2137" y="11008"/>
                      </a:lnTo>
                      <a:lnTo>
                        <a:pt x="2346" y="11053"/>
                      </a:lnTo>
                      <a:lnTo>
                        <a:pt x="4527" y="404"/>
                      </a:lnTo>
                      <a:lnTo>
                        <a:pt x="4317" y="359"/>
                      </a:lnTo>
                      <a:close/>
                      <a:moveTo>
                        <a:pt x="6438" y="732"/>
                      </a:moveTo>
                      <a:lnTo>
                        <a:pt x="4258" y="11396"/>
                      </a:lnTo>
                      <a:lnTo>
                        <a:pt x="4482" y="11441"/>
                      </a:lnTo>
                      <a:lnTo>
                        <a:pt x="6662" y="777"/>
                      </a:lnTo>
                      <a:lnTo>
                        <a:pt x="6438" y="732"/>
                      </a:lnTo>
                      <a:close/>
                      <a:moveTo>
                        <a:pt x="8544" y="1120"/>
                      </a:moveTo>
                      <a:lnTo>
                        <a:pt x="6379" y="11785"/>
                      </a:lnTo>
                      <a:lnTo>
                        <a:pt x="6603" y="11815"/>
                      </a:lnTo>
                      <a:lnTo>
                        <a:pt x="8783" y="1150"/>
                      </a:lnTo>
                      <a:lnTo>
                        <a:pt x="8544" y="1120"/>
                      </a:lnTo>
                      <a:close/>
                      <a:moveTo>
                        <a:pt x="10695" y="1494"/>
                      </a:moveTo>
                      <a:lnTo>
                        <a:pt x="8514" y="12158"/>
                      </a:lnTo>
                      <a:lnTo>
                        <a:pt x="8723" y="12203"/>
                      </a:lnTo>
                      <a:lnTo>
                        <a:pt x="10919" y="1524"/>
                      </a:lnTo>
                      <a:lnTo>
                        <a:pt x="10695" y="1494"/>
                      </a:lnTo>
                      <a:close/>
                      <a:moveTo>
                        <a:pt x="12816" y="1867"/>
                      </a:moveTo>
                      <a:lnTo>
                        <a:pt x="10620" y="12546"/>
                      </a:lnTo>
                      <a:lnTo>
                        <a:pt x="10859" y="12591"/>
                      </a:lnTo>
                      <a:lnTo>
                        <a:pt x="13040" y="1897"/>
                      </a:lnTo>
                      <a:lnTo>
                        <a:pt x="12816" y="1867"/>
                      </a:lnTo>
                      <a:close/>
                      <a:moveTo>
                        <a:pt x="14952" y="2226"/>
                      </a:moveTo>
                      <a:lnTo>
                        <a:pt x="12756" y="12935"/>
                      </a:lnTo>
                      <a:lnTo>
                        <a:pt x="12965" y="12980"/>
                      </a:lnTo>
                      <a:lnTo>
                        <a:pt x="15161" y="2271"/>
                      </a:lnTo>
                      <a:lnTo>
                        <a:pt x="14952" y="2226"/>
                      </a:lnTo>
                      <a:close/>
                      <a:moveTo>
                        <a:pt x="17073" y="2599"/>
                      </a:moveTo>
                      <a:lnTo>
                        <a:pt x="14877" y="13323"/>
                      </a:lnTo>
                      <a:lnTo>
                        <a:pt x="15101" y="13353"/>
                      </a:lnTo>
                      <a:lnTo>
                        <a:pt x="17297" y="2644"/>
                      </a:lnTo>
                      <a:lnTo>
                        <a:pt x="17073" y="2599"/>
                      </a:lnTo>
                      <a:close/>
                      <a:moveTo>
                        <a:pt x="19193" y="2973"/>
                      </a:moveTo>
                      <a:lnTo>
                        <a:pt x="16998" y="13711"/>
                      </a:lnTo>
                      <a:lnTo>
                        <a:pt x="17222" y="13756"/>
                      </a:lnTo>
                      <a:lnTo>
                        <a:pt x="19417" y="3017"/>
                      </a:lnTo>
                      <a:lnTo>
                        <a:pt x="19193" y="2973"/>
                      </a:lnTo>
                      <a:close/>
                      <a:moveTo>
                        <a:pt x="21329" y="3361"/>
                      </a:moveTo>
                      <a:lnTo>
                        <a:pt x="19134" y="14085"/>
                      </a:lnTo>
                      <a:lnTo>
                        <a:pt x="19358" y="14085"/>
                      </a:lnTo>
                      <a:lnTo>
                        <a:pt x="21538" y="3436"/>
                      </a:lnTo>
                      <a:cubicBezTo>
                        <a:pt x="21479" y="3406"/>
                        <a:pt x="21389" y="3391"/>
                        <a:pt x="21329" y="336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5" name="Google Shape;1205;p17"/>
                <p:cNvSpPr/>
                <p:nvPr/>
              </p:nvSpPr>
              <p:spPr>
                <a:xfrm>
                  <a:off x="2066900" y="8996900"/>
                  <a:ext cx="12350" cy="2650"/>
                </a:xfrm>
                <a:custGeom>
                  <a:avLst/>
                  <a:gdLst/>
                  <a:ahLst/>
                  <a:cxnLst/>
                  <a:rect l="l" t="t" r="r" b="b"/>
                  <a:pathLst>
                    <a:path w="494" h="106" fill="none" extrusionOk="0">
                      <a:moveTo>
                        <a:pt x="1" y="1"/>
                      </a:moveTo>
                      <a:cubicBezTo>
                        <a:pt x="1" y="1"/>
                        <a:pt x="180" y="31"/>
                        <a:pt x="493" y="105"/>
                      </a:cubicBezTo>
                    </a:path>
                  </a:pathLst>
                </a:custGeom>
                <a:noFill/>
                <a:ln w="5600"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6" name="Google Shape;1206;p17"/>
                <p:cNvSpPr/>
                <p:nvPr/>
              </p:nvSpPr>
              <p:spPr>
                <a:xfrm>
                  <a:off x="2102375" y="9005875"/>
                  <a:ext cx="178875" cy="295000"/>
                </a:xfrm>
                <a:custGeom>
                  <a:avLst/>
                  <a:gdLst/>
                  <a:ahLst/>
                  <a:cxnLst/>
                  <a:rect l="l" t="t" r="r" b="b"/>
                  <a:pathLst>
                    <a:path w="7155" h="11800" fill="none" extrusionOk="0">
                      <a:moveTo>
                        <a:pt x="0" y="0"/>
                      </a:moveTo>
                      <a:cubicBezTo>
                        <a:pt x="2420" y="822"/>
                        <a:pt x="7155" y="3510"/>
                        <a:pt x="7140" y="11799"/>
                      </a:cubicBezTo>
                    </a:path>
                  </a:pathLst>
                </a:custGeom>
                <a:noFill/>
                <a:ln w="5600"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7" name="Google Shape;1207;p17"/>
                <p:cNvSpPr/>
                <p:nvPr/>
              </p:nvSpPr>
              <p:spPr>
                <a:xfrm>
                  <a:off x="2280850" y="9313175"/>
                  <a:ext cx="25" cy="12350"/>
                </a:xfrm>
                <a:custGeom>
                  <a:avLst/>
                  <a:gdLst/>
                  <a:ahLst/>
                  <a:cxnLst/>
                  <a:rect l="l" t="t" r="r" b="b"/>
                  <a:pathLst>
                    <a:path w="1" h="494" fill="none" extrusionOk="0">
                      <a:moveTo>
                        <a:pt x="1" y="0"/>
                      </a:moveTo>
                      <a:cubicBezTo>
                        <a:pt x="1" y="165"/>
                        <a:pt x="1" y="329"/>
                        <a:pt x="1" y="493"/>
                      </a:cubicBezTo>
                    </a:path>
                  </a:pathLst>
                </a:custGeom>
                <a:noFill/>
                <a:ln w="5600"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8" name="Google Shape;1208;p17"/>
                <p:cNvSpPr/>
                <p:nvPr/>
              </p:nvSpPr>
              <p:spPr>
                <a:xfrm>
                  <a:off x="2798375" y="9104075"/>
                  <a:ext cx="102350" cy="300975"/>
                </a:xfrm>
                <a:custGeom>
                  <a:avLst/>
                  <a:gdLst/>
                  <a:ahLst/>
                  <a:cxnLst/>
                  <a:rect l="l" t="t" r="r" b="b"/>
                  <a:pathLst>
                    <a:path w="4094" h="12039" fill="none" extrusionOk="0">
                      <a:moveTo>
                        <a:pt x="4093" y="0"/>
                      </a:moveTo>
                      <a:cubicBezTo>
                        <a:pt x="4093" y="0"/>
                        <a:pt x="165" y="3391"/>
                        <a:pt x="1" y="12039"/>
                      </a:cubicBezTo>
                    </a:path>
                  </a:pathLst>
                </a:custGeom>
                <a:noFill/>
                <a:ln w="5600" cap="rnd"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209" name="Google Shape;1209;p17"/>
            <p:cNvGrpSpPr/>
            <p:nvPr/>
          </p:nvGrpSpPr>
          <p:grpSpPr>
            <a:xfrm>
              <a:off x="6574536" y="265176"/>
              <a:ext cx="2127005" cy="2170045"/>
              <a:chOff x="1642350" y="5320400"/>
              <a:chExt cx="888325" cy="906300"/>
            </a:xfrm>
          </p:grpSpPr>
          <p:sp>
            <p:nvSpPr>
              <p:cNvPr id="1210" name="Google Shape;1210;p17"/>
              <p:cNvSpPr/>
              <p:nvPr/>
            </p:nvSpPr>
            <p:spPr>
              <a:xfrm>
                <a:off x="1642350" y="5320400"/>
                <a:ext cx="235650" cy="129325"/>
              </a:xfrm>
              <a:custGeom>
                <a:avLst/>
                <a:gdLst/>
                <a:ahLst/>
                <a:cxnLst/>
                <a:rect l="l" t="t" r="r" b="b"/>
                <a:pathLst>
                  <a:path w="9426" h="5173" extrusionOk="0">
                    <a:moveTo>
                      <a:pt x="6300" y="1"/>
                    </a:moveTo>
                    <a:cubicBezTo>
                      <a:pt x="6202" y="1"/>
                      <a:pt x="6113" y="11"/>
                      <a:pt x="6035" y="32"/>
                    </a:cubicBezTo>
                    <a:lnTo>
                      <a:pt x="5811" y="1003"/>
                    </a:lnTo>
                    <a:cubicBezTo>
                      <a:pt x="5811" y="1003"/>
                      <a:pt x="6559" y="1472"/>
                      <a:pt x="8040" y="1472"/>
                    </a:cubicBezTo>
                    <a:cubicBezTo>
                      <a:pt x="8370" y="1472"/>
                      <a:pt x="8738" y="1449"/>
                      <a:pt x="9141" y="1391"/>
                    </a:cubicBezTo>
                    <a:lnTo>
                      <a:pt x="9425" y="1152"/>
                    </a:lnTo>
                    <a:cubicBezTo>
                      <a:pt x="9425" y="1152"/>
                      <a:pt x="7360" y="1"/>
                      <a:pt x="6300" y="1"/>
                    </a:cubicBezTo>
                    <a:close/>
                    <a:moveTo>
                      <a:pt x="3639" y="694"/>
                    </a:moveTo>
                    <a:cubicBezTo>
                      <a:pt x="3524" y="694"/>
                      <a:pt x="3420" y="706"/>
                      <a:pt x="3331" y="734"/>
                    </a:cubicBezTo>
                    <a:lnTo>
                      <a:pt x="3122" y="1720"/>
                    </a:lnTo>
                    <a:cubicBezTo>
                      <a:pt x="3122" y="1720"/>
                      <a:pt x="3827" y="2132"/>
                      <a:pt x="5192" y="2132"/>
                    </a:cubicBezTo>
                    <a:cubicBezTo>
                      <a:pt x="5572" y="2132"/>
                      <a:pt x="6002" y="2100"/>
                      <a:pt x="6483" y="2019"/>
                    </a:cubicBezTo>
                    <a:lnTo>
                      <a:pt x="6752" y="1765"/>
                    </a:lnTo>
                    <a:cubicBezTo>
                      <a:pt x="6752" y="1765"/>
                      <a:pt x="4708" y="694"/>
                      <a:pt x="3639" y="694"/>
                    </a:cubicBezTo>
                    <a:close/>
                    <a:moveTo>
                      <a:pt x="2181" y="2232"/>
                    </a:moveTo>
                    <a:cubicBezTo>
                      <a:pt x="1917" y="2232"/>
                      <a:pt x="1688" y="2265"/>
                      <a:pt x="1524" y="2347"/>
                    </a:cubicBezTo>
                    <a:lnTo>
                      <a:pt x="1464" y="3348"/>
                    </a:lnTo>
                    <a:cubicBezTo>
                      <a:pt x="1464" y="3348"/>
                      <a:pt x="1882" y="3516"/>
                      <a:pt x="2655" y="3516"/>
                    </a:cubicBezTo>
                    <a:cubicBezTo>
                      <a:pt x="3206" y="3516"/>
                      <a:pt x="3936" y="3431"/>
                      <a:pt x="4825" y="3139"/>
                    </a:cubicBezTo>
                    <a:lnTo>
                      <a:pt x="5064" y="2840"/>
                    </a:lnTo>
                    <a:cubicBezTo>
                      <a:pt x="5064" y="2840"/>
                      <a:pt x="3308" y="2232"/>
                      <a:pt x="2181" y="2232"/>
                    </a:cubicBezTo>
                    <a:close/>
                    <a:moveTo>
                      <a:pt x="1119" y="3905"/>
                    </a:moveTo>
                    <a:cubicBezTo>
                      <a:pt x="656" y="3905"/>
                      <a:pt x="241" y="3958"/>
                      <a:pt x="1" y="4110"/>
                    </a:cubicBezTo>
                    <a:lnTo>
                      <a:pt x="60" y="5110"/>
                    </a:lnTo>
                    <a:cubicBezTo>
                      <a:pt x="60" y="5110"/>
                      <a:pt x="291" y="5173"/>
                      <a:pt x="712" y="5173"/>
                    </a:cubicBezTo>
                    <a:cubicBezTo>
                      <a:pt x="1280" y="5173"/>
                      <a:pt x="2195" y="5059"/>
                      <a:pt x="3361" y="4528"/>
                    </a:cubicBezTo>
                    <a:lnTo>
                      <a:pt x="3570" y="4199"/>
                    </a:lnTo>
                    <a:cubicBezTo>
                      <a:pt x="3570" y="4199"/>
                      <a:pt x="2210" y="3905"/>
                      <a:pt x="1119" y="3905"/>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1" name="Google Shape;1211;p17"/>
              <p:cNvSpPr/>
              <p:nvPr/>
            </p:nvSpPr>
            <p:spPr>
              <a:xfrm>
                <a:off x="1991100" y="6095250"/>
                <a:ext cx="256925" cy="131450"/>
              </a:xfrm>
              <a:custGeom>
                <a:avLst/>
                <a:gdLst/>
                <a:ahLst/>
                <a:cxnLst/>
                <a:rect l="l" t="t" r="r" b="b"/>
                <a:pathLst>
                  <a:path w="10277" h="5258" extrusionOk="0">
                    <a:moveTo>
                      <a:pt x="90" y="0"/>
                    </a:moveTo>
                    <a:cubicBezTo>
                      <a:pt x="90" y="0"/>
                      <a:pt x="1" y="2823"/>
                      <a:pt x="658" y="3525"/>
                    </a:cubicBezTo>
                    <a:lnTo>
                      <a:pt x="1644" y="3271"/>
                    </a:lnTo>
                    <a:cubicBezTo>
                      <a:pt x="1644" y="3271"/>
                      <a:pt x="1748" y="1957"/>
                      <a:pt x="449" y="135"/>
                    </a:cubicBezTo>
                    <a:lnTo>
                      <a:pt x="90" y="0"/>
                    </a:lnTo>
                    <a:close/>
                    <a:moveTo>
                      <a:pt x="2674" y="1150"/>
                    </a:moveTo>
                    <a:cubicBezTo>
                      <a:pt x="2674" y="1150"/>
                      <a:pt x="2599" y="3973"/>
                      <a:pt x="3257" y="4675"/>
                    </a:cubicBezTo>
                    <a:lnTo>
                      <a:pt x="4227" y="4421"/>
                    </a:lnTo>
                    <a:cubicBezTo>
                      <a:pt x="4227" y="4421"/>
                      <a:pt x="4347" y="3107"/>
                      <a:pt x="3033" y="1285"/>
                    </a:cubicBezTo>
                    <a:lnTo>
                      <a:pt x="2674" y="1150"/>
                    </a:lnTo>
                    <a:close/>
                    <a:moveTo>
                      <a:pt x="8619" y="1688"/>
                    </a:moveTo>
                    <a:lnTo>
                      <a:pt x="8619" y="1688"/>
                    </a:lnTo>
                    <a:cubicBezTo>
                      <a:pt x="8619" y="1688"/>
                      <a:pt x="8544" y="4511"/>
                      <a:pt x="9201" y="5213"/>
                    </a:cubicBezTo>
                    <a:lnTo>
                      <a:pt x="10172" y="4959"/>
                    </a:lnTo>
                    <a:cubicBezTo>
                      <a:pt x="10172" y="4959"/>
                      <a:pt x="10276" y="3644"/>
                      <a:pt x="8977" y="1822"/>
                    </a:cubicBezTo>
                    <a:lnTo>
                      <a:pt x="8619" y="1688"/>
                    </a:lnTo>
                    <a:close/>
                    <a:moveTo>
                      <a:pt x="5751" y="1733"/>
                    </a:moveTo>
                    <a:cubicBezTo>
                      <a:pt x="5751" y="1733"/>
                      <a:pt x="5676" y="4571"/>
                      <a:pt x="6333" y="5258"/>
                    </a:cubicBezTo>
                    <a:lnTo>
                      <a:pt x="7304" y="5019"/>
                    </a:lnTo>
                    <a:cubicBezTo>
                      <a:pt x="7304" y="5019"/>
                      <a:pt x="7409" y="3704"/>
                      <a:pt x="6109" y="1867"/>
                    </a:cubicBezTo>
                    <a:lnTo>
                      <a:pt x="5751" y="1733"/>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2" name="Google Shape;1212;p17"/>
              <p:cNvSpPr/>
              <p:nvPr/>
            </p:nvSpPr>
            <p:spPr>
              <a:xfrm>
                <a:off x="2194975" y="6116900"/>
                <a:ext cx="35875" cy="27075"/>
              </a:xfrm>
              <a:custGeom>
                <a:avLst/>
                <a:gdLst/>
                <a:ahLst/>
                <a:cxnLst/>
                <a:rect l="l" t="t" r="r" b="b"/>
                <a:pathLst>
                  <a:path w="1435" h="1083" extrusionOk="0">
                    <a:moveTo>
                      <a:pt x="1434" y="0"/>
                    </a:moveTo>
                    <a:lnTo>
                      <a:pt x="90" y="239"/>
                    </a:lnTo>
                    <a:cubicBezTo>
                      <a:pt x="90" y="239"/>
                      <a:pt x="1" y="986"/>
                      <a:pt x="673" y="1076"/>
                    </a:cubicBezTo>
                    <a:cubicBezTo>
                      <a:pt x="701" y="1080"/>
                      <a:pt x="729" y="1082"/>
                      <a:pt x="755" y="1082"/>
                    </a:cubicBezTo>
                    <a:cubicBezTo>
                      <a:pt x="1352" y="1082"/>
                      <a:pt x="1434" y="0"/>
                      <a:pt x="1434"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3" name="Google Shape;1213;p17"/>
              <p:cNvSpPr/>
              <p:nvPr/>
            </p:nvSpPr>
            <p:spPr>
              <a:xfrm>
                <a:off x="2123275" y="6118400"/>
                <a:ext cx="35875" cy="27025"/>
              </a:xfrm>
              <a:custGeom>
                <a:avLst/>
                <a:gdLst/>
                <a:ahLst/>
                <a:cxnLst/>
                <a:rect l="l" t="t" r="r" b="b"/>
                <a:pathLst>
                  <a:path w="1435" h="1081" extrusionOk="0">
                    <a:moveTo>
                      <a:pt x="1435" y="0"/>
                    </a:moveTo>
                    <a:lnTo>
                      <a:pt x="90" y="239"/>
                    </a:lnTo>
                    <a:cubicBezTo>
                      <a:pt x="90" y="239"/>
                      <a:pt x="1" y="971"/>
                      <a:pt x="673" y="1076"/>
                    </a:cubicBezTo>
                    <a:cubicBezTo>
                      <a:pt x="698" y="1079"/>
                      <a:pt x="722" y="1080"/>
                      <a:pt x="745" y="1080"/>
                    </a:cubicBezTo>
                    <a:cubicBezTo>
                      <a:pt x="1352" y="1080"/>
                      <a:pt x="1435" y="0"/>
                      <a:pt x="1435" y="0"/>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4" name="Google Shape;1214;p17"/>
              <p:cNvSpPr/>
              <p:nvPr/>
            </p:nvSpPr>
            <p:spPr>
              <a:xfrm>
                <a:off x="2046375" y="6104200"/>
                <a:ext cx="36225" cy="26700"/>
              </a:xfrm>
              <a:custGeom>
                <a:avLst/>
                <a:gdLst/>
                <a:ahLst/>
                <a:cxnLst/>
                <a:rect l="l" t="t" r="r" b="b"/>
                <a:pathLst>
                  <a:path w="1449" h="1068" extrusionOk="0">
                    <a:moveTo>
                      <a:pt x="1449" y="1"/>
                    </a:moveTo>
                    <a:lnTo>
                      <a:pt x="105" y="225"/>
                    </a:lnTo>
                    <a:cubicBezTo>
                      <a:pt x="105" y="225"/>
                      <a:pt x="0" y="971"/>
                      <a:pt x="672" y="1061"/>
                    </a:cubicBezTo>
                    <a:cubicBezTo>
                      <a:pt x="701" y="1066"/>
                      <a:pt x="729" y="1068"/>
                      <a:pt x="756" y="1068"/>
                    </a:cubicBezTo>
                    <a:cubicBezTo>
                      <a:pt x="1353" y="1068"/>
                      <a:pt x="1449" y="1"/>
                      <a:pt x="1449"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5" name="Google Shape;1215;p17"/>
              <p:cNvSpPr/>
              <p:nvPr/>
            </p:nvSpPr>
            <p:spPr>
              <a:xfrm>
                <a:off x="1981775" y="6074700"/>
                <a:ext cx="35875" cy="27075"/>
              </a:xfrm>
              <a:custGeom>
                <a:avLst/>
                <a:gdLst/>
                <a:ahLst/>
                <a:cxnLst/>
                <a:rect l="l" t="t" r="r" b="b"/>
                <a:pathLst>
                  <a:path w="1435" h="1083" extrusionOk="0">
                    <a:moveTo>
                      <a:pt x="1434" y="1"/>
                    </a:moveTo>
                    <a:lnTo>
                      <a:pt x="90" y="240"/>
                    </a:lnTo>
                    <a:cubicBezTo>
                      <a:pt x="90" y="240"/>
                      <a:pt x="0" y="986"/>
                      <a:pt x="672" y="1076"/>
                    </a:cubicBezTo>
                    <a:cubicBezTo>
                      <a:pt x="701" y="1080"/>
                      <a:pt x="728" y="1083"/>
                      <a:pt x="755" y="1083"/>
                    </a:cubicBezTo>
                    <a:cubicBezTo>
                      <a:pt x="1352" y="1083"/>
                      <a:pt x="1434" y="1"/>
                      <a:pt x="1434"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6" name="Google Shape;1216;p17"/>
              <p:cNvSpPr/>
              <p:nvPr/>
            </p:nvSpPr>
            <p:spPr>
              <a:xfrm>
                <a:off x="1718150" y="5343675"/>
                <a:ext cx="177025" cy="102625"/>
              </a:xfrm>
              <a:custGeom>
                <a:avLst/>
                <a:gdLst/>
                <a:ahLst/>
                <a:cxnLst/>
                <a:rect l="l" t="t" r="r" b="b"/>
                <a:pathLst>
                  <a:path w="7081" h="4105" extrusionOk="0">
                    <a:moveTo>
                      <a:pt x="6592" y="0"/>
                    </a:moveTo>
                    <a:cubicBezTo>
                      <a:pt x="6423" y="0"/>
                      <a:pt x="6236" y="66"/>
                      <a:pt x="6079" y="281"/>
                    </a:cubicBezTo>
                    <a:cubicBezTo>
                      <a:pt x="5676" y="834"/>
                      <a:pt x="6363" y="1073"/>
                      <a:pt x="6363" y="1073"/>
                    </a:cubicBezTo>
                    <a:lnTo>
                      <a:pt x="7080" y="162"/>
                    </a:lnTo>
                    <a:cubicBezTo>
                      <a:pt x="7080" y="162"/>
                      <a:pt x="6857" y="0"/>
                      <a:pt x="6592" y="0"/>
                    </a:cubicBezTo>
                    <a:close/>
                    <a:moveTo>
                      <a:pt x="3928" y="605"/>
                    </a:moveTo>
                    <a:cubicBezTo>
                      <a:pt x="3750" y="605"/>
                      <a:pt x="3551" y="674"/>
                      <a:pt x="3391" y="908"/>
                    </a:cubicBezTo>
                    <a:cubicBezTo>
                      <a:pt x="3003" y="1461"/>
                      <a:pt x="3705" y="1685"/>
                      <a:pt x="3705" y="1685"/>
                    </a:cubicBezTo>
                    <a:lnTo>
                      <a:pt x="4392" y="744"/>
                    </a:lnTo>
                    <a:cubicBezTo>
                      <a:pt x="4392" y="744"/>
                      <a:pt x="4181" y="605"/>
                      <a:pt x="3928" y="605"/>
                    </a:cubicBezTo>
                    <a:close/>
                    <a:moveTo>
                      <a:pt x="2308" y="1650"/>
                    </a:moveTo>
                    <a:cubicBezTo>
                      <a:pt x="2104" y="1650"/>
                      <a:pt x="1866" y="1726"/>
                      <a:pt x="1718" y="2029"/>
                    </a:cubicBezTo>
                    <a:cubicBezTo>
                      <a:pt x="1419" y="2641"/>
                      <a:pt x="2136" y="2760"/>
                      <a:pt x="2136" y="2760"/>
                    </a:cubicBezTo>
                    <a:lnTo>
                      <a:pt x="2689" y="1730"/>
                    </a:lnTo>
                    <a:cubicBezTo>
                      <a:pt x="2689" y="1730"/>
                      <a:pt x="2517" y="1650"/>
                      <a:pt x="2308" y="1650"/>
                    </a:cubicBezTo>
                    <a:close/>
                    <a:moveTo>
                      <a:pt x="880" y="2972"/>
                    </a:moveTo>
                    <a:cubicBezTo>
                      <a:pt x="659" y="2972"/>
                      <a:pt x="369" y="3052"/>
                      <a:pt x="240" y="3433"/>
                    </a:cubicBezTo>
                    <a:cubicBezTo>
                      <a:pt x="1" y="4075"/>
                      <a:pt x="747" y="4105"/>
                      <a:pt x="747" y="4105"/>
                    </a:cubicBezTo>
                    <a:lnTo>
                      <a:pt x="1166" y="3014"/>
                    </a:lnTo>
                    <a:cubicBezTo>
                      <a:pt x="1166" y="3014"/>
                      <a:pt x="1041" y="2972"/>
                      <a:pt x="880" y="2972"/>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7" name="Google Shape;1217;p17"/>
              <p:cNvSpPr/>
              <p:nvPr/>
            </p:nvSpPr>
            <p:spPr>
              <a:xfrm>
                <a:off x="2424250" y="5762550"/>
                <a:ext cx="63125" cy="72075"/>
              </a:xfrm>
              <a:custGeom>
                <a:avLst/>
                <a:gdLst/>
                <a:ahLst/>
                <a:cxnLst/>
                <a:rect l="l" t="t" r="r" b="b"/>
                <a:pathLst>
                  <a:path w="2525" h="2883" extrusionOk="0">
                    <a:moveTo>
                      <a:pt x="0" y="0"/>
                    </a:moveTo>
                    <a:lnTo>
                      <a:pt x="15" y="792"/>
                    </a:lnTo>
                    <a:cubicBezTo>
                      <a:pt x="329" y="852"/>
                      <a:pt x="613" y="1001"/>
                      <a:pt x="866" y="1225"/>
                    </a:cubicBezTo>
                    <a:cubicBezTo>
                      <a:pt x="1255" y="1583"/>
                      <a:pt x="1553" y="2166"/>
                      <a:pt x="1733" y="2883"/>
                    </a:cubicBezTo>
                    <a:lnTo>
                      <a:pt x="2524" y="2868"/>
                    </a:lnTo>
                    <a:cubicBezTo>
                      <a:pt x="2315" y="1957"/>
                      <a:pt x="1942" y="1180"/>
                      <a:pt x="1374" y="672"/>
                    </a:cubicBezTo>
                    <a:cubicBezTo>
                      <a:pt x="1046" y="359"/>
                      <a:pt x="598" y="90"/>
                      <a:pt x="0" y="0"/>
                    </a:cubicBezTo>
                    <a:close/>
                  </a:path>
                </a:pathLst>
              </a:custGeom>
              <a:solidFill>
                <a:srgbClr val="CB403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8" name="Google Shape;1218;p17"/>
              <p:cNvSpPr/>
              <p:nvPr/>
            </p:nvSpPr>
            <p:spPr>
              <a:xfrm>
                <a:off x="1727850" y="5347350"/>
                <a:ext cx="793500" cy="783725"/>
              </a:xfrm>
              <a:custGeom>
                <a:avLst/>
                <a:gdLst/>
                <a:ahLst/>
                <a:cxnLst/>
                <a:rect l="l" t="t" r="r" b="b"/>
                <a:pathLst>
                  <a:path w="31740" h="31349" extrusionOk="0">
                    <a:moveTo>
                      <a:pt x="25233" y="15966"/>
                    </a:moveTo>
                    <a:cubicBezTo>
                      <a:pt x="25343" y="15966"/>
                      <a:pt x="25457" y="15988"/>
                      <a:pt x="25571" y="16041"/>
                    </a:cubicBezTo>
                    <a:cubicBezTo>
                      <a:pt x="25959" y="16190"/>
                      <a:pt x="26124" y="16504"/>
                      <a:pt x="26094" y="16847"/>
                    </a:cubicBezTo>
                    <a:cubicBezTo>
                      <a:pt x="26049" y="17325"/>
                      <a:pt x="25646" y="17878"/>
                      <a:pt x="24974" y="18177"/>
                    </a:cubicBezTo>
                    <a:cubicBezTo>
                      <a:pt x="24705" y="18296"/>
                      <a:pt x="24406" y="18386"/>
                      <a:pt x="24062" y="18416"/>
                    </a:cubicBezTo>
                    <a:cubicBezTo>
                      <a:pt x="23977" y="18425"/>
                      <a:pt x="23886" y="18430"/>
                      <a:pt x="23793" y="18430"/>
                    </a:cubicBezTo>
                    <a:cubicBezTo>
                      <a:pt x="23578" y="18430"/>
                      <a:pt x="23346" y="18403"/>
                      <a:pt x="23107" y="18341"/>
                    </a:cubicBezTo>
                    <a:lnTo>
                      <a:pt x="23077" y="18341"/>
                    </a:lnTo>
                    <a:cubicBezTo>
                      <a:pt x="23077" y="18326"/>
                      <a:pt x="23107" y="18281"/>
                      <a:pt x="23151" y="18191"/>
                    </a:cubicBezTo>
                    <a:cubicBezTo>
                      <a:pt x="23360" y="17714"/>
                      <a:pt x="24107" y="16220"/>
                      <a:pt x="25003" y="15996"/>
                    </a:cubicBezTo>
                    <a:cubicBezTo>
                      <a:pt x="25078" y="15977"/>
                      <a:pt x="25154" y="15966"/>
                      <a:pt x="25233" y="15966"/>
                    </a:cubicBezTo>
                    <a:close/>
                    <a:moveTo>
                      <a:pt x="6452" y="0"/>
                    </a:moveTo>
                    <a:cubicBezTo>
                      <a:pt x="5840" y="0"/>
                      <a:pt x="5220" y="136"/>
                      <a:pt x="4631" y="343"/>
                    </a:cubicBezTo>
                    <a:cubicBezTo>
                      <a:pt x="4078" y="552"/>
                      <a:pt x="3526" y="821"/>
                      <a:pt x="3018" y="1120"/>
                    </a:cubicBezTo>
                    <a:cubicBezTo>
                      <a:pt x="1704" y="1911"/>
                      <a:pt x="628" y="2882"/>
                      <a:pt x="210" y="3300"/>
                    </a:cubicBezTo>
                    <a:lnTo>
                      <a:pt x="1" y="3510"/>
                    </a:lnTo>
                    <a:cubicBezTo>
                      <a:pt x="718" y="3749"/>
                      <a:pt x="1226" y="4047"/>
                      <a:pt x="1644" y="4540"/>
                    </a:cubicBezTo>
                    <a:cubicBezTo>
                      <a:pt x="1659" y="4555"/>
                      <a:pt x="1674" y="4570"/>
                      <a:pt x="1674" y="4585"/>
                    </a:cubicBezTo>
                    <a:cubicBezTo>
                      <a:pt x="1733" y="4660"/>
                      <a:pt x="1793" y="4749"/>
                      <a:pt x="1853" y="4824"/>
                    </a:cubicBezTo>
                    <a:cubicBezTo>
                      <a:pt x="1898" y="4899"/>
                      <a:pt x="1928" y="4973"/>
                      <a:pt x="1972" y="5033"/>
                    </a:cubicBezTo>
                    <a:cubicBezTo>
                      <a:pt x="2062" y="5197"/>
                      <a:pt x="2152" y="5362"/>
                      <a:pt x="2226" y="5556"/>
                    </a:cubicBezTo>
                    <a:cubicBezTo>
                      <a:pt x="2435" y="6019"/>
                      <a:pt x="2615" y="6586"/>
                      <a:pt x="2824" y="7288"/>
                    </a:cubicBezTo>
                    <a:cubicBezTo>
                      <a:pt x="3137" y="8409"/>
                      <a:pt x="3481" y="9887"/>
                      <a:pt x="3974" y="11859"/>
                    </a:cubicBezTo>
                    <a:cubicBezTo>
                      <a:pt x="4243" y="12889"/>
                      <a:pt x="4526" y="13815"/>
                      <a:pt x="4855" y="14682"/>
                    </a:cubicBezTo>
                    <a:cubicBezTo>
                      <a:pt x="5288" y="15861"/>
                      <a:pt x="5781" y="16892"/>
                      <a:pt x="6274" y="17788"/>
                    </a:cubicBezTo>
                    <a:cubicBezTo>
                      <a:pt x="6423" y="18012"/>
                      <a:pt x="6543" y="18251"/>
                      <a:pt x="6677" y="18460"/>
                    </a:cubicBezTo>
                    <a:cubicBezTo>
                      <a:pt x="7230" y="19342"/>
                      <a:pt x="7782" y="20088"/>
                      <a:pt x="8290" y="20671"/>
                    </a:cubicBezTo>
                    <a:cubicBezTo>
                      <a:pt x="9336" y="21911"/>
                      <a:pt x="10217" y="22553"/>
                      <a:pt x="10531" y="22762"/>
                    </a:cubicBezTo>
                    <a:cubicBezTo>
                      <a:pt x="10620" y="22822"/>
                      <a:pt x="10665" y="22851"/>
                      <a:pt x="10665" y="22851"/>
                    </a:cubicBezTo>
                    <a:cubicBezTo>
                      <a:pt x="10471" y="23225"/>
                      <a:pt x="10322" y="23628"/>
                      <a:pt x="10187" y="24031"/>
                    </a:cubicBezTo>
                    <a:cubicBezTo>
                      <a:pt x="10083" y="24390"/>
                      <a:pt x="9993" y="24763"/>
                      <a:pt x="9948" y="25122"/>
                    </a:cubicBezTo>
                    <a:cubicBezTo>
                      <a:pt x="9903" y="25391"/>
                      <a:pt x="9873" y="25659"/>
                      <a:pt x="9844" y="25913"/>
                    </a:cubicBezTo>
                    <a:cubicBezTo>
                      <a:pt x="9679" y="27750"/>
                      <a:pt x="10008" y="29289"/>
                      <a:pt x="10008" y="29289"/>
                    </a:cubicBezTo>
                    <a:cubicBezTo>
                      <a:pt x="12698" y="30929"/>
                      <a:pt x="15320" y="31349"/>
                      <a:pt x="17300" y="31349"/>
                    </a:cubicBezTo>
                    <a:cubicBezTo>
                      <a:pt x="19377" y="31349"/>
                      <a:pt x="20747" y="30887"/>
                      <a:pt x="20747" y="30887"/>
                    </a:cubicBezTo>
                    <a:cubicBezTo>
                      <a:pt x="20612" y="30260"/>
                      <a:pt x="20612" y="29199"/>
                      <a:pt x="20627" y="28318"/>
                    </a:cubicBezTo>
                    <a:cubicBezTo>
                      <a:pt x="20627" y="28154"/>
                      <a:pt x="20642" y="27989"/>
                      <a:pt x="20642" y="27840"/>
                    </a:cubicBezTo>
                    <a:cubicBezTo>
                      <a:pt x="20657" y="27526"/>
                      <a:pt x="20672" y="27258"/>
                      <a:pt x="20687" y="27093"/>
                    </a:cubicBezTo>
                    <a:cubicBezTo>
                      <a:pt x="20702" y="26974"/>
                      <a:pt x="20702" y="26899"/>
                      <a:pt x="20702" y="26899"/>
                    </a:cubicBezTo>
                    <a:cubicBezTo>
                      <a:pt x="20702" y="26899"/>
                      <a:pt x="20762" y="26944"/>
                      <a:pt x="20866" y="26989"/>
                    </a:cubicBezTo>
                    <a:cubicBezTo>
                      <a:pt x="21206" y="27159"/>
                      <a:pt x="22030" y="27497"/>
                      <a:pt x="23169" y="27497"/>
                    </a:cubicBezTo>
                    <a:cubicBezTo>
                      <a:pt x="23431" y="27497"/>
                      <a:pt x="23709" y="27479"/>
                      <a:pt x="24003" y="27437"/>
                    </a:cubicBezTo>
                    <a:cubicBezTo>
                      <a:pt x="25317" y="27258"/>
                      <a:pt x="26885" y="26600"/>
                      <a:pt x="28543" y="24928"/>
                    </a:cubicBezTo>
                    <a:cubicBezTo>
                      <a:pt x="28917" y="24554"/>
                      <a:pt x="29245" y="24196"/>
                      <a:pt x="29544" y="23822"/>
                    </a:cubicBezTo>
                    <a:cubicBezTo>
                      <a:pt x="30067" y="23150"/>
                      <a:pt x="30470" y="22478"/>
                      <a:pt x="30784" y="21821"/>
                    </a:cubicBezTo>
                    <a:lnTo>
                      <a:pt x="30784" y="21806"/>
                    </a:lnTo>
                    <a:cubicBezTo>
                      <a:pt x="31725" y="19805"/>
                      <a:pt x="31739" y="17953"/>
                      <a:pt x="31411" y="16534"/>
                    </a:cubicBezTo>
                    <a:cubicBezTo>
                      <a:pt x="31217" y="15712"/>
                      <a:pt x="30918" y="15055"/>
                      <a:pt x="30634" y="14577"/>
                    </a:cubicBezTo>
                    <a:cubicBezTo>
                      <a:pt x="30380" y="14159"/>
                      <a:pt x="29858" y="13830"/>
                      <a:pt x="29156" y="13576"/>
                    </a:cubicBezTo>
                    <a:cubicBezTo>
                      <a:pt x="28663" y="13382"/>
                      <a:pt x="28065" y="13233"/>
                      <a:pt x="27453" y="13083"/>
                    </a:cubicBezTo>
                    <a:cubicBezTo>
                      <a:pt x="25287" y="12650"/>
                      <a:pt x="22644" y="12546"/>
                      <a:pt x="21374" y="12486"/>
                    </a:cubicBezTo>
                    <a:cubicBezTo>
                      <a:pt x="21332" y="12484"/>
                      <a:pt x="21289" y="12483"/>
                      <a:pt x="21245" y="12483"/>
                    </a:cubicBezTo>
                    <a:cubicBezTo>
                      <a:pt x="20953" y="12483"/>
                      <a:pt x="20641" y="12526"/>
                      <a:pt x="20328" y="12591"/>
                    </a:cubicBezTo>
                    <a:cubicBezTo>
                      <a:pt x="18387" y="13024"/>
                      <a:pt x="16236" y="14562"/>
                      <a:pt x="16161" y="14607"/>
                    </a:cubicBezTo>
                    <a:cubicBezTo>
                      <a:pt x="15549" y="14323"/>
                      <a:pt x="14429" y="13024"/>
                      <a:pt x="13936" y="12396"/>
                    </a:cubicBezTo>
                    <a:cubicBezTo>
                      <a:pt x="13772" y="12217"/>
                      <a:pt x="13682" y="12068"/>
                      <a:pt x="13682" y="12068"/>
                    </a:cubicBezTo>
                    <a:cubicBezTo>
                      <a:pt x="13652" y="12038"/>
                      <a:pt x="13622" y="11978"/>
                      <a:pt x="13592" y="11933"/>
                    </a:cubicBezTo>
                    <a:cubicBezTo>
                      <a:pt x="13428" y="11665"/>
                      <a:pt x="13279" y="11381"/>
                      <a:pt x="13144" y="11067"/>
                    </a:cubicBezTo>
                    <a:cubicBezTo>
                      <a:pt x="13144" y="11052"/>
                      <a:pt x="13129" y="11052"/>
                      <a:pt x="13129" y="11037"/>
                    </a:cubicBezTo>
                    <a:cubicBezTo>
                      <a:pt x="12876" y="10500"/>
                      <a:pt x="12651" y="9902"/>
                      <a:pt x="12442" y="9305"/>
                    </a:cubicBezTo>
                    <a:cubicBezTo>
                      <a:pt x="12353" y="9036"/>
                      <a:pt x="12263" y="8767"/>
                      <a:pt x="12174" y="8498"/>
                    </a:cubicBezTo>
                    <a:cubicBezTo>
                      <a:pt x="11457" y="6273"/>
                      <a:pt x="10829" y="3838"/>
                      <a:pt x="9829" y="2165"/>
                    </a:cubicBezTo>
                    <a:cubicBezTo>
                      <a:pt x="9530" y="1658"/>
                      <a:pt x="9201" y="1224"/>
                      <a:pt x="8813" y="881"/>
                    </a:cubicBezTo>
                    <a:cubicBezTo>
                      <a:pt x="8484" y="582"/>
                      <a:pt x="8111" y="343"/>
                      <a:pt x="7678" y="194"/>
                    </a:cubicBezTo>
                    <a:cubicBezTo>
                      <a:pt x="7499" y="134"/>
                      <a:pt x="7304" y="89"/>
                      <a:pt x="7125" y="59"/>
                    </a:cubicBezTo>
                    <a:cubicBezTo>
                      <a:pt x="6903" y="19"/>
                      <a:pt x="6678" y="0"/>
                      <a:pt x="6452"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9" name="Google Shape;1219;p17"/>
              <p:cNvSpPr/>
              <p:nvPr/>
            </p:nvSpPr>
            <p:spPr>
              <a:xfrm>
                <a:off x="2201325" y="5678525"/>
                <a:ext cx="317025" cy="368950"/>
              </a:xfrm>
              <a:custGeom>
                <a:avLst/>
                <a:gdLst/>
                <a:ahLst/>
                <a:cxnLst/>
                <a:rect l="l" t="t" r="r" b="b"/>
                <a:pathLst>
                  <a:path w="12681" h="14758" extrusionOk="0">
                    <a:moveTo>
                      <a:pt x="6279" y="2719"/>
                    </a:moveTo>
                    <a:cubicBezTo>
                      <a:pt x="6390" y="2719"/>
                      <a:pt x="6503" y="2741"/>
                      <a:pt x="6617" y="2794"/>
                    </a:cubicBezTo>
                    <a:cubicBezTo>
                      <a:pt x="7020" y="2943"/>
                      <a:pt x="7185" y="3257"/>
                      <a:pt x="7155" y="3615"/>
                    </a:cubicBezTo>
                    <a:cubicBezTo>
                      <a:pt x="7110" y="4093"/>
                      <a:pt x="6707" y="4646"/>
                      <a:pt x="6035" y="4944"/>
                    </a:cubicBezTo>
                    <a:cubicBezTo>
                      <a:pt x="5766" y="5064"/>
                      <a:pt x="5467" y="5154"/>
                      <a:pt x="5123" y="5183"/>
                    </a:cubicBezTo>
                    <a:cubicBezTo>
                      <a:pt x="5038" y="5193"/>
                      <a:pt x="4947" y="5197"/>
                      <a:pt x="4854" y="5197"/>
                    </a:cubicBezTo>
                    <a:cubicBezTo>
                      <a:pt x="4639" y="5197"/>
                      <a:pt x="4407" y="5171"/>
                      <a:pt x="4168" y="5109"/>
                    </a:cubicBezTo>
                    <a:lnTo>
                      <a:pt x="4138" y="5109"/>
                    </a:lnTo>
                    <a:cubicBezTo>
                      <a:pt x="4123" y="5079"/>
                      <a:pt x="4153" y="5034"/>
                      <a:pt x="4197" y="4944"/>
                    </a:cubicBezTo>
                    <a:cubicBezTo>
                      <a:pt x="4407" y="4467"/>
                      <a:pt x="5153" y="2973"/>
                      <a:pt x="6049" y="2749"/>
                    </a:cubicBezTo>
                    <a:cubicBezTo>
                      <a:pt x="6124" y="2730"/>
                      <a:pt x="6201" y="2719"/>
                      <a:pt x="6279" y="2719"/>
                    </a:cubicBezTo>
                    <a:close/>
                    <a:moveTo>
                      <a:pt x="8439" y="1"/>
                    </a:moveTo>
                    <a:lnTo>
                      <a:pt x="5168" y="2032"/>
                    </a:lnTo>
                    <a:lnTo>
                      <a:pt x="0" y="10142"/>
                    </a:lnTo>
                    <a:lnTo>
                      <a:pt x="1628" y="14757"/>
                    </a:lnTo>
                    <a:cubicBezTo>
                      <a:pt x="1658" y="14205"/>
                      <a:pt x="1673" y="13816"/>
                      <a:pt x="1673" y="13816"/>
                    </a:cubicBezTo>
                    <a:cubicBezTo>
                      <a:pt x="1673" y="13816"/>
                      <a:pt x="1688" y="13831"/>
                      <a:pt x="1733" y="13861"/>
                    </a:cubicBezTo>
                    <a:cubicBezTo>
                      <a:pt x="1763" y="13876"/>
                      <a:pt x="1793" y="13891"/>
                      <a:pt x="1838" y="13921"/>
                    </a:cubicBezTo>
                    <a:cubicBezTo>
                      <a:pt x="2165" y="14091"/>
                      <a:pt x="2987" y="14429"/>
                      <a:pt x="4133" y="14429"/>
                    </a:cubicBezTo>
                    <a:cubicBezTo>
                      <a:pt x="4397" y="14429"/>
                      <a:pt x="4678" y="14411"/>
                      <a:pt x="4974" y="14369"/>
                    </a:cubicBezTo>
                    <a:cubicBezTo>
                      <a:pt x="6273" y="14190"/>
                      <a:pt x="7857" y="13533"/>
                      <a:pt x="9515" y="11860"/>
                    </a:cubicBezTo>
                    <a:cubicBezTo>
                      <a:pt x="9888" y="11486"/>
                      <a:pt x="10217" y="11128"/>
                      <a:pt x="10500" y="10755"/>
                    </a:cubicBezTo>
                    <a:cubicBezTo>
                      <a:pt x="11083" y="10023"/>
                      <a:pt x="11501" y="9291"/>
                      <a:pt x="11815" y="8589"/>
                    </a:cubicBezTo>
                    <a:lnTo>
                      <a:pt x="11815" y="8574"/>
                    </a:lnTo>
                    <a:cubicBezTo>
                      <a:pt x="12666" y="6647"/>
                      <a:pt x="12681" y="4855"/>
                      <a:pt x="12367" y="3466"/>
                    </a:cubicBezTo>
                    <a:cubicBezTo>
                      <a:pt x="12203" y="2629"/>
                      <a:pt x="11919" y="1957"/>
                      <a:pt x="11621" y="1494"/>
                    </a:cubicBezTo>
                    <a:cubicBezTo>
                      <a:pt x="11367" y="1076"/>
                      <a:pt x="10844" y="748"/>
                      <a:pt x="10142" y="494"/>
                    </a:cubicBezTo>
                    <a:cubicBezTo>
                      <a:pt x="9649" y="299"/>
                      <a:pt x="9066" y="150"/>
                      <a:pt x="8439"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0" name="Google Shape;1220;p17"/>
              <p:cNvSpPr/>
              <p:nvPr/>
            </p:nvSpPr>
            <p:spPr>
              <a:xfrm>
                <a:off x="1798050" y="5401100"/>
                <a:ext cx="233775" cy="312925"/>
              </a:xfrm>
              <a:custGeom>
                <a:avLst/>
                <a:gdLst/>
                <a:ahLst/>
                <a:cxnLst/>
                <a:rect l="l" t="t" r="r" b="b"/>
                <a:pathLst>
                  <a:path w="9351" h="12517" extrusionOk="0">
                    <a:moveTo>
                      <a:pt x="7021" y="0"/>
                    </a:moveTo>
                    <a:cubicBezTo>
                      <a:pt x="4422" y="1599"/>
                      <a:pt x="1718" y="3704"/>
                      <a:pt x="1" y="5123"/>
                    </a:cubicBezTo>
                    <a:cubicBezTo>
                      <a:pt x="314" y="6259"/>
                      <a:pt x="658" y="7722"/>
                      <a:pt x="1151" y="9694"/>
                    </a:cubicBezTo>
                    <a:cubicBezTo>
                      <a:pt x="1420" y="10724"/>
                      <a:pt x="1718" y="11650"/>
                      <a:pt x="2032" y="12517"/>
                    </a:cubicBezTo>
                    <a:cubicBezTo>
                      <a:pt x="4153" y="10396"/>
                      <a:pt x="7678" y="7633"/>
                      <a:pt x="9351" y="6348"/>
                    </a:cubicBezTo>
                    <a:cubicBezTo>
                      <a:pt x="8619" y="4123"/>
                      <a:pt x="8006" y="1688"/>
                      <a:pt x="7021"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1" name="Google Shape;1221;p17"/>
              <p:cNvSpPr/>
              <p:nvPr/>
            </p:nvSpPr>
            <p:spPr>
              <a:xfrm>
                <a:off x="1934725" y="5657625"/>
                <a:ext cx="300975" cy="401800"/>
              </a:xfrm>
              <a:custGeom>
                <a:avLst/>
                <a:gdLst/>
                <a:ahLst/>
                <a:cxnLst/>
                <a:rect l="l" t="t" r="r" b="b"/>
                <a:pathLst>
                  <a:path w="12039" h="16072" extrusionOk="0">
                    <a:moveTo>
                      <a:pt x="5646" y="0"/>
                    </a:moveTo>
                    <a:lnTo>
                      <a:pt x="0" y="8260"/>
                    </a:lnTo>
                    <a:cubicBezTo>
                      <a:pt x="1046" y="9500"/>
                      <a:pt x="1927" y="10142"/>
                      <a:pt x="2241" y="10351"/>
                    </a:cubicBezTo>
                    <a:cubicBezTo>
                      <a:pt x="2330" y="10411"/>
                      <a:pt x="2375" y="10440"/>
                      <a:pt x="2375" y="10440"/>
                    </a:cubicBezTo>
                    <a:cubicBezTo>
                      <a:pt x="2181" y="10814"/>
                      <a:pt x="2032" y="11217"/>
                      <a:pt x="1897" y="11620"/>
                    </a:cubicBezTo>
                    <a:cubicBezTo>
                      <a:pt x="1793" y="11979"/>
                      <a:pt x="1718" y="12352"/>
                      <a:pt x="1658" y="12711"/>
                    </a:cubicBezTo>
                    <a:cubicBezTo>
                      <a:pt x="1613" y="12980"/>
                      <a:pt x="1584" y="13248"/>
                      <a:pt x="1554" y="13502"/>
                    </a:cubicBezTo>
                    <a:lnTo>
                      <a:pt x="5706" y="16071"/>
                    </a:lnTo>
                    <a:lnTo>
                      <a:pt x="11874" y="4615"/>
                    </a:lnTo>
                    <a:lnTo>
                      <a:pt x="12039" y="180"/>
                    </a:lnTo>
                    <a:lnTo>
                      <a:pt x="12039" y="180"/>
                    </a:lnTo>
                    <a:cubicBezTo>
                      <a:pt x="10112" y="598"/>
                      <a:pt x="7946" y="2151"/>
                      <a:pt x="7871" y="2211"/>
                    </a:cubicBezTo>
                    <a:cubicBezTo>
                      <a:pt x="7259" y="1927"/>
                      <a:pt x="6139" y="628"/>
                      <a:pt x="5646"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2" name="Google Shape;1222;p17"/>
              <p:cNvSpPr/>
              <p:nvPr/>
            </p:nvSpPr>
            <p:spPr>
              <a:xfrm>
                <a:off x="2202075" y="5802500"/>
                <a:ext cx="126975" cy="252450"/>
              </a:xfrm>
              <a:custGeom>
                <a:avLst/>
                <a:gdLst/>
                <a:ahLst/>
                <a:cxnLst/>
                <a:rect l="l" t="t" r="r" b="b"/>
                <a:pathLst>
                  <a:path w="5079" h="10098" extrusionOk="0">
                    <a:moveTo>
                      <a:pt x="4152" y="0"/>
                    </a:moveTo>
                    <a:lnTo>
                      <a:pt x="1569" y="837"/>
                    </a:lnTo>
                    <a:lnTo>
                      <a:pt x="0" y="9709"/>
                    </a:lnTo>
                    <a:lnTo>
                      <a:pt x="1643" y="10097"/>
                    </a:lnTo>
                    <a:cubicBezTo>
                      <a:pt x="1658" y="9320"/>
                      <a:pt x="1703" y="8693"/>
                      <a:pt x="1703" y="8693"/>
                    </a:cubicBezTo>
                    <a:cubicBezTo>
                      <a:pt x="1703" y="8693"/>
                      <a:pt x="1763" y="8708"/>
                      <a:pt x="1867" y="8768"/>
                    </a:cubicBezTo>
                    <a:cubicBezTo>
                      <a:pt x="2207" y="8938"/>
                      <a:pt x="3041" y="9276"/>
                      <a:pt x="4184" y="9276"/>
                    </a:cubicBezTo>
                    <a:cubicBezTo>
                      <a:pt x="4446" y="9276"/>
                      <a:pt x="4726" y="9258"/>
                      <a:pt x="5019" y="9216"/>
                    </a:cubicBezTo>
                    <a:lnTo>
                      <a:pt x="5079" y="210"/>
                    </a:lnTo>
                    <a:lnTo>
                      <a:pt x="5079" y="210"/>
                    </a:lnTo>
                    <a:cubicBezTo>
                      <a:pt x="4989" y="219"/>
                      <a:pt x="4894" y="224"/>
                      <a:pt x="4796" y="224"/>
                    </a:cubicBezTo>
                    <a:cubicBezTo>
                      <a:pt x="4584" y="224"/>
                      <a:pt x="4353" y="201"/>
                      <a:pt x="4108" y="150"/>
                    </a:cubicBezTo>
                    <a:lnTo>
                      <a:pt x="4078" y="150"/>
                    </a:lnTo>
                    <a:cubicBezTo>
                      <a:pt x="4093" y="135"/>
                      <a:pt x="4108" y="90"/>
                      <a:pt x="4152" y="0"/>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3" name="Google Shape;1223;p17"/>
              <p:cNvSpPr/>
              <p:nvPr/>
            </p:nvSpPr>
            <p:spPr>
              <a:xfrm>
                <a:off x="1726750" y="5348450"/>
                <a:ext cx="221075" cy="154175"/>
              </a:xfrm>
              <a:custGeom>
                <a:avLst/>
                <a:gdLst/>
                <a:ahLst/>
                <a:cxnLst/>
                <a:rect l="l" t="t" r="r" b="b"/>
                <a:pathLst>
                  <a:path w="8843" h="6167" extrusionOk="0">
                    <a:moveTo>
                      <a:pt x="7169" y="0"/>
                    </a:moveTo>
                    <a:cubicBezTo>
                      <a:pt x="7020" y="30"/>
                      <a:pt x="6900" y="45"/>
                      <a:pt x="6766" y="60"/>
                    </a:cubicBezTo>
                    <a:cubicBezTo>
                      <a:pt x="6960" y="299"/>
                      <a:pt x="7154" y="538"/>
                      <a:pt x="7378" y="717"/>
                    </a:cubicBezTo>
                    <a:cubicBezTo>
                      <a:pt x="7363" y="732"/>
                      <a:pt x="7334" y="762"/>
                      <a:pt x="7334" y="792"/>
                    </a:cubicBezTo>
                    <a:cubicBezTo>
                      <a:pt x="7558" y="956"/>
                      <a:pt x="7797" y="1061"/>
                      <a:pt x="8080" y="1076"/>
                    </a:cubicBezTo>
                    <a:cubicBezTo>
                      <a:pt x="8095" y="1106"/>
                      <a:pt x="8125" y="1136"/>
                      <a:pt x="8140" y="1165"/>
                    </a:cubicBezTo>
                    <a:cubicBezTo>
                      <a:pt x="8439" y="1121"/>
                      <a:pt x="8708" y="1076"/>
                      <a:pt x="8842" y="822"/>
                    </a:cubicBezTo>
                    <a:cubicBezTo>
                      <a:pt x="8513" y="523"/>
                      <a:pt x="8140" y="284"/>
                      <a:pt x="7707" y="135"/>
                    </a:cubicBezTo>
                    <a:cubicBezTo>
                      <a:pt x="7528" y="75"/>
                      <a:pt x="7348" y="30"/>
                      <a:pt x="7169" y="0"/>
                    </a:cubicBezTo>
                    <a:close/>
                    <a:moveTo>
                      <a:pt x="6019" y="90"/>
                    </a:moveTo>
                    <a:cubicBezTo>
                      <a:pt x="5780" y="374"/>
                      <a:pt x="5601" y="643"/>
                      <a:pt x="5452" y="971"/>
                    </a:cubicBezTo>
                    <a:cubicBezTo>
                      <a:pt x="5407" y="956"/>
                      <a:pt x="5377" y="956"/>
                      <a:pt x="5332" y="941"/>
                    </a:cubicBezTo>
                    <a:cubicBezTo>
                      <a:pt x="5272" y="1150"/>
                      <a:pt x="5257" y="1345"/>
                      <a:pt x="5317" y="1554"/>
                    </a:cubicBezTo>
                    <a:cubicBezTo>
                      <a:pt x="5287" y="1554"/>
                      <a:pt x="5257" y="1569"/>
                      <a:pt x="5228" y="1584"/>
                    </a:cubicBezTo>
                    <a:cubicBezTo>
                      <a:pt x="5392" y="1927"/>
                      <a:pt x="5586" y="2151"/>
                      <a:pt x="5974" y="2256"/>
                    </a:cubicBezTo>
                    <a:cubicBezTo>
                      <a:pt x="5974" y="2345"/>
                      <a:pt x="5959" y="2420"/>
                      <a:pt x="5959" y="2510"/>
                    </a:cubicBezTo>
                    <a:cubicBezTo>
                      <a:pt x="5631" y="2226"/>
                      <a:pt x="5317" y="1897"/>
                      <a:pt x="5004" y="1584"/>
                    </a:cubicBezTo>
                    <a:cubicBezTo>
                      <a:pt x="5272" y="1210"/>
                      <a:pt x="5213" y="882"/>
                      <a:pt x="5018" y="463"/>
                    </a:cubicBezTo>
                    <a:lnTo>
                      <a:pt x="5018" y="463"/>
                    </a:lnTo>
                    <a:cubicBezTo>
                      <a:pt x="4974" y="478"/>
                      <a:pt x="4944" y="478"/>
                      <a:pt x="4899" y="493"/>
                    </a:cubicBezTo>
                    <a:cubicBezTo>
                      <a:pt x="4809" y="404"/>
                      <a:pt x="4735" y="344"/>
                      <a:pt x="4645" y="284"/>
                    </a:cubicBezTo>
                    <a:cubicBezTo>
                      <a:pt x="4092" y="493"/>
                      <a:pt x="3540" y="762"/>
                      <a:pt x="3032" y="1061"/>
                    </a:cubicBezTo>
                    <a:cubicBezTo>
                      <a:pt x="3152" y="1150"/>
                      <a:pt x="3286" y="1225"/>
                      <a:pt x="3420" y="1300"/>
                    </a:cubicBezTo>
                    <a:cubicBezTo>
                      <a:pt x="3390" y="1345"/>
                      <a:pt x="3376" y="1375"/>
                      <a:pt x="3346" y="1389"/>
                    </a:cubicBezTo>
                    <a:cubicBezTo>
                      <a:pt x="3525" y="1524"/>
                      <a:pt x="3719" y="1628"/>
                      <a:pt x="3928" y="1718"/>
                    </a:cubicBezTo>
                    <a:cubicBezTo>
                      <a:pt x="3913" y="1733"/>
                      <a:pt x="3898" y="1778"/>
                      <a:pt x="3898" y="1808"/>
                    </a:cubicBezTo>
                    <a:cubicBezTo>
                      <a:pt x="4058" y="1843"/>
                      <a:pt x="4204" y="1867"/>
                      <a:pt x="4343" y="1867"/>
                    </a:cubicBezTo>
                    <a:cubicBezTo>
                      <a:pt x="4555" y="1867"/>
                      <a:pt x="4751" y="1812"/>
                      <a:pt x="4959" y="1658"/>
                    </a:cubicBezTo>
                    <a:cubicBezTo>
                      <a:pt x="5257" y="1972"/>
                      <a:pt x="5556" y="2286"/>
                      <a:pt x="5885" y="2584"/>
                    </a:cubicBezTo>
                    <a:cubicBezTo>
                      <a:pt x="5795" y="2599"/>
                      <a:pt x="5691" y="2599"/>
                      <a:pt x="5601" y="2614"/>
                    </a:cubicBezTo>
                    <a:cubicBezTo>
                      <a:pt x="5496" y="2241"/>
                      <a:pt x="5272" y="2062"/>
                      <a:pt x="4944" y="1882"/>
                    </a:cubicBezTo>
                    <a:lnTo>
                      <a:pt x="4899" y="1957"/>
                    </a:lnTo>
                    <a:cubicBezTo>
                      <a:pt x="4822" y="1935"/>
                      <a:pt x="4750" y="1925"/>
                      <a:pt x="4678" y="1925"/>
                    </a:cubicBezTo>
                    <a:cubicBezTo>
                      <a:pt x="4554" y="1925"/>
                      <a:pt x="4434" y="1955"/>
                      <a:pt x="4302" y="2002"/>
                    </a:cubicBezTo>
                    <a:cubicBezTo>
                      <a:pt x="4317" y="2047"/>
                      <a:pt x="4317" y="2062"/>
                      <a:pt x="4317" y="2091"/>
                    </a:cubicBezTo>
                    <a:cubicBezTo>
                      <a:pt x="3958" y="2211"/>
                      <a:pt x="3615" y="2301"/>
                      <a:pt x="3256" y="2435"/>
                    </a:cubicBezTo>
                    <a:cubicBezTo>
                      <a:pt x="3495" y="2659"/>
                      <a:pt x="3749" y="2868"/>
                      <a:pt x="4018" y="3032"/>
                    </a:cubicBezTo>
                    <a:cubicBezTo>
                      <a:pt x="4003" y="3062"/>
                      <a:pt x="3988" y="3077"/>
                      <a:pt x="3973" y="3107"/>
                    </a:cubicBezTo>
                    <a:cubicBezTo>
                      <a:pt x="4215" y="3222"/>
                      <a:pt x="4435" y="3293"/>
                      <a:pt x="4689" y="3293"/>
                    </a:cubicBezTo>
                    <a:cubicBezTo>
                      <a:pt x="4733" y="3293"/>
                      <a:pt x="4778" y="3291"/>
                      <a:pt x="4824" y="3286"/>
                    </a:cubicBezTo>
                    <a:cubicBezTo>
                      <a:pt x="4839" y="3316"/>
                      <a:pt x="4869" y="3346"/>
                      <a:pt x="4899" y="3376"/>
                    </a:cubicBezTo>
                    <a:cubicBezTo>
                      <a:pt x="5302" y="3242"/>
                      <a:pt x="5631" y="3122"/>
                      <a:pt x="5616" y="2674"/>
                    </a:cubicBezTo>
                    <a:cubicBezTo>
                      <a:pt x="5720" y="2659"/>
                      <a:pt x="5825" y="2644"/>
                      <a:pt x="5945" y="2644"/>
                    </a:cubicBezTo>
                    <a:cubicBezTo>
                      <a:pt x="6154" y="2793"/>
                      <a:pt x="6452" y="3182"/>
                      <a:pt x="6542" y="3346"/>
                    </a:cubicBezTo>
                    <a:cubicBezTo>
                      <a:pt x="6557" y="3376"/>
                      <a:pt x="6572" y="3406"/>
                      <a:pt x="6587" y="3406"/>
                    </a:cubicBezTo>
                    <a:cubicBezTo>
                      <a:pt x="6587" y="3406"/>
                      <a:pt x="6587" y="3406"/>
                      <a:pt x="6587" y="3406"/>
                    </a:cubicBezTo>
                    <a:lnTo>
                      <a:pt x="6587" y="3406"/>
                    </a:lnTo>
                    <a:cubicBezTo>
                      <a:pt x="6587" y="3414"/>
                      <a:pt x="6592" y="3423"/>
                      <a:pt x="6593" y="3423"/>
                    </a:cubicBezTo>
                    <a:cubicBezTo>
                      <a:pt x="6594" y="3423"/>
                      <a:pt x="6593" y="3418"/>
                      <a:pt x="6587" y="3406"/>
                    </a:cubicBezTo>
                    <a:lnTo>
                      <a:pt x="6587" y="3406"/>
                    </a:lnTo>
                    <a:cubicBezTo>
                      <a:pt x="6597" y="3427"/>
                      <a:pt x="6615" y="3448"/>
                      <a:pt x="6630" y="3448"/>
                    </a:cubicBezTo>
                    <a:cubicBezTo>
                      <a:pt x="6636" y="3448"/>
                      <a:pt x="6642" y="3444"/>
                      <a:pt x="6646" y="3436"/>
                    </a:cubicBezTo>
                    <a:cubicBezTo>
                      <a:pt x="6661" y="3406"/>
                      <a:pt x="6661" y="3391"/>
                      <a:pt x="6632" y="3346"/>
                    </a:cubicBezTo>
                    <a:cubicBezTo>
                      <a:pt x="6437" y="3047"/>
                      <a:pt x="6228" y="2793"/>
                      <a:pt x="5974" y="2569"/>
                    </a:cubicBezTo>
                    <a:cubicBezTo>
                      <a:pt x="5989" y="2465"/>
                      <a:pt x="5989" y="2390"/>
                      <a:pt x="5989" y="2286"/>
                    </a:cubicBezTo>
                    <a:cubicBezTo>
                      <a:pt x="6022" y="2288"/>
                      <a:pt x="6053" y="2290"/>
                      <a:pt x="6082" y="2290"/>
                    </a:cubicBezTo>
                    <a:cubicBezTo>
                      <a:pt x="6380" y="2290"/>
                      <a:pt x="6547" y="2151"/>
                      <a:pt x="6751" y="1852"/>
                    </a:cubicBezTo>
                    <a:lnTo>
                      <a:pt x="6676" y="1778"/>
                    </a:lnTo>
                    <a:cubicBezTo>
                      <a:pt x="6751" y="1554"/>
                      <a:pt x="6721" y="1375"/>
                      <a:pt x="6661" y="1150"/>
                    </a:cubicBezTo>
                    <a:lnTo>
                      <a:pt x="6557" y="1150"/>
                    </a:lnTo>
                    <a:cubicBezTo>
                      <a:pt x="6422" y="762"/>
                      <a:pt x="6243" y="419"/>
                      <a:pt x="6019" y="90"/>
                    </a:cubicBezTo>
                    <a:close/>
                    <a:moveTo>
                      <a:pt x="762" y="3092"/>
                    </a:moveTo>
                    <a:cubicBezTo>
                      <a:pt x="732" y="3137"/>
                      <a:pt x="717" y="3167"/>
                      <a:pt x="702" y="3212"/>
                    </a:cubicBezTo>
                    <a:cubicBezTo>
                      <a:pt x="523" y="3212"/>
                      <a:pt x="373" y="3227"/>
                      <a:pt x="209" y="3242"/>
                    </a:cubicBezTo>
                    <a:cubicBezTo>
                      <a:pt x="75" y="3376"/>
                      <a:pt x="0" y="3451"/>
                      <a:pt x="0" y="3451"/>
                    </a:cubicBezTo>
                    <a:cubicBezTo>
                      <a:pt x="747" y="3705"/>
                      <a:pt x="1255" y="4003"/>
                      <a:pt x="1658" y="4466"/>
                    </a:cubicBezTo>
                    <a:cubicBezTo>
                      <a:pt x="1897" y="4108"/>
                      <a:pt x="1822" y="3794"/>
                      <a:pt x="1628" y="3421"/>
                    </a:cubicBezTo>
                    <a:cubicBezTo>
                      <a:pt x="1598" y="3436"/>
                      <a:pt x="1568" y="3436"/>
                      <a:pt x="1524" y="3451"/>
                    </a:cubicBezTo>
                    <a:cubicBezTo>
                      <a:pt x="1299" y="3227"/>
                      <a:pt x="1061" y="3137"/>
                      <a:pt x="762" y="3092"/>
                    </a:cubicBezTo>
                    <a:close/>
                    <a:moveTo>
                      <a:pt x="2524" y="3077"/>
                    </a:moveTo>
                    <a:cubicBezTo>
                      <a:pt x="2300" y="3346"/>
                      <a:pt x="2136" y="3600"/>
                      <a:pt x="2016" y="3914"/>
                    </a:cubicBezTo>
                    <a:cubicBezTo>
                      <a:pt x="1987" y="3914"/>
                      <a:pt x="1942" y="3914"/>
                      <a:pt x="1927" y="3899"/>
                    </a:cubicBezTo>
                    <a:cubicBezTo>
                      <a:pt x="1867" y="4078"/>
                      <a:pt x="1867" y="4257"/>
                      <a:pt x="1927" y="4451"/>
                    </a:cubicBezTo>
                    <a:cubicBezTo>
                      <a:pt x="1897" y="4466"/>
                      <a:pt x="1882" y="4481"/>
                      <a:pt x="1852" y="4496"/>
                    </a:cubicBezTo>
                    <a:cubicBezTo>
                      <a:pt x="2016" y="4825"/>
                      <a:pt x="2211" y="5019"/>
                      <a:pt x="2569" y="5094"/>
                    </a:cubicBezTo>
                    <a:lnTo>
                      <a:pt x="2569" y="5333"/>
                    </a:lnTo>
                    <a:cubicBezTo>
                      <a:pt x="2270" y="5079"/>
                      <a:pt x="1972" y="4810"/>
                      <a:pt x="1688" y="4541"/>
                    </a:cubicBezTo>
                    <a:lnTo>
                      <a:pt x="1688" y="4541"/>
                    </a:lnTo>
                    <a:cubicBezTo>
                      <a:pt x="1748" y="4601"/>
                      <a:pt x="1807" y="4705"/>
                      <a:pt x="1867" y="4780"/>
                    </a:cubicBezTo>
                    <a:cubicBezTo>
                      <a:pt x="2076" y="4989"/>
                      <a:pt x="2285" y="5183"/>
                      <a:pt x="2509" y="5377"/>
                    </a:cubicBezTo>
                    <a:cubicBezTo>
                      <a:pt x="2420" y="5392"/>
                      <a:pt x="2330" y="5407"/>
                      <a:pt x="2240" y="5422"/>
                    </a:cubicBezTo>
                    <a:cubicBezTo>
                      <a:pt x="2196" y="5243"/>
                      <a:pt x="2106" y="5108"/>
                      <a:pt x="1987" y="4989"/>
                    </a:cubicBezTo>
                    <a:lnTo>
                      <a:pt x="1987" y="4989"/>
                    </a:lnTo>
                    <a:cubicBezTo>
                      <a:pt x="2091" y="5138"/>
                      <a:pt x="2166" y="5318"/>
                      <a:pt x="2255" y="5512"/>
                    </a:cubicBezTo>
                    <a:lnTo>
                      <a:pt x="2255" y="5437"/>
                    </a:lnTo>
                    <a:cubicBezTo>
                      <a:pt x="2345" y="5437"/>
                      <a:pt x="2450" y="5422"/>
                      <a:pt x="2554" y="5422"/>
                    </a:cubicBezTo>
                    <a:cubicBezTo>
                      <a:pt x="2763" y="5557"/>
                      <a:pt x="3047" y="5900"/>
                      <a:pt x="3137" y="6049"/>
                    </a:cubicBezTo>
                    <a:cubicBezTo>
                      <a:pt x="3152" y="6079"/>
                      <a:pt x="3166" y="6109"/>
                      <a:pt x="3181" y="6109"/>
                    </a:cubicBezTo>
                    <a:lnTo>
                      <a:pt x="3181" y="6124"/>
                    </a:lnTo>
                    <a:cubicBezTo>
                      <a:pt x="3192" y="6145"/>
                      <a:pt x="3210" y="6166"/>
                      <a:pt x="3225" y="6166"/>
                    </a:cubicBezTo>
                    <a:cubicBezTo>
                      <a:pt x="3231" y="6166"/>
                      <a:pt x="3237" y="6163"/>
                      <a:pt x="3241" y="6154"/>
                    </a:cubicBezTo>
                    <a:cubicBezTo>
                      <a:pt x="3271" y="6109"/>
                      <a:pt x="3256" y="6109"/>
                      <a:pt x="3226" y="6064"/>
                    </a:cubicBezTo>
                    <a:cubicBezTo>
                      <a:pt x="3047" y="5796"/>
                      <a:pt x="2838" y="5572"/>
                      <a:pt x="2599" y="5362"/>
                    </a:cubicBezTo>
                    <a:lnTo>
                      <a:pt x="2599" y="5094"/>
                    </a:lnTo>
                    <a:cubicBezTo>
                      <a:pt x="2942" y="5094"/>
                      <a:pt x="3107" y="4974"/>
                      <a:pt x="3271" y="4675"/>
                    </a:cubicBezTo>
                    <a:cubicBezTo>
                      <a:pt x="3241" y="4660"/>
                      <a:pt x="3226" y="4631"/>
                      <a:pt x="3196" y="4616"/>
                    </a:cubicBezTo>
                    <a:cubicBezTo>
                      <a:pt x="3256" y="4421"/>
                      <a:pt x="3226" y="4242"/>
                      <a:pt x="3152" y="4048"/>
                    </a:cubicBezTo>
                    <a:lnTo>
                      <a:pt x="3062" y="4048"/>
                    </a:lnTo>
                    <a:cubicBezTo>
                      <a:pt x="2927" y="3705"/>
                      <a:pt x="2748" y="3391"/>
                      <a:pt x="2524" y="3077"/>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4" name="Google Shape;1224;p17"/>
              <p:cNvSpPr/>
              <p:nvPr/>
            </p:nvSpPr>
            <p:spPr>
              <a:xfrm>
                <a:off x="1968700" y="5385050"/>
                <a:ext cx="400" cy="25"/>
              </a:xfrm>
              <a:custGeom>
                <a:avLst/>
                <a:gdLst/>
                <a:ahLst/>
                <a:cxnLst/>
                <a:rect l="l" t="t" r="r" b="b"/>
                <a:pathLst>
                  <a:path w="16" h="1" extrusionOk="0">
                    <a:moveTo>
                      <a:pt x="15" y="0"/>
                    </a:moveTo>
                    <a:lnTo>
                      <a:pt x="15" y="0"/>
                    </a:lnTo>
                    <a:cubicBezTo>
                      <a:pt x="0" y="0"/>
                      <a:pt x="0" y="0"/>
                      <a:pt x="15" y="0"/>
                    </a:cubicBezTo>
                    <a:cubicBezTo>
                      <a:pt x="0" y="0"/>
                      <a:pt x="0" y="0"/>
                      <a:pt x="15" y="0"/>
                    </a:cubicBezTo>
                    <a:close/>
                  </a:path>
                </a:pathLst>
              </a:custGeom>
              <a:solidFill>
                <a:srgbClr val="FCC88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5" name="Google Shape;1225;p17"/>
              <p:cNvSpPr/>
              <p:nvPr/>
            </p:nvSpPr>
            <p:spPr>
              <a:xfrm>
                <a:off x="1969075" y="5385425"/>
                <a:ext cx="25" cy="400"/>
              </a:xfrm>
              <a:custGeom>
                <a:avLst/>
                <a:gdLst/>
                <a:ahLst/>
                <a:cxnLst/>
                <a:rect l="l" t="t" r="r" b="b"/>
                <a:pathLst>
                  <a:path w="1" h="16" extrusionOk="0">
                    <a:moveTo>
                      <a:pt x="0" y="15"/>
                    </a:moveTo>
                    <a:lnTo>
                      <a:pt x="0" y="15"/>
                    </a:lnTo>
                    <a:cubicBezTo>
                      <a:pt x="0" y="15"/>
                      <a:pt x="0" y="0"/>
                      <a:pt x="0" y="15"/>
                    </a:cubicBezTo>
                    <a:cubicBezTo>
                      <a:pt x="0" y="0"/>
                      <a:pt x="0" y="0"/>
                      <a:pt x="0" y="15"/>
                    </a:cubicBezTo>
                    <a:cubicBezTo>
                      <a:pt x="0" y="0"/>
                      <a:pt x="0" y="0"/>
                      <a:pt x="0" y="15"/>
                    </a:cubicBezTo>
                    <a:close/>
                  </a:path>
                </a:pathLst>
              </a:custGeom>
              <a:solidFill>
                <a:srgbClr val="FCC88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6" name="Google Shape;1226;p17"/>
              <p:cNvSpPr/>
              <p:nvPr/>
            </p:nvSpPr>
            <p:spPr>
              <a:xfrm>
                <a:off x="2351800" y="5760300"/>
                <a:ext cx="171425" cy="182250"/>
              </a:xfrm>
              <a:custGeom>
                <a:avLst/>
                <a:gdLst/>
                <a:ahLst/>
                <a:cxnLst/>
                <a:rect l="l" t="t" r="r" b="b"/>
                <a:pathLst>
                  <a:path w="6857" h="7290" extrusionOk="0">
                    <a:moveTo>
                      <a:pt x="6438" y="1"/>
                    </a:moveTo>
                    <a:lnTo>
                      <a:pt x="6438" y="1"/>
                    </a:lnTo>
                    <a:cubicBezTo>
                      <a:pt x="4646" y="16"/>
                      <a:pt x="2614" y="90"/>
                      <a:pt x="1121" y="344"/>
                    </a:cubicBezTo>
                    <a:cubicBezTo>
                      <a:pt x="1076" y="822"/>
                      <a:pt x="688" y="1375"/>
                      <a:pt x="1" y="1673"/>
                    </a:cubicBezTo>
                    <a:cubicBezTo>
                      <a:pt x="718" y="2674"/>
                      <a:pt x="2629" y="5228"/>
                      <a:pt x="4556" y="7289"/>
                    </a:cubicBezTo>
                    <a:cubicBezTo>
                      <a:pt x="6677" y="4571"/>
                      <a:pt x="6856" y="1912"/>
                      <a:pt x="6438"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7" name="Google Shape;1227;p17"/>
              <p:cNvSpPr/>
              <p:nvPr/>
            </p:nvSpPr>
            <p:spPr>
              <a:xfrm>
                <a:off x="1866400" y="5579950"/>
                <a:ext cx="200900" cy="233550"/>
              </a:xfrm>
              <a:custGeom>
                <a:avLst/>
                <a:gdLst/>
                <a:ahLst/>
                <a:cxnLst/>
                <a:rect l="l" t="t" r="r" b="b"/>
                <a:pathLst>
                  <a:path w="8036" h="9342" extrusionOk="0">
                    <a:moveTo>
                      <a:pt x="6856" y="1"/>
                    </a:moveTo>
                    <a:cubicBezTo>
                      <a:pt x="6796" y="449"/>
                      <a:pt x="6915" y="1016"/>
                      <a:pt x="6915" y="1016"/>
                    </a:cubicBezTo>
                    <a:lnTo>
                      <a:pt x="6826" y="1061"/>
                    </a:lnTo>
                    <a:cubicBezTo>
                      <a:pt x="6885" y="1390"/>
                      <a:pt x="7109" y="1524"/>
                      <a:pt x="7109" y="1524"/>
                    </a:cubicBezTo>
                    <a:lnTo>
                      <a:pt x="7065" y="1584"/>
                    </a:lnTo>
                    <a:cubicBezTo>
                      <a:pt x="7229" y="1698"/>
                      <a:pt x="7373" y="1737"/>
                      <a:pt x="7494" y="1737"/>
                    </a:cubicBezTo>
                    <a:cubicBezTo>
                      <a:pt x="7516" y="1737"/>
                      <a:pt x="7537" y="1735"/>
                      <a:pt x="7558" y="1733"/>
                    </a:cubicBezTo>
                    <a:cubicBezTo>
                      <a:pt x="7319" y="1196"/>
                      <a:pt x="7080" y="613"/>
                      <a:pt x="6871" y="1"/>
                    </a:cubicBezTo>
                    <a:close/>
                    <a:moveTo>
                      <a:pt x="7558" y="1748"/>
                    </a:moveTo>
                    <a:cubicBezTo>
                      <a:pt x="7498" y="1748"/>
                      <a:pt x="7438" y="1763"/>
                      <a:pt x="7348" y="1793"/>
                    </a:cubicBezTo>
                    <a:lnTo>
                      <a:pt x="7348" y="1868"/>
                    </a:lnTo>
                    <a:cubicBezTo>
                      <a:pt x="7348" y="1868"/>
                      <a:pt x="6930" y="2002"/>
                      <a:pt x="6646" y="2226"/>
                    </a:cubicBezTo>
                    <a:cubicBezTo>
                      <a:pt x="6900" y="2480"/>
                      <a:pt x="7319" y="2659"/>
                      <a:pt x="7319" y="2659"/>
                    </a:cubicBezTo>
                    <a:lnTo>
                      <a:pt x="7304" y="2734"/>
                    </a:lnTo>
                    <a:cubicBezTo>
                      <a:pt x="7393" y="2782"/>
                      <a:pt x="7478" y="2796"/>
                      <a:pt x="7548" y="2796"/>
                    </a:cubicBezTo>
                    <a:cubicBezTo>
                      <a:pt x="7652" y="2796"/>
                      <a:pt x="7722" y="2764"/>
                      <a:pt x="7722" y="2764"/>
                    </a:cubicBezTo>
                    <a:lnTo>
                      <a:pt x="7767" y="2824"/>
                    </a:lnTo>
                    <a:cubicBezTo>
                      <a:pt x="7901" y="2764"/>
                      <a:pt x="7991" y="2704"/>
                      <a:pt x="8036" y="2629"/>
                    </a:cubicBezTo>
                    <a:cubicBezTo>
                      <a:pt x="7871" y="2361"/>
                      <a:pt x="7722" y="2077"/>
                      <a:pt x="7558" y="1748"/>
                    </a:cubicBezTo>
                    <a:close/>
                    <a:moveTo>
                      <a:pt x="3361" y="2480"/>
                    </a:moveTo>
                    <a:cubicBezTo>
                      <a:pt x="3331" y="3048"/>
                      <a:pt x="3555" y="3720"/>
                      <a:pt x="3555" y="3720"/>
                    </a:cubicBezTo>
                    <a:lnTo>
                      <a:pt x="3450" y="3779"/>
                    </a:lnTo>
                    <a:cubicBezTo>
                      <a:pt x="3570" y="4183"/>
                      <a:pt x="3853" y="4317"/>
                      <a:pt x="3853" y="4317"/>
                    </a:cubicBezTo>
                    <a:lnTo>
                      <a:pt x="3824" y="4422"/>
                    </a:lnTo>
                    <a:cubicBezTo>
                      <a:pt x="3989" y="4507"/>
                      <a:pt x="4140" y="4538"/>
                      <a:pt x="4271" y="4538"/>
                    </a:cubicBezTo>
                    <a:cubicBezTo>
                      <a:pt x="4555" y="4538"/>
                      <a:pt x="4748" y="4393"/>
                      <a:pt x="4809" y="4332"/>
                    </a:cubicBezTo>
                    <a:lnTo>
                      <a:pt x="5452" y="5124"/>
                    </a:lnTo>
                    <a:lnTo>
                      <a:pt x="5228" y="5139"/>
                    </a:lnTo>
                    <a:cubicBezTo>
                      <a:pt x="5228" y="5079"/>
                      <a:pt x="5198" y="4691"/>
                      <a:pt x="4780" y="4526"/>
                    </a:cubicBezTo>
                    <a:lnTo>
                      <a:pt x="4735" y="4601"/>
                    </a:lnTo>
                    <a:cubicBezTo>
                      <a:pt x="4735" y="4601"/>
                      <a:pt x="4652" y="4562"/>
                      <a:pt x="4519" y="4562"/>
                    </a:cubicBezTo>
                    <a:cubicBezTo>
                      <a:pt x="4434" y="4562"/>
                      <a:pt x="4329" y="4578"/>
                      <a:pt x="4212" y="4631"/>
                    </a:cubicBezTo>
                    <a:lnTo>
                      <a:pt x="4227" y="4735"/>
                    </a:lnTo>
                    <a:cubicBezTo>
                      <a:pt x="4227" y="4735"/>
                      <a:pt x="3719" y="4944"/>
                      <a:pt x="3420" y="5258"/>
                    </a:cubicBezTo>
                    <a:cubicBezTo>
                      <a:pt x="3749" y="5527"/>
                      <a:pt x="4272" y="5691"/>
                      <a:pt x="4272" y="5691"/>
                    </a:cubicBezTo>
                    <a:lnTo>
                      <a:pt x="4272" y="5796"/>
                    </a:lnTo>
                    <a:cubicBezTo>
                      <a:pt x="4371" y="5831"/>
                      <a:pt x="4461" y="5842"/>
                      <a:pt x="4536" y="5842"/>
                    </a:cubicBezTo>
                    <a:cubicBezTo>
                      <a:pt x="4687" y="5842"/>
                      <a:pt x="4780" y="5796"/>
                      <a:pt x="4780" y="5796"/>
                    </a:cubicBezTo>
                    <a:lnTo>
                      <a:pt x="4839" y="5856"/>
                    </a:lnTo>
                    <a:cubicBezTo>
                      <a:pt x="5257" y="5646"/>
                      <a:pt x="5257" y="5288"/>
                      <a:pt x="5243" y="5198"/>
                    </a:cubicBezTo>
                    <a:lnTo>
                      <a:pt x="5467" y="5183"/>
                    </a:lnTo>
                    <a:lnTo>
                      <a:pt x="5825" y="5631"/>
                    </a:lnTo>
                    <a:cubicBezTo>
                      <a:pt x="5832" y="5639"/>
                      <a:pt x="5844" y="5643"/>
                      <a:pt x="5855" y="5643"/>
                    </a:cubicBezTo>
                    <a:cubicBezTo>
                      <a:pt x="5866" y="5643"/>
                      <a:pt x="5877" y="5639"/>
                      <a:pt x="5885" y="5631"/>
                    </a:cubicBezTo>
                    <a:cubicBezTo>
                      <a:pt x="5900" y="5631"/>
                      <a:pt x="5900" y="5602"/>
                      <a:pt x="5885" y="5587"/>
                    </a:cubicBezTo>
                    <a:lnTo>
                      <a:pt x="5511" y="5124"/>
                    </a:lnTo>
                    <a:lnTo>
                      <a:pt x="5571" y="4915"/>
                    </a:lnTo>
                    <a:cubicBezTo>
                      <a:pt x="5598" y="4925"/>
                      <a:pt x="5662" y="4942"/>
                      <a:pt x="5747" y="4942"/>
                    </a:cubicBezTo>
                    <a:cubicBezTo>
                      <a:pt x="5897" y="4942"/>
                      <a:pt x="6112" y="4890"/>
                      <a:pt x="6303" y="4661"/>
                    </a:cubicBezTo>
                    <a:lnTo>
                      <a:pt x="6243" y="4601"/>
                    </a:lnTo>
                    <a:cubicBezTo>
                      <a:pt x="6243" y="4601"/>
                      <a:pt x="6408" y="4407"/>
                      <a:pt x="6363" y="4093"/>
                    </a:cubicBezTo>
                    <a:lnTo>
                      <a:pt x="6273" y="4078"/>
                    </a:lnTo>
                    <a:cubicBezTo>
                      <a:pt x="6273" y="4078"/>
                      <a:pt x="6213" y="3526"/>
                      <a:pt x="6019" y="3137"/>
                    </a:cubicBezTo>
                    <a:cubicBezTo>
                      <a:pt x="5661" y="3376"/>
                      <a:pt x="5332" y="3809"/>
                      <a:pt x="5332" y="3809"/>
                    </a:cubicBezTo>
                    <a:lnTo>
                      <a:pt x="5257" y="3779"/>
                    </a:lnTo>
                    <a:cubicBezTo>
                      <a:pt x="5048" y="4048"/>
                      <a:pt x="5108" y="4272"/>
                      <a:pt x="5108" y="4272"/>
                    </a:cubicBezTo>
                    <a:lnTo>
                      <a:pt x="5033" y="4302"/>
                    </a:lnTo>
                    <a:cubicBezTo>
                      <a:pt x="5108" y="4780"/>
                      <a:pt x="5467" y="4870"/>
                      <a:pt x="5541" y="4885"/>
                    </a:cubicBezTo>
                    <a:lnTo>
                      <a:pt x="5481" y="5079"/>
                    </a:lnTo>
                    <a:lnTo>
                      <a:pt x="4839" y="4302"/>
                    </a:lnTo>
                    <a:cubicBezTo>
                      <a:pt x="4944" y="4242"/>
                      <a:pt x="5287" y="3929"/>
                      <a:pt x="5138" y="3361"/>
                    </a:cubicBezTo>
                    <a:lnTo>
                      <a:pt x="5033" y="3361"/>
                    </a:lnTo>
                    <a:cubicBezTo>
                      <a:pt x="5033" y="3361"/>
                      <a:pt x="4959" y="3048"/>
                      <a:pt x="4600" y="2853"/>
                    </a:cubicBezTo>
                    <a:lnTo>
                      <a:pt x="4511" y="2928"/>
                    </a:lnTo>
                    <a:cubicBezTo>
                      <a:pt x="4511" y="2928"/>
                      <a:pt x="3913" y="2585"/>
                      <a:pt x="3361" y="2480"/>
                    </a:cubicBezTo>
                    <a:close/>
                    <a:moveTo>
                      <a:pt x="0" y="5856"/>
                    </a:moveTo>
                    <a:lnTo>
                      <a:pt x="0" y="5856"/>
                    </a:lnTo>
                    <a:cubicBezTo>
                      <a:pt x="30" y="6468"/>
                      <a:pt x="344" y="7170"/>
                      <a:pt x="344" y="7170"/>
                    </a:cubicBezTo>
                    <a:lnTo>
                      <a:pt x="239" y="7259"/>
                    </a:lnTo>
                    <a:cubicBezTo>
                      <a:pt x="403" y="7678"/>
                      <a:pt x="732" y="7797"/>
                      <a:pt x="732" y="7797"/>
                    </a:cubicBezTo>
                    <a:lnTo>
                      <a:pt x="732" y="7902"/>
                    </a:lnTo>
                    <a:cubicBezTo>
                      <a:pt x="881" y="7963"/>
                      <a:pt x="1018" y="7987"/>
                      <a:pt x="1140" y="7987"/>
                    </a:cubicBezTo>
                    <a:cubicBezTo>
                      <a:pt x="1493" y="7987"/>
                      <a:pt x="1722" y="7785"/>
                      <a:pt x="1777" y="7708"/>
                    </a:cubicBezTo>
                    <a:lnTo>
                      <a:pt x="2554" y="8499"/>
                    </a:lnTo>
                    <a:lnTo>
                      <a:pt x="2315" y="8529"/>
                    </a:lnTo>
                    <a:cubicBezTo>
                      <a:pt x="2300" y="8454"/>
                      <a:pt x="2240" y="8051"/>
                      <a:pt x="1748" y="7917"/>
                    </a:cubicBezTo>
                    <a:lnTo>
                      <a:pt x="1718" y="7991"/>
                    </a:lnTo>
                    <a:cubicBezTo>
                      <a:pt x="1718" y="7991"/>
                      <a:pt x="1665" y="7976"/>
                      <a:pt x="1580" y="7976"/>
                    </a:cubicBezTo>
                    <a:cubicBezTo>
                      <a:pt x="1478" y="7976"/>
                      <a:pt x="1328" y="7998"/>
                      <a:pt x="1165" y="8096"/>
                    </a:cubicBezTo>
                    <a:lnTo>
                      <a:pt x="1195" y="8186"/>
                    </a:lnTo>
                    <a:cubicBezTo>
                      <a:pt x="1195" y="8186"/>
                      <a:pt x="971" y="8320"/>
                      <a:pt x="732" y="8484"/>
                    </a:cubicBezTo>
                    <a:cubicBezTo>
                      <a:pt x="881" y="8723"/>
                      <a:pt x="1001" y="8947"/>
                      <a:pt x="1135" y="9156"/>
                    </a:cubicBezTo>
                    <a:cubicBezTo>
                      <a:pt x="1255" y="9201"/>
                      <a:pt x="1344" y="9216"/>
                      <a:pt x="1344" y="9216"/>
                    </a:cubicBezTo>
                    <a:lnTo>
                      <a:pt x="1344" y="9321"/>
                    </a:lnTo>
                    <a:cubicBezTo>
                      <a:pt x="1413" y="9336"/>
                      <a:pt x="1477" y="9342"/>
                      <a:pt x="1535" y="9342"/>
                    </a:cubicBezTo>
                    <a:cubicBezTo>
                      <a:pt x="1768" y="9342"/>
                      <a:pt x="1912" y="9246"/>
                      <a:pt x="1912" y="9246"/>
                    </a:cubicBezTo>
                    <a:lnTo>
                      <a:pt x="1957" y="9321"/>
                    </a:lnTo>
                    <a:cubicBezTo>
                      <a:pt x="2390" y="9052"/>
                      <a:pt x="2330" y="8649"/>
                      <a:pt x="2315" y="8559"/>
                    </a:cubicBezTo>
                    <a:lnTo>
                      <a:pt x="2569" y="8514"/>
                    </a:lnTo>
                    <a:lnTo>
                      <a:pt x="3002" y="8977"/>
                    </a:lnTo>
                    <a:cubicBezTo>
                      <a:pt x="3010" y="8985"/>
                      <a:pt x="3021" y="8988"/>
                      <a:pt x="3032" y="8988"/>
                    </a:cubicBezTo>
                    <a:cubicBezTo>
                      <a:pt x="3043" y="8988"/>
                      <a:pt x="3054" y="8985"/>
                      <a:pt x="3062" y="8977"/>
                    </a:cubicBezTo>
                    <a:cubicBezTo>
                      <a:pt x="3077" y="8962"/>
                      <a:pt x="3077" y="8932"/>
                      <a:pt x="3062" y="8917"/>
                    </a:cubicBezTo>
                    <a:lnTo>
                      <a:pt x="2599" y="8469"/>
                    </a:lnTo>
                    <a:lnTo>
                      <a:pt x="2644" y="8215"/>
                    </a:lnTo>
                    <a:cubicBezTo>
                      <a:pt x="2669" y="8224"/>
                      <a:pt x="2718" y="8233"/>
                      <a:pt x="2783" y="8233"/>
                    </a:cubicBezTo>
                    <a:cubicBezTo>
                      <a:pt x="2945" y="8233"/>
                      <a:pt x="3202" y="8172"/>
                      <a:pt x="3405" y="7872"/>
                    </a:cubicBezTo>
                    <a:lnTo>
                      <a:pt x="3346" y="7812"/>
                    </a:lnTo>
                    <a:cubicBezTo>
                      <a:pt x="3346" y="7812"/>
                      <a:pt x="3495" y="7588"/>
                      <a:pt x="3435" y="7274"/>
                    </a:cubicBezTo>
                    <a:lnTo>
                      <a:pt x="3331" y="7259"/>
                    </a:lnTo>
                    <a:cubicBezTo>
                      <a:pt x="3331" y="7259"/>
                      <a:pt x="3211" y="6677"/>
                      <a:pt x="2957" y="6289"/>
                    </a:cubicBezTo>
                    <a:cubicBezTo>
                      <a:pt x="2599" y="6572"/>
                      <a:pt x="2300" y="7095"/>
                      <a:pt x="2300" y="7095"/>
                    </a:cubicBezTo>
                    <a:lnTo>
                      <a:pt x="2211" y="7065"/>
                    </a:lnTo>
                    <a:cubicBezTo>
                      <a:pt x="2031" y="7349"/>
                      <a:pt x="2091" y="7618"/>
                      <a:pt x="2091" y="7618"/>
                    </a:cubicBezTo>
                    <a:lnTo>
                      <a:pt x="2016" y="7648"/>
                    </a:lnTo>
                    <a:cubicBezTo>
                      <a:pt x="2151" y="8156"/>
                      <a:pt x="2554" y="8215"/>
                      <a:pt x="2629" y="8230"/>
                    </a:cubicBezTo>
                    <a:lnTo>
                      <a:pt x="2584" y="8454"/>
                    </a:lnTo>
                    <a:lnTo>
                      <a:pt x="1807" y="7663"/>
                    </a:lnTo>
                    <a:cubicBezTo>
                      <a:pt x="1912" y="7573"/>
                      <a:pt x="2255" y="7200"/>
                      <a:pt x="2031" y="6617"/>
                    </a:cubicBezTo>
                    <a:lnTo>
                      <a:pt x="2031" y="6617"/>
                    </a:lnTo>
                    <a:lnTo>
                      <a:pt x="1912" y="6632"/>
                    </a:lnTo>
                    <a:cubicBezTo>
                      <a:pt x="1912" y="6632"/>
                      <a:pt x="1807" y="6304"/>
                      <a:pt x="1389" y="6124"/>
                    </a:cubicBezTo>
                    <a:lnTo>
                      <a:pt x="1299" y="6214"/>
                    </a:lnTo>
                    <a:cubicBezTo>
                      <a:pt x="1299" y="6214"/>
                      <a:pt x="597" y="5900"/>
                      <a:pt x="0" y="5856"/>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8" name="Google Shape;1228;p17"/>
              <p:cNvSpPr/>
              <p:nvPr/>
            </p:nvSpPr>
            <p:spPr>
              <a:xfrm>
                <a:off x="1724125" y="5430600"/>
                <a:ext cx="280450" cy="497000"/>
              </a:xfrm>
              <a:custGeom>
                <a:avLst/>
                <a:gdLst/>
                <a:ahLst/>
                <a:cxnLst/>
                <a:rect l="l" t="t" r="r" b="b"/>
                <a:pathLst>
                  <a:path w="11218" h="19880" extrusionOk="0">
                    <a:moveTo>
                      <a:pt x="412" y="0"/>
                    </a:moveTo>
                    <a:cubicBezTo>
                      <a:pt x="392" y="0"/>
                      <a:pt x="379" y="0"/>
                      <a:pt x="374" y="0"/>
                    </a:cubicBezTo>
                    <a:cubicBezTo>
                      <a:pt x="165" y="15"/>
                      <a:pt x="1" y="194"/>
                      <a:pt x="15" y="404"/>
                    </a:cubicBezTo>
                    <a:cubicBezTo>
                      <a:pt x="15" y="618"/>
                      <a:pt x="180" y="778"/>
                      <a:pt x="377" y="778"/>
                    </a:cubicBezTo>
                    <a:cubicBezTo>
                      <a:pt x="386" y="778"/>
                      <a:pt x="395" y="778"/>
                      <a:pt x="404" y="777"/>
                    </a:cubicBezTo>
                    <a:cubicBezTo>
                      <a:pt x="405" y="777"/>
                      <a:pt x="413" y="777"/>
                      <a:pt x="427" y="777"/>
                    </a:cubicBezTo>
                    <a:cubicBezTo>
                      <a:pt x="573" y="777"/>
                      <a:pt x="1366" y="802"/>
                      <a:pt x="1748" y="1374"/>
                    </a:cubicBezTo>
                    <a:cubicBezTo>
                      <a:pt x="1972" y="1718"/>
                      <a:pt x="2226" y="2569"/>
                      <a:pt x="2569" y="3839"/>
                    </a:cubicBezTo>
                    <a:cubicBezTo>
                      <a:pt x="2734" y="4451"/>
                      <a:pt x="2913" y="5138"/>
                      <a:pt x="3107" y="5915"/>
                    </a:cubicBezTo>
                    <a:cubicBezTo>
                      <a:pt x="3436" y="7214"/>
                      <a:pt x="3839" y="8798"/>
                      <a:pt x="4347" y="10665"/>
                    </a:cubicBezTo>
                    <a:cubicBezTo>
                      <a:pt x="4407" y="10889"/>
                      <a:pt x="4466" y="11083"/>
                      <a:pt x="4541" y="11292"/>
                    </a:cubicBezTo>
                    <a:cubicBezTo>
                      <a:pt x="5422" y="14055"/>
                      <a:pt x="6990" y="16236"/>
                      <a:pt x="8305" y="17684"/>
                    </a:cubicBezTo>
                    <a:cubicBezTo>
                      <a:pt x="9485" y="19014"/>
                      <a:pt x="10471" y="19731"/>
                      <a:pt x="10560" y="19805"/>
                    </a:cubicBezTo>
                    <a:cubicBezTo>
                      <a:pt x="10621" y="19856"/>
                      <a:pt x="10697" y="19879"/>
                      <a:pt x="10771" y="19879"/>
                    </a:cubicBezTo>
                    <a:cubicBezTo>
                      <a:pt x="10806" y="19879"/>
                      <a:pt x="10841" y="19874"/>
                      <a:pt x="10874" y="19865"/>
                    </a:cubicBezTo>
                    <a:cubicBezTo>
                      <a:pt x="10963" y="19865"/>
                      <a:pt x="11038" y="19805"/>
                      <a:pt x="11098" y="19731"/>
                    </a:cubicBezTo>
                    <a:cubicBezTo>
                      <a:pt x="11217" y="19566"/>
                      <a:pt x="11187" y="19327"/>
                      <a:pt x="11008" y="19178"/>
                    </a:cubicBezTo>
                    <a:cubicBezTo>
                      <a:pt x="10993" y="19163"/>
                      <a:pt x="9933" y="18356"/>
                      <a:pt x="8678" y="16923"/>
                    </a:cubicBezTo>
                    <a:cubicBezTo>
                      <a:pt x="7453" y="15519"/>
                      <a:pt x="6050" y="13517"/>
                      <a:pt x="5258" y="11038"/>
                    </a:cubicBezTo>
                    <a:cubicBezTo>
                      <a:pt x="5213" y="10844"/>
                      <a:pt x="5153" y="10650"/>
                      <a:pt x="5094" y="10455"/>
                    </a:cubicBezTo>
                    <a:cubicBezTo>
                      <a:pt x="4601" y="8603"/>
                      <a:pt x="4197" y="7005"/>
                      <a:pt x="3869" y="5721"/>
                    </a:cubicBezTo>
                    <a:cubicBezTo>
                      <a:pt x="3720" y="5153"/>
                      <a:pt x="3570" y="4615"/>
                      <a:pt x="3451" y="4138"/>
                    </a:cubicBezTo>
                    <a:cubicBezTo>
                      <a:pt x="3406" y="4003"/>
                      <a:pt x="3376" y="3854"/>
                      <a:pt x="3346" y="3734"/>
                    </a:cubicBezTo>
                    <a:lnTo>
                      <a:pt x="3316" y="3630"/>
                    </a:lnTo>
                    <a:cubicBezTo>
                      <a:pt x="2928" y="2226"/>
                      <a:pt x="2674" y="1374"/>
                      <a:pt x="2375" y="956"/>
                    </a:cubicBezTo>
                    <a:cubicBezTo>
                      <a:pt x="1772" y="38"/>
                      <a:pt x="641" y="0"/>
                      <a:pt x="41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9" name="Google Shape;1229;p17"/>
              <p:cNvSpPr/>
              <p:nvPr/>
            </p:nvSpPr>
            <p:spPr>
              <a:xfrm>
                <a:off x="1931725" y="5854025"/>
                <a:ext cx="72850" cy="73575"/>
              </a:xfrm>
              <a:custGeom>
                <a:avLst/>
                <a:gdLst/>
                <a:ahLst/>
                <a:cxnLst/>
                <a:rect l="l" t="t" r="r" b="b"/>
                <a:pathLst>
                  <a:path w="2914" h="2943" extrusionOk="0">
                    <a:moveTo>
                      <a:pt x="374" y="1"/>
                    </a:moveTo>
                    <a:lnTo>
                      <a:pt x="1" y="747"/>
                    </a:lnTo>
                    <a:cubicBezTo>
                      <a:pt x="1181" y="2077"/>
                      <a:pt x="2167" y="2794"/>
                      <a:pt x="2256" y="2868"/>
                    </a:cubicBezTo>
                    <a:cubicBezTo>
                      <a:pt x="2317" y="2919"/>
                      <a:pt x="2393" y="2942"/>
                      <a:pt x="2467" y="2942"/>
                    </a:cubicBezTo>
                    <a:cubicBezTo>
                      <a:pt x="2502" y="2942"/>
                      <a:pt x="2537" y="2937"/>
                      <a:pt x="2570" y="2928"/>
                    </a:cubicBezTo>
                    <a:cubicBezTo>
                      <a:pt x="2659" y="2928"/>
                      <a:pt x="2734" y="2868"/>
                      <a:pt x="2794" y="2794"/>
                    </a:cubicBezTo>
                    <a:cubicBezTo>
                      <a:pt x="2913" y="2629"/>
                      <a:pt x="2883" y="2390"/>
                      <a:pt x="2704" y="2241"/>
                    </a:cubicBezTo>
                    <a:cubicBezTo>
                      <a:pt x="2689" y="2241"/>
                      <a:pt x="1629" y="1434"/>
                      <a:pt x="37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0" name="Google Shape;1230;p17"/>
              <p:cNvSpPr/>
              <p:nvPr/>
            </p:nvSpPr>
            <p:spPr>
              <a:xfrm>
                <a:off x="1967950" y="5659400"/>
                <a:ext cx="491800" cy="471450"/>
              </a:xfrm>
              <a:custGeom>
                <a:avLst/>
                <a:gdLst/>
                <a:ahLst/>
                <a:cxnLst/>
                <a:rect l="l" t="t" r="r" b="b"/>
                <a:pathLst>
                  <a:path w="19672" h="18858" extrusionOk="0">
                    <a:moveTo>
                      <a:pt x="11613" y="1"/>
                    </a:moveTo>
                    <a:cubicBezTo>
                      <a:pt x="9670" y="1"/>
                      <a:pt x="7084" y="1745"/>
                      <a:pt x="6617" y="2080"/>
                    </a:cubicBezTo>
                    <a:cubicBezTo>
                      <a:pt x="6572" y="2110"/>
                      <a:pt x="6557" y="2125"/>
                      <a:pt x="6542" y="2125"/>
                    </a:cubicBezTo>
                    <a:cubicBezTo>
                      <a:pt x="6542" y="2125"/>
                      <a:pt x="5273" y="3051"/>
                      <a:pt x="3869" y="4798"/>
                    </a:cubicBezTo>
                    <a:cubicBezTo>
                      <a:pt x="3585" y="5142"/>
                      <a:pt x="3301" y="5530"/>
                      <a:pt x="3018" y="5963"/>
                    </a:cubicBezTo>
                    <a:cubicBezTo>
                      <a:pt x="2584" y="6591"/>
                      <a:pt x="2181" y="7308"/>
                      <a:pt x="1793" y="8084"/>
                    </a:cubicBezTo>
                    <a:cubicBezTo>
                      <a:pt x="1464" y="8756"/>
                      <a:pt x="1181" y="9488"/>
                      <a:pt x="927" y="10265"/>
                    </a:cubicBezTo>
                    <a:cubicBezTo>
                      <a:pt x="807" y="10683"/>
                      <a:pt x="688" y="11101"/>
                      <a:pt x="583" y="11549"/>
                    </a:cubicBezTo>
                    <a:cubicBezTo>
                      <a:pt x="568" y="11549"/>
                      <a:pt x="568" y="11564"/>
                      <a:pt x="568" y="11579"/>
                    </a:cubicBezTo>
                    <a:cubicBezTo>
                      <a:pt x="493" y="11953"/>
                      <a:pt x="404" y="12296"/>
                      <a:pt x="344" y="12625"/>
                    </a:cubicBezTo>
                    <a:cubicBezTo>
                      <a:pt x="1" y="14805"/>
                      <a:pt x="404" y="16792"/>
                      <a:pt x="404" y="16792"/>
                    </a:cubicBezTo>
                    <a:cubicBezTo>
                      <a:pt x="3081" y="18436"/>
                      <a:pt x="5698" y="18858"/>
                      <a:pt x="7678" y="18858"/>
                    </a:cubicBezTo>
                    <a:cubicBezTo>
                      <a:pt x="9763" y="18858"/>
                      <a:pt x="11143" y="18390"/>
                      <a:pt x="11143" y="18390"/>
                    </a:cubicBezTo>
                    <a:cubicBezTo>
                      <a:pt x="10904" y="17195"/>
                      <a:pt x="11098" y="14417"/>
                      <a:pt x="11098" y="14417"/>
                    </a:cubicBezTo>
                    <a:lnTo>
                      <a:pt x="11098" y="14417"/>
                    </a:lnTo>
                    <a:cubicBezTo>
                      <a:pt x="11098" y="14417"/>
                      <a:pt x="11158" y="14432"/>
                      <a:pt x="11262" y="14492"/>
                    </a:cubicBezTo>
                    <a:lnTo>
                      <a:pt x="11367" y="13148"/>
                    </a:lnTo>
                    <a:cubicBezTo>
                      <a:pt x="11367" y="13148"/>
                      <a:pt x="11397" y="11460"/>
                      <a:pt x="12024" y="9339"/>
                    </a:cubicBezTo>
                    <a:cubicBezTo>
                      <a:pt x="12143" y="8876"/>
                      <a:pt x="12308" y="8398"/>
                      <a:pt x="12502" y="7905"/>
                    </a:cubicBezTo>
                    <a:cubicBezTo>
                      <a:pt x="12681" y="7457"/>
                      <a:pt x="12875" y="6994"/>
                      <a:pt x="13114" y="6531"/>
                    </a:cubicBezTo>
                    <a:cubicBezTo>
                      <a:pt x="13144" y="6486"/>
                      <a:pt x="13174" y="6441"/>
                      <a:pt x="13204" y="6382"/>
                    </a:cubicBezTo>
                    <a:cubicBezTo>
                      <a:pt x="13293" y="6202"/>
                      <a:pt x="13383" y="6038"/>
                      <a:pt x="13503" y="5859"/>
                    </a:cubicBezTo>
                    <a:cubicBezTo>
                      <a:pt x="13517" y="5844"/>
                      <a:pt x="13532" y="5814"/>
                      <a:pt x="13547" y="5799"/>
                    </a:cubicBezTo>
                    <a:cubicBezTo>
                      <a:pt x="14040" y="4978"/>
                      <a:pt x="14638" y="4201"/>
                      <a:pt x="15399" y="3514"/>
                    </a:cubicBezTo>
                    <a:cubicBezTo>
                      <a:pt x="15489" y="3439"/>
                      <a:pt x="15579" y="3350"/>
                      <a:pt x="15683" y="3275"/>
                    </a:cubicBezTo>
                    <a:cubicBezTo>
                      <a:pt x="16729" y="2364"/>
                      <a:pt x="18043" y="1617"/>
                      <a:pt x="19671" y="1199"/>
                    </a:cubicBezTo>
                    <a:lnTo>
                      <a:pt x="19552" y="1094"/>
                    </a:lnTo>
                    <a:cubicBezTo>
                      <a:pt x="17311" y="243"/>
                      <a:pt x="13398" y="79"/>
                      <a:pt x="11755" y="4"/>
                    </a:cubicBezTo>
                    <a:cubicBezTo>
                      <a:pt x="11708" y="2"/>
                      <a:pt x="11661" y="1"/>
                      <a:pt x="11613"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1" name="Google Shape;1231;p17"/>
              <p:cNvSpPr/>
              <p:nvPr/>
            </p:nvSpPr>
            <p:spPr>
              <a:xfrm>
                <a:off x="2043000" y="5738650"/>
                <a:ext cx="265525" cy="131600"/>
              </a:xfrm>
              <a:custGeom>
                <a:avLst/>
                <a:gdLst/>
                <a:ahLst/>
                <a:cxnLst/>
                <a:rect l="l" t="t" r="r" b="b"/>
                <a:pathLst>
                  <a:path w="10621" h="5264" extrusionOk="0">
                    <a:moveTo>
                      <a:pt x="852" y="1643"/>
                    </a:moveTo>
                    <a:cubicBezTo>
                      <a:pt x="583" y="1987"/>
                      <a:pt x="284" y="2375"/>
                      <a:pt x="1" y="2808"/>
                    </a:cubicBezTo>
                    <a:cubicBezTo>
                      <a:pt x="105" y="2958"/>
                      <a:pt x="299" y="3122"/>
                      <a:pt x="628" y="3137"/>
                    </a:cubicBezTo>
                    <a:lnTo>
                      <a:pt x="658" y="3032"/>
                    </a:lnTo>
                    <a:cubicBezTo>
                      <a:pt x="658" y="3032"/>
                      <a:pt x="668" y="3033"/>
                      <a:pt x="687" y="3033"/>
                    </a:cubicBezTo>
                    <a:cubicBezTo>
                      <a:pt x="766" y="3033"/>
                      <a:pt x="996" y="3014"/>
                      <a:pt x="1225" y="2808"/>
                    </a:cubicBezTo>
                    <a:lnTo>
                      <a:pt x="1181" y="2704"/>
                    </a:lnTo>
                    <a:cubicBezTo>
                      <a:pt x="1181" y="2704"/>
                      <a:pt x="1659" y="2286"/>
                      <a:pt x="1898" y="1808"/>
                    </a:cubicBezTo>
                    <a:cubicBezTo>
                      <a:pt x="1524" y="1673"/>
                      <a:pt x="1046" y="1643"/>
                      <a:pt x="852" y="1643"/>
                    </a:cubicBezTo>
                    <a:close/>
                    <a:moveTo>
                      <a:pt x="5243" y="0"/>
                    </a:moveTo>
                    <a:cubicBezTo>
                      <a:pt x="4691" y="359"/>
                      <a:pt x="4183" y="1046"/>
                      <a:pt x="4183" y="1046"/>
                    </a:cubicBezTo>
                    <a:lnTo>
                      <a:pt x="4048" y="986"/>
                    </a:lnTo>
                    <a:cubicBezTo>
                      <a:pt x="3750" y="1374"/>
                      <a:pt x="3809" y="1748"/>
                      <a:pt x="3809" y="1748"/>
                    </a:cubicBezTo>
                    <a:lnTo>
                      <a:pt x="3705" y="1793"/>
                    </a:lnTo>
                    <a:cubicBezTo>
                      <a:pt x="3794" y="2480"/>
                      <a:pt x="4332" y="2644"/>
                      <a:pt x="4466" y="2674"/>
                    </a:cubicBezTo>
                    <a:lnTo>
                      <a:pt x="4138" y="3839"/>
                    </a:lnTo>
                    <a:lnTo>
                      <a:pt x="3989" y="3660"/>
                    </a:lnTo>
                    <a:cubicBezTo>
                      <a:pt x="4063" y="3600"/>
                      <a:pt x="4422" y="3331"/>
                      <a:pt x="4272" y="2793"/>
                    </a:cubicBezTo>
                    <a:lnTo>
                      <a:pt x="4168" y="2793"/>
                    </a:lnTo>
                    <a:cubicBezTo>
                      <a:pt x="4168" y="2793"/>
                      <a:pt x="4108" y="2495"/>
                      <a:pt x="3779" y="2315"/>
                    </a:cubicBezTo>
                    <a:lnTo>
                      <a:pt x="3690" y="2390"/>
                    </a:lnTo>
                    <a:cubicBezTo>
                      <a:pt x="3690" y="2390"/>
                      <a:pt x="3122" y="2062"/>
                      <a:pt x="2629" y="1972"/>
                    </a:cubicBezTo>
                    <a:lnTo>
                      <a:pt x="2629" y="1972"/>
                    </a:lnTo>
                    <a:cubicBezTo>
                      <a:pt x="2614" y="2480"/>
                      <a:pt x="2794" y="3092"/>
                      <a:pt x="2794" y="3092"/>
                    </a:cubicBezTo>
                    <a:lnTo>
                      <a:pt x="2704" y="3152"/>
                    </a:lnTo>
                    <a:cubicBezTo>
                      <a:pt x="2809" y="3510"/>
                      <a:pt x="3077" y="3645"/>
                      <a:pt x="3077" y="3645"/>
                    </a:cubicBezTo>
                    <a:lnTo>
                      <a:pt x="3048" y="3734"/>
                    </a:lnTo>
                    <a:cubicBezTo>
                      <a:pt x="3196" y="3813"/>
                      <a:pt x="3333" y="3842"/>
                      <a:pt x="3453" y="3842"/>
                    </a:cubicBezTo>
                    <a:cubicBezTo>
                      <a:pt x="3721" y="3842"/>
                      <a:pt x="3907" y="3701"/>
                      <a:pt x="3959" y="3660"/>
                    </a:cubicBezTo>
                    <a:lnTo>
                      <a:pt x="4138" y="3884"/>
                    </a:lnTo>
                    <a:lnTo>
                      <a:pt x="3944" y="4541"/>
                    </a:lnTo>
                    <a:cubicBezTo>
                      <a:pt x="3944" y="4571"/>
                      <a:pt x="3959" y="4586"/>
                      <a:pt x="3959" y="4601"/>
                    </a:cubicBezTo>
                    <a:cubicBezTo>
                      <a:pt x="3989" y="4601"/>
                      <a:pt x="4003" y="4586"/>
                      <a:pt x="4018" y="4571"/>
                    </a:cubicBezTo>
                    <a:lnTo>
                      <a:pt x="4198" y="3899"/>
                    </a:lnTo>
                    <a:lnTo>
                      <a:pt x="4452" y="3809"/>
                    </a:lnTo>
                    <a:cubicBezTo>
                      <a:pt x="4466" y="3899"/>
                      <a:pt x="4631" y="4302"/>
                      <a:pt x="5183" y="4332"/>
                    </a:cubicBezTo>
                    <a:lnTo>
                      <a:pt x="5213" y="4227"/>
                    </a:lnTo>
                    <a:cubicBezTo>
                      <a:pt x="5213" y="4227"/>
                      <a:pt x="5223" y="4228"/>
                      <a:pt x="5240" y="4228"/>
                    </a:cubicBezTo>
                    <a:cubicBezTo>
                      <a:pt x="5316" y="4228"/>
                      <a:pt x="5549" y="4208"/>
                      <a:pt x="5781" y="3988"/>
                    </a:cubicBezTo>
                    <a:lnTo>
                      <a:pt x="5736" y="3899"/>
                    </a:lnTo>
                    <a:lnTo>
                      <a:pt x="5736" y="3899"/>
                    </a:lnTo>
                    <a:cubicBezTo>
                      <a:pt x="5737" y="3899"/>
                      <a:pt x="5737" y="3899"/>
                      <a:pt x="5738" y="3899"/>
                    </a:cubicBezTo>
                    <a:cubicBezTo>
                      <a:pt x="5782" y="3899"/>
                      <a:pt x="6263" y="3473"/>
                      <a:pt x="6498" y="3017"/>
                    </a:cubicBezTo>
                    <a:lnTo>
                      <a:pt x="6483" y="3017"/>
                    </a:lnTo>
                    <a:cubicBezTo>
                      <a:pt x="6005" y="2838"/>
                      <a:pt x="5363" y="2838"/>
                      <a:pt x="5363" y="2838"/>
                    </a:cubicBezTo>
                    <a:lnTo>
                      <a:pt x="5333" y="2734"/>
                    </a:lnTo>
                    <a:cubicBezTo>
                      <a:pt x="5320" y="2733"/>
                      <a:pt x="5307" y="2733"/>
                      <a:pt x="5295" y="2733"/>
                    </a:cubicBezTo>
                    <a:cubicBezTo>
                      <a:pt x="4945" y="2733"/>
                      <a:pt x="4750" y="2928"/>
                      <a:pt x="4750" y="2928"/>
                    </a:cubicBezTo>
                    <a:lnTo>
                      <a:pt x="4661" y="2868"/>
                    </a:lnTo>
                    <a:cubicBezTo>
                      <a:pt x="4272" y="3256"/>
                      <a:pt x="4437" y="3675"/>
                      <a:pt x="4466" y="3764"/>
                    </a:cubicBezTo>
                    <a:lnTo>
                      <a:pt x="4228" y="3839"/>
                    </a:lnTo>
                    <a:lnTo>
                      <a:pt x="4541" y="2689"/>
                    </a:lnTo>
                    <a:cubicBezTo>
                      <a:pt x="4591" y="2705"/>
                      <a:pt x="4696" y="2732"/>
                      <a:pt x="4830" y="2732"/>
                    </a:cubicBezTo>
                    <a:cubicBezTo>
                      <a:pt x="5059" y="2732"/>
                      <a:pt x="5373" y="2654"/>
                      <a:pt x="5646" y="2315"/>
                    </a:cubicBezTo>
                    <a:lnTo>
                      <a:pt x="5572" y="2226"/>
                    </a:lnTo>
                    <a:cubicBezTo>
                      <a:pt x="5572" y="2226"/>
                      <a:pt x="5811" y="1942"/>
                      <a:pt x="5751" y="1464"/>
                    </a:cubicBezTo>
                    <a:lnTo>
                      <a:pt x="5617" y="1434"/>
                    </a:lnTo>
                    <a:cubicBezTo>
                      <a:pt x="5617" y="1434"/>
                      <a:pt x="5527" y="598"/>
                      <a:pt x="5243" y="0"/>
                    </a:cubicBezTo>
                    <a:close/>
                    <a:moveTo>
                      <a:pt x="10082" y="643"/>
                    </a:moveTo>
                    <a:cubicBezTo>
                      <a:pt x="9530" y="1016"/>
                      <a:pt x="9037" y="1688"/>
                      <a:pt x="9037" y="1688"/>
                    </a:cubicBezTo>
                    <a:lnTo>
                      <a:pt x="8902" y="1643"/>
                    </a:lnTo>
                    <a:cubicBezTo>
                      <a:pt x="8604" y="2032"/>
                      <a:pt x="8678" y="2405"/>
                      <a:pt x="8678" y="2405"/>
                    </a:cubicBezTo>
                    <a:lnTo>
                      <a:pt x="8559" y="2450"/>
                    </a:lnTo>
                    <a:cubicBezTo>
                      <a:pt x="8678" y="3137"/>
                      <a:pt x="9186" y="3316"/>
                      <a:pt x="9336" y="3331"/>
                    </a:cubicBezTo>
                    <a:lnTo>
                      <a:pt x="9007" y="4511"/>
                    </a:lnTo>
                    <a:lnTo>
                      <a:pt x="8843" y="4317"/>
                    </a:lnTo>
                    <a:cubicBezTo>
                      <a:pt x="8917" y="4272"/>
                      <a:pt x="9261" y="3988"/>
                      <a:pt x="9126" y="3451"/>
                    </a:cubicBezTo>
                    <a:lnTo>
                      <a:pt x="9022" y="3451"/>
                    </a:lnTo>
                    <a:cubicBezTo>
                      <a:pt x="9022" y="3451"/>
                      <a:pt x="8977" y="3152"/>
                      <a:pt x="8634" y="2988"/>
                    </a:cubicBezTo>
                    <a:lnTo>
                      <a:pt x="8544" y="3047"/>
                    </a:lnTo>
                    <a:cubicBezTo>
                      <a:pt x="8544" y="3047"/>
                      <a:pt x="8006" y="2704"/>
                      <a:pt x="7498" y="2629"/>
                    </a:cubicBezTo>
                    <a:lnTo>
                      <a:pt x="7498" y="2629"/>
                    </a:lnTo>
                    <a:cubicBezTo>
                      <a:pt x="7454" y="3137"/>
                      <a:pt x="7663" y="3749"/>
                      <a:pt x="7663" y="3749"/>
                    </a:cubicBezTo>
                    <a:lnTo>
                      <a:pt x="7558" y="3809"/>
                    </a:lnTo>
                    <a:cubicBezTo>
                      <a:pt x="7678" y="4167"/>
                      <a:pt x="7932" y="4302"/>
                      <a:pt x="7932" y="4302"/>
                    </a:cubicBezTo>
                    <a:lnTo>
                      <a:pt x="7902" y="4392"/>
                    </a:lnTo>
                    <a:cubicBezTo>
                      <a:pt x="8056" y="4478"/>
                      <a:pt x="8197" y="4509"/>
                      <a:pt x="8321" y="4509"/>
                    </a:cubicBezTo>
                    <a:cubicBezTo>
                      <a:pt x="8581" y="4509"/>
                      <a:pt x="8762" y="4372"/>
                      <a:pt x="8813" y="4332"/>
                    </a:cubicBezTo>
                    <a:lnTo>
                      <a:pt x="8992" y="4541"/>
                    </a:lnTo>
                    <a:lnTo>
                      <a:pt x="8798" y="5198"/>
                    </a:lnTo>
                    <a:lnTo>
                      <a:pt x="8798" y="5228"/>
                    </a:lnTo>
                    <a:cubicBezTo>
                      <a:pt x="8798" y="5243"/>
                      <a:pt x="8813" y="5258"/>
                      <a:pt x="8828" y="5258"/>
                    </a:cubicBezTo>
                    <a:cubicBezTo>
                      <a:pt x="8832" y="5262"/>
                      <a:pt x="8837" y="5264"/>
                      <a:pt x="8842" y="5264"/>
                    </a:cubicBezTo>
                    <a:cubicBezTo>
                      <a:pt x="8857" y="5264"/>
                      <a:pt x="8873" y="5250"/>
                      <a:pt x="8873" y="5228"/>
                    </a:cubicBezTo>
                    <a:lnTo>
                      <a:pt x="9052" y="4556"/>
                    </a:lnTo>
                    <a:lnTo>
                      <a:pt x="9306" y="4466"/>
                    </a:lnTo>
                    <a:cubicBezTo>
                      <a:pt x="9321" y="4511"/>
                      <a:pt x="9365" y="4645"/>
                      <a:pt x="9500" y="4765"/>
                    </a:cubicBezTo>
                    <a:cubicBezTo>
                      <a:pt x="9679" y="4317"/>
                      <a:pt x="9873" y="3839"/>
                      <a:pt x="10112" y="3391"/>
                    </a:cubicBezTo>
                    <a:cubicBezTo>
                      <a:pt x="9754" y="3391"/>
                      <a:pt x="9575" y="3585"/>
                      <a:pt x="9575" y="3585"/>
                    </a:cubicBezTo>
                    <a:lnTo>
                      <a:pt x="9500" y="3525"/>
                    </a:lnTo>
                    <a:cubicBezTo>
                      <a:pt x="9097" y="3914"/>
                      <a:pt x="9246" y="4332"/>
                      <a:pt x="9291" y="4421"/>
                    </a:cubicBezTo>
                    <a:lnTo>
                      <a:pt x="9067" y="4496"/>
                    </a:lnTo>
                    <a:lnTo>
                      <a:pt x="9380" y="3331"/>
                    </a:lnTo>
                    <a:cubicBezTo>
                      <a:pt x="9438" y="3346"/>
                      <a:pt x="9552" y="3374"/>
                      <a:pt x="9694" y="3374"/>
                    </a:cubicBezTo>
                    <a:cubicBezTo>
                      <a:pt x="9844" y="3374"/>
                      <a:pt x="10025" y="3342"/>
                      <a:pt x="10202" y="3227"/>
                    </a:cubicBezTo>
                    <a:cubicBezTo>
                      <a:pt x="10306" y="3167"/>
                      <a:pt x="10396" y="3077"/>
                      <a:pt x="10501" y="2973"/>
                    </a:cubicBezTo>
                    <a:lnTo>
                      <a:pt x="10411" y="2868"/>
                    </a:lnTo>
                    <a:cubicBezTo>
                      <a:pt x="10411" y="2868"/>
                      <a:pt x="10486" y="2778"/>
                      <a:pt x="10530" y="2629"/>
                    </a:cubicBezTo>
                    <a:cubicBezTo>
                      <a:pt x="10590" y="2480"/>
                      <a:pt x="10620" y="2315"/>
                      <a:pt x="10590" y="2091"/>
                    </a:cubicBezTo>
                    <a:lnTo>
                      <a:pt x="10456" y="2076"/>
                    </a:lnTo>
                    <a:cubicBezTo>
                      <a:pt x="10456" y="2076"/>
                      <a:pt x="10366" y="1240"/>
                      <a:pt x="10082" y="643"/>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2" name="Google Shape;1232;p17"/>
              <p:cNvSpPr/>
              <p:nvPr/>
            </p:nvSpPr>
            <p:spPr>
              <a:xfrm>
                <a:off x="2133750" y="5659750"/>
                <a:ext cx="326000" cy="81525"/>
              </a:xfrm>
              <a:custGeom>
                <a:avLst/>
                <a:gdLst/>
                <a:ahLst/>
                <a:cxnLst/>
                <a:rect l="l" t="t" r="r" b="b"/>
                <a:pathLst>
                  <a:path w="13040" h="3261" extrusionOk="0">
                    <a:moveTo>
                      <a:pt x="4974" y="1"/>
                    </a:moveTo>
                    <a:cubicBezTo>
                      <a:pt x="3034" y="1"/>
                      <a:pt x="465" y="1747"/>
                      <a:pt x="0" y="2081"/>
                    </a:cubicBezTo>
                    <a:lnTo>
                      <a:pt x="9051" y="3261"/>
                    </a:lnTo>
                    <a:cubicBezTo>
                      <a:pt x="10097" y="2350"/>
                      <a:pt x="11411" y="1603"/>
                      <a:pt x="13039" y="1185"/>
                    </a:cubicBezTo>
                    <a:lnTo>
                      <a:pt x="12934" y="1080"/>
                    </a:lnTo>
                    <a:cubicBezTo>
                      <a:pt x="10694" y="244"/>
                      <a:pt x="6781" y="65"/>
                      <a:pt x="5138" y="5"/>
                    </a:cubicBezTo>
                    <a:cubicBezTo>
                      <a:pt x="5084" y="2"/>
                      <a:pt x="5029" y="1"/>
                      <a:pt x="497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3" name="Google Shape;1233;p17"/>
              <p:cNvSpPr/>
              <p:nvPr/>
            </p:nvSpPr>
            <p:spPr>
              <a:xfrm>
                <a:off x="1967575" y="5861500"/>
                <a:ext cx="300600" cy="269350"/>
              </a:xfrm>
              <a:custGeom>
                <a:avLst/>
                <a:gdLst/>
                <a:ahLst/>
                <a:cxnLst/>
                <a:rect l="l" t="t" r="r" b="b"/>
                <a:pathLst>
                  <a:path w="12024" h="10774" extrusionOk="0">
                    <a:moveTo>
                      <a:pt x="1793" y="0"/>
                    </a:moveTo>
                    <a:cubicBezTo>
                      <a:pt x="1464" y="672"/>
                      <a:pt x="1181" y="1404"/>
                      <a:pt x="927" y="2181"/>
                    </a:cubicBezTo>
                    <a:cubicBezTo>
                      <a:pt x="807" y="2599"/>
                      <a:pt x="688" y="3017"/>
                      <a:pt x="583" y="3465"/>
                    </a:cubicBezTo>
                    <a:cubicBezTo>
                      <a:pt x="568" y="3465"/>
                      <a:pt x="568" y="3480"/>
                      <a:pt x="568" y="3495"/>
                    </a:cubicBezTo>
                    <a:cubicBezTo>
                      <a:pt x="494" y="3869"/>
                      <a:pt x="404" y="4212"/>
                      <a:pt x="344" y="4541"/>
                    </a:cubicBezTo>
                    <a:cubicBezTo>
                      <a:pt x="1" y="6721"/>
                      <a:pt x="404" y="8708"/>
                      <a:pt x="404" y="8708"/>
                    </a:cubicBezTo>
                    <a:cubicBezTo>
                      <a:pt x="3081" y="10352"/>
                      <a:pt x="5698" y="10774"/>
                      <a:pt x="7678" y="10774"/>
                    </a:cubicBezTo>
                    <a:cubicBezTo>
                      <a:pt x="9763" y="10774"/>
                      <a:pt x="11143" y="10306"/>
                      <a:pt x="11143" y="10306"/>
                    </a:cubicBezTo>
                    <a:cubicBezTo>
                      <a:pt x="10904" y="9111"/>
                      <a:pt x="11098" y="6333"/>
                      <a:pt x="11098" y="6333"/>
                    </a:cubicBezTo>
                    <a:lnTo>
                      <a:pt x="11098" y="6333"/>
                    </a:lnTo>
                    <a:cubicBezTo>
                      <a:pt x="11098" y="6333"/>
                      <a:pt x="11158" y="6348"/>
                      <a:pt x="11262" y="6408"/>
                    </a:cubicBezTo>
                    <a:lnTo>
                      <a:pt x="11367" y="5064"/>
                    </a:lnTo>
                    <a:cubicBezTo>
                      <a:pt x="11367" y="5064"/>
                      <a:pt x="11397" y="3376"/>
                      <a:pt x="12024" y="1255"/>
                    </a:cubicBezTo>
                    <a:lnTo>
                      <a:pt x="1793"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4" name="Google Shape;1234;p17"/>
              <p:cNvSpPr/>
              <p:nvPr/>
            </p:nvSpPr>
            <p:spPr>
              <a:xfrm>
                <a:off x="2233800" y="5687875"/>
                <a:ext cx="296875" cy="431650"/>
              </a:xfrm>
              <a:custGeom>
                <a:avLst/>
                <a:gdLst/>
                <a:ahLst/>
                <a:cxnLst/>
                <a:rect l="l" t="t" r="r" b="b"/>
                <a:pathLst>
                  <a:path w="11875" h="17266" extrusionOk="0">
                    <a:moveTo>
                      <a:pt x="8522" y="755"/>
                    </a:moveTo>
                    <a:cubicBezTo>
                      <a:pt x="8662" y="755"/>
                      <a:pt x="8799" y="767"/>
                      <a:pt x="8932" y="792"/>
                    </a:cubicBezTo>
                    <a:cubicBezTo>
                      <a:pt x="9246" y="851"/>
                      <a:pt x="9530" y="1001"/>
                      <a:pt x="9799" y="1240"/>
                    </a:cubicBezTo>
                    <a:cubicBezTo>
                      <a:pt x="10083" y="1494"/>
                      <a:pt x="10322" y="1882"/>
                      <a:pt x="10501" y="2360"/>
                    </a:cubicBezTo>
                    <a:cubicBezTo>
                      <a:pt x="10560" y="2524"/>
                      <a:pt x="10620" y="2704"/>
                      <a:pt x="10665" y="2898"/>
                    </a:cubicBezTo>
                    <a:cubicBezTo>
                      <a:pt x="11053" y="4466"/>
                      <a:pt x="10934" y="6676"/>
                      <a:pt x="9993" y="8499"/>
                    </a:cubicBezTo>
                    <a:cubicBezTo>
                      <a:pt x="9724" y="9036"/>
                      <a:pt x="9425" y="9544"/>
                      <a:pt x="9097" y="9977"/>
                    </a:cubicBezTo>
                    <a:cubicBezTo>
                      <a:pt x="7753" y="11844"/>
                      <a:pt x="5975" y="12935"/>
                      <a:pt x="3839" y="13233"/>
                    </a:cubicBezTo>
                    <a:cubicBezTo>
                      <a:pt x="3448" y="13286"/>
                      <a:pt x="3044" y="13313"/>
                      <a:pt x="2629" y="13313"/>
                    </a:cubicBezTo>
                    <a:cubicBezTo>
                      <a:pt x="2110" y="13313"/>
                      <a:pt x="1572" y="13271"/>
                      <a:pt x="1017" y="13188"/>
                    </a:cubicBezTo>
                    <a:cubicBezTo>
                      <a:pt x="1151" y="11755"/>
                      <a:pt x="1390" y="10037"/>
                      <a:pt x="1853" y="8334"/>
                    </a:cubicBezTo>
                    <a:cubicBezTo>
                      <a:pt x="2420" y="6198"/>
                      <a:pt x="3332" y="4122"/>
                      <a:pt x="4765" y="2659"/>
                    </a:cubicBezTo>
                    <a:cubicBezTo>
                      <a:pt x="5124" y="2285"/>
                      <a:pt x="5542" y="1957"/>
                      <a:pt x="5975" y="1658"/>
                    </a:cubicBezTo>
                    <a:cubicBezTo>
                      <a:pt x="6720" y="1195"/>
                      <a:pt x="7665" y="755"/>
                      <a:pt x="8522" y="755"/>
                    </a:cubicBezTo>
                    <a:close/>
                    <a:moveTo>
                      <a:pt x="8513" y="0"/>
                    </a:moveTo>
                    <a:cubicBezTo>
                      <a:pt x="7750" y="0"/>
                      <a:pt x="6789" y="279"/>
                      <a:pt x="5587" y="1031"/>
                    </a:cubicBezTo>
                    <a:cubicBezTo>
                      <a:pt x="5124" y="1314"/>
                      <a:pt x="4721" y="1643"/>
                      <a:pt x="4317" y="2031"/>
                    </a:cubicBezTo>
                    <a:cubicBezTo>
                      <a:pt x="2898" y="3420"/>
                      <a:pt x="1823" y="5467"/>
                      <a:pt x="1091" y="8170"/>
                    </a:cubicBezTo>
                    <a:cubicBezTo>
                      <a:pt x="897" y="8872"/>
                      <a:pt x="733" y="9619"/>
                      <a:pt x="598" y="10410"/>
                    </a:cubicBezTo>
                    <a:cubicBezTo>
                      <a:pt x="1" y="13831"/>
                      <a:pt x="90" y="16773"/>
                      <a:pt x="105" y="16893"/>
                    </a:cubicBezTo>
                    <a:cubicBezTo>
                      <a:pt x="120" y="17102"/>
                      <a:pt x="285" y="17266"/>
                      <a:pt x="509" y="17266"/>
                    </a:cubicBezTo>
                    <a:cubicBezTo>
                      <a:pt x="539" y="17266"/>
                      <a:pt x="554" y="17266"/>
                      <a:pt x="583" y="17251"/>
                    </a:cubicBezTo>
                    <a:cubicBezTo>
                      <a:pt x="748" y="17206"/>
                      <a:pt x="882" y="17042"/>
                      <a:pt x="882" y="16863"/>
                    </a:cubicBezTo>
                    <a:cubicBezTo>
                      <a:pt x="882" y="16818"/>
                      <a:pt x="837" y="15653"/>
                      <a:pt x="957" y="13950"/>
                    </a:cubicBezTo>
                    <a:cubicBezTo>
                      <a:pt x="1549" y="14043"/>
                      <a:pt x="2121" y="14088"/>
                      <a:pt x="2675" y="14088"/>
                    </a:cubicBezTo>
                    <a:cubicBezTo>
                      <a:pt x="3099" y="14088"/>
                      <a:pt x="3512" y="14062"/>
                      <a:pt x="3914" y="14010"/>
                    </a:cubicBezTo>
                    <a:cubicBezTo>
                      <a:pt x="6214" y="13726"/>
                      <a:pt x="8111" y="12606"/>
                      <a:pt x="9575" y="10649"/>
                    </a:cubicBezTo>
                    <a:cubicBezTo>
                      <a:pt x="9978" y="10112"/>
                      <a:pt x="10351" y="9514"/>
                      <a:pt x="10695" y="8857"/>
                    </a:cubicBezTo>
                    <a:cubicBezTo>
                      <a:pt x="11546" y="7184"/>
                      <a:pt x="11875" y="4765"/>
                      <a:pt x="11472" y="2883"/>
                    </a:cubicBezTo>
                    <a:cubicBezTo>
                      <a:pt x="11382" y="2644"/>
                      <a:pt x="11337" y="2405"/>
                      <a:pt x="11248" y="2181"/>
                    </a:cubicBezTo>
                    <a:cubicBezTo>
                      <a:pt x="11023" y="1583"/>
                      <a:pt x="10725" y="1061"/>
                      <a:pt x="10322" y="687"/>
                    </a:cubicBezTo>
                    <a:cubicBezTo>
                      <a:pt x="9993" y="388"/>
                      <a:pt x="9530" y="120"/>
                      <a:pt x="8932" y="30"/>
                    </a:cubicBezTo>
                    <a:cubicBezTo>
                      <a:pt x="8800" y="11"/>
                      <a:pt x="8660" y="0"/>
                      <a:pt x="8513"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5" name="Google Shape;1235;p17"/>
              <p:cNvSpPr/>
              <p:nvPr/>
            </p:nvSpPr>
            <p:spPr>
              <a:xfrm>
                <a:off x="1788725" y="5522450"/>
                <a:ext cx="66850" cy="191200"/>
              </a:xfrm>
              <a:custGeom>
                <a:avLst/>
                <a:gdLst/>
                <a:ahLst/>
                <a:cxnLst/>
                <a:rect l="l" t="t" r="r" b="b"/>
                <a:pathLst>
                  <a:path w="2674" h="7648" extrusionOk="0">
                    <a:moveTo>
                      <a:pt x="732" y="1"/>
                    </a:moveTo>
                    <a:lnTo>
                      <a:pt x="0" y="195"/>
                    </a:lnTo>
                    <a:cubicBezTo>
                      <a:pt x="165" y="807"/>
                      <a:pt x="344" y="1494"/>
                      <a:pt x="538" y="2271"/>
                    </a:cubicBezTo>
                    <a:cubicBezTo>
                      <a:pt x="867" y="3555"/>
                      <a:pt x="1270" y="5153"/>
                      <a:pt x="1778" y="7020"/>
                    </a:cubicBezTo>
                    <a:cubicBezTo>
                      <a:pt x="1838" y="7244"/>
                      <a:pt x="1897" y="7439"/>
                      <a:pt x="1972" y="7648"/>
                    </a:cubicBezTo>
                    <a:lnTo>
                      <a:pt x="2674" y="7394"/>
                    </a:lnTo>
                    <a:lnTo>
                      <a:pt x="867" y="508"/>
                    </a:lnTo>
                    <a:lnTo>
                      <a:pt x="762" y="105"/>
                    </a:lnTo>
                    <a:lnTo>
                      <a:pt x="732"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6" name="Google Shape;1236;p17"/>
              <p:cNvSpPr/>
              <p:nvPr/>
            </p:nvSpPr>
            <p:spPr>
              <a:xfrm>
                <a:off x="2261075" y="5738275"/>
                <a:ext cx="91875" cy="157975"/>
              </a:xfrm>
              <a:custGeom>
                <a:avLst/>
                <a:gdLst/>
                <a:ahLst/>
                <a:cxnLst/>
                <a:rect l="l" t="t" r="r" b="b"/>
                <a:pathLst>
                  <a:path w="3675" h="6319" extrusionOk="0">
                    <a:moveTo>
                      <a:pt x="3211" y="0"/>
                    </a:moveTo>
                    <a:cubicBezTo>
                      <a:pt x="1807" y="1389"/>
                      <a:pt x="717" y="3451"/>
                      <a:pt x="0" y="6139"/>
                    </a:cubicBezTo>
                    <a:lnTo>
                      <a:pt x="762" y="6318"/>
                    </a:lnTo>
                    <a:cubicBezTo>
                      <a:pt x="1329" y="4182"/>
                      <a:pt x="2241" y="2106"/>
                      <a:pt x="3674" y="643"/>
                    </a:cubicBezTo>
                    <a:lnTo>
                      <a:pt x="3211"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7" name="Google Shape;1237;p17"/>
              <p:cNvSpPr/>
              <p:nvPr/>
            </p:nvSpPr>
            <p:spPr>
              <a:xfrm>
                <a:off x="2257700" y="5741625"/>
                <a:ext cx="272600" cy="298125"/>
              </a:xfrm>
              <a:custGeom>
                <a:avLst/>
                <a:gdLst/>
                <a:ahLst/>
                <a:cxnLst/>
                <a:rect l="l" t="t" r="r" b="b"/>
                <a:pathLst>
                  <a:path w="10904" h="11925" extrusionOk="0">
                    <a:moveTo>
                      <a:pt x="10306" y="1"/>
                    </a:moveTo>
                    <a:lnTo>
                      <a:pt x="9545" y="195"/>
                    </a:lnTo>
                    <a:cubicBezTo>
                      <a:pt x="9619" y="374"/>
                      <a:pt x="9664" y="539"/>
                      <a:pt x="9709" y="733"/>
                    </a:cubicBezTo>
                    <a:cubicBezTo>
                      <a:pt x="10112" y="2301"/>
                      <a:pt x="9993" y="4512"/>
                      <a:pt x="9052" y="6334"/>
                    </a:cubicBezTo>
                    <a:cubicBezTo>
                      <a:pt x="8783" y="6871"/>
                      <a:pt x="8484" y="7364"/>
                      <a:pt x="8156" y="7812"/>
                    </a:cubicBezTo>
                    <a:cubicBezTo>
                      <a:pt x="6797" y="9694"/>
                      <a:pt x="5034" y="10785"/>
                      <a:pt x="2898" y="11068"/>
                    </a:cubicBezTo>
                    <a:cubicBezTo>
                      <a:pt x="2507" y="11121"/>
                      <a:pt x="2103" y="11148"/>
                      <a:pt x="1688" y="11148"/>
                    </a:cubicBezTo>
                    <a:cubicBezTo>
                      <a:pt x="1169" y="11148"/>
                      <a:pt x="631" y="11107"/>
                      <a:pt x="75" y="11024"/>
                    </a:cubicBezTo>
                    <a:lnTo>
                      <a:pt x="1" y="11800"/>
                    </a:lnTo>
                    <a:cubicBezTo>
                      <a:pt x="582" y="11883"/>
                      <a:pt x="1144" y="11925"/>
                      <a:pt x="1688" y="11925"/>
                    </a:cubicBezTo>
                    <a:cubicBezTo>
                      <a:pt x="2123" y="11925"/>
                      <a:pt x="2546" y="11898"/>
                      <a:pt x="2958" y="11845"/>
                    </a:cubicBezTo>
                    <a:cubicBezTo>
                      <a:pt x="5243" y="11561"/>
                      <a:pt x="7140" y="10456"/>
                      <a:pt x="8589" y="8484"/>
                    </a:cubicBezTo>
                    <a:cubicBezTo>
                      <a:pt x="9007" y="7947"/>
                      <a:pt x="9366" y="7349"/>
                      <a:pt x="9709" y="6692"/>
                    </a:cubicBezTo>
                    <a:cubicBezTo>
                      <a:pt x="10575" y="5034"/>
                      <a:pt x="10904" y="2600"/>
                      <a:pt x="10486" y="718"/>
                    </a:cubicBezTo>
                    <a:cubicBezTo>
                      <a:pt x="10426" y="494"/>
                      <a:pt x="10381" y="255"/>
                      <a:pt x="1030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8" name="Google Shape;1238;p17"/>
              <p:cNvSpPr/>
              <p:nvPr/>
            </p:nvSpPr>
            <p:spPr>
              <a:xfrm>
                <a:off x="2327525" y="5936925"/>
                <a:ext cx="145275" cy="100850"/>
              </a:xfrm>
              <a:custGeom>
                <a:avLst/>
                <a:gdLst/>
                <a:ahLst/>
                <a:cxnLst/>
                <a:rect l="l" t="t" r="r" b="b"/>
                <a:pathLst>
                  <a:path w="5811" h="4034" extrusionOk="0">
                    <a:moveTo>
                      <a:pt x="5363" y="0"/>
                    </a:moveTo>
                    <a:cubicBezTo>
                      <a:pt x="4004" y="1882"/>
                      <a:pt x="2241" y="2973"/>
                      <a:pt x="105" y="3256"/>
                    </a:cubicBezTo>
                    <a:lnTo>
                      <a:pt x="1" y="3331"/>
                    </a:lnTo>
                    <a:lnTo>
                      <a:pt x="165" y="4033"/>
                    </a:lnTo>
                    <a:cubicBezTo>
                      <a:pt x="2450" y="3749"/>
                      <a:pt x="4347" y="2644"/>
                      <a:pt x="5811" y="687"/>
                    </a:cubicBezTo>
                    <a:lnTo>
                      <a:pt x="5363"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39" name="Google Shape;1239;p17"/>
            <p:cNvGrpSpPr/>
            <p:nvPr/>
          </p:nvGrpSpPr>
          <p:grpSpPr>
            <a:xfrm rot="-942102">
              <a:off x="5759784" y="109690"/>
              <a:ext cx="827980" cy="1076610"/>
              <a:chOff x="7054700" y="8340850"/>
              <a:chExt cx="411525" cy="535100"/>
            </a:xfrm>
          </p:grpSpPr>
          <p:sp>
            <p:nvSpPr>
              <p:cNvPr id="1240" name="Google Shape;1240;p17"/>
              <p:cNvSpPr/>
              <p:nvPr/>
            </p:nvSpPr>
            <p:spPr>
              <a:xfrm>
                <a:off x="7224975" y="8340850"/>
                <a:ext cx="101600" cy="243850"/>
              </a:xfrm>
              <a:custGeom>
                <a:avLst/>
                <a:gdLst/>
                <a:ahLst/>
                <a:cxnLst/>
                <a:rect l="l" t="t" r="r" b="b"/>
                <a:pathLst>
                  <a:path w="4064" h="9754" fill="none" extrusionOk="0">
                    <a:moveTo>
                      <a:pt x="1" y="9753"/>
                    </a:moveTo>
                    <a:cubicBezTo>
                      <a:pt x="1" y="9753"/>
                      <a:pt x="3107" y="3690"/>
                      <a:pt x="4063" y="0"/>
                    </a:cubicBezTo>
                    <a:moveTo>
                      <a:pt x="3555" y="9753"/>
                    </a:moveTo>
                    <a:cubicBezTo>
                      <a:pt x="3555" y="9753"/>
                      <a:pt x="2465" y="7050"/>
                      <a:pt x="2420" y="4496"/>
                    </a:cubicBezTo>
                  </a:path>
                </a:pathLst>
              </a:custGeom>
              <a:noFill/>
              <a:ln w="1567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1" name="Google Shape;1241;p17"/>
              <p:cNvSpPr/>
              <p:nvPr/>
            </p:nvSpPr>
            <p:spPr>
              <a:xfrm>
                <a:off x="7054700" y="8573950"/>
                <a:ext cx="252825" cy="194075"/>
              </a:xfrm>
              <a:custGeom>
                <a:avLst/>
                <a:gdLst/>
                <a:ahLst/>
                <a:cxnLst/>
                <a:rect l="l" t="t" r="r" b="b"/>
                <a:pathLst>
                  <a:path w="10113" h="7763" extrusionOk="0">
                    <a:moveTo>
                      <a:pt x="6465" y="0"/>
                    </a:moveTo>
                    <a:cubicBezTo>
                      <a:pt x="6295" y="0"/>
                      <a:pt x="6122" y="87"/>
                      <a:pt x="6020" y="250"/>
                    </a:cubicBezTo>
                    <a:cubicBezTo>
                      <a:pt x="5632" y="848"/>
                      <a:pt x="5497" y="1490"/>
                      <a:pt x="5452" y="1998"/>
                    </a:cubicBezTo>
                    <a:cubicBezTo>
                      <a:pt x="5044" y="1913"/>
                      <a:pt x="4502" y="1830"/>
                      <a:pt x="3931" y="1830"/>
                    </a:cubicBezTo>
                    <a:cubicBezTo>
                      <a:pt x="2791" y="1830"/>
                      <a:pt x="1539" y="2162"/>
                      <a:pt x="1031" y="3476"/>
                    </a:cubicBezTo>
                    <a:cubicBezTo>
                      <a:pt x="1" y="6135"/>
                      <a:pt x="4497" y="7106"/>
                      <a:pt x="4497" y="7106"/>
                    </a:cubicBezTo>
                    <a:cubicBezTo>
                      <a:pt x="4497" y="7106"/>
                      <a:pt x="5916" y="7762"/>
                      <a:pt x="7253" y="7762"/>
                    </a:cubicBezTo>
                    <a:cubicBezTo>
                      <a:pt x="8206" y="7762"/>
                      <a:pt x="9117" y="7428"/>
                      <a:pt x="9440" y="6284"/>
                    </a:cubicBezTo>
                    <a:cubicBezTo>
                      <a:pt x="10112" y="4014"/>
                      <a:pt x="7379" y="2670"/>
                      <a:pt x="6453" y="2296"/>
                    </a:cubicBezTo>
                    <a:cubicBezTo>
                      <a:pt x="6722" y="1848"/>
                      <a:pt x="7080" y="1490"/>
                      <a:pt x="7379" y="1236"/>
                    </a:cubicBezTo>
                    <a:cubicBezTo>
                      <a:pt x="7678" y="982"/>
                      <a:pt x="7603" y="519"/>
                      <a:pt x="7275" y="355"/>
                    </a:cubicBezTo>
                    <a:lnTo>
                      <a:pt x="6692" y="56"/>
                    </a:lnTo>
                    <a:cubicBezTo>
                      <a:pt x="6622" y="18"/>
                      <a:pt x="6543" y="0"/>
                      <a:pt x="6465"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2" name="Google Shape;1242;p17"/>
              <p:cNvSpPr/>
              <p:nvPr/>
            </p:nvSpPr>
            <p:spPr>
              <a:xfrm>
                <a:off x="7065175" y="8679500"/>
                <a:ext cx="190450" cy="186150"/>
              </a:xfrm>
              <a:custGeom>
                <a:avLst/>
                <a:gdLst/>
                <a:ahLst/>
                <a:cxnLst/>
                <a:rect l="l" t="t" r="r" b="b"/>
                <a:pathLst>
                  <a:path w="7618" h="7446" extrusionOk="0">
                    <a:moveTo>
                      <a:pt x="2208" y="0"/>
                    </a:moveTo>
                    <a:cubicBezTo>
                      <a:pt x="1980" y="0"/>
                      <a:pt x="1759" y="147"/>
                      <a:pt x="1688" y="389"/>
                    </a:cubicBezTo>
                    <a:lnTo>
                      <a:pt x="538" y="3840"/>
                    </a:lnTo>
                    <a:cubicBezTo>
                      <a:pt x="0" y="5438"/>
                      <a:pt x="1673" y="7021"/>
                      <a:pt x="2599" y="7335"/>
                    </a:cubicBezTo>
                    <a:cubicBezTo>
                      <a:pt x="2659" y="7365"/>
                      <a:pt x="2733" y="7379"/>
                      <a:pt x="2793" y="7379"/>
                    </a:cubicBezTo>
                    <a:cubicBezTo>
                      <a:pt x="2986" y="7422"/>
                      <a:pt x="3215" y="7445"/>
                      <a:pt x="3464" y="7445"/>
                    </a:cubicBezTo>
                    <a:cubicBezTo>
                      <a:pt x="4179" y="7445"/>
                      <a:pt x="5055" y="7251"/>
                      <a:pt x="5676" y="6752"/>
                    </a:cubicBezTo>
                    <a:lnTo>
                      <a:pt x="5691" y="6737"/>
                    </a:lnTo>
                    <a:lnTo>
                      <a:pt x="5706" y="6737"/>
                    </a:lnTo>
                    <a:lnTo>
                      <a:pt x="5721" y="6722"/>
                    </a:lnTo>
                    <a:lnTo>
                      <a:pt x="5735" y="6707"/>
                    </a:lnTo>
                    <a:lnTo>
                      <a:pt x="5750" y="6692"/>
                    </a:lnTo>
                    <a:lnTo>
                      <a:pt x="5765" y="6677"/>
                    </a:lnTo>
                    <a:lnTo>
                      <a:pt x="5780" y="6677"/>
                    </a:lnTo>
                    <a:lnTo>
                      <a:pt x="5795" y="6663"/>
                    </a:lnTo>
                    <a:lnTo>
                      <a:pt x="5795" y="6648"/>
                    </a:lnTo>
                    <a:lnTo>
                      <a:pt x="5810" y="6633"/>
                    </a:lnTo>
                    <a:lnTo>
                      <a:pt x="5825" y="6618"/>
                    </a:lnTo>
                    <a:lnTo>
                      <a:pt x="5840" y="6603"/>
                    </a:lnTo>
                    <a:lnTo>
                      <a:pt x="5855" y="6603"/>
                    </a:lnTo>
                    <a:cubicBezTo>
                      <a:pt x="6079" y="6379"/>
                      <a:pt x="6258" y="6110"/>
                      <a:pt x="6378" y="5811"/>
                    </a:cubicBezTo>
                    <a:lnTo>
                      <a:pt x="7528" y="2361"/>
                    </a:lnTo>
                    <a:cubicBezTo>
                      <a:pt x="7617" y="2122"/>
                      <a:pt x="7513" y="1853"/>
                      <a:pt x="7304" y="1704"/>
                    </a:cubicBezTo>
                    <a:cubicBezTo>
                      <a:pt x="7289" y="1674"/>
                      <a:pt x="7244" y="1659"/>
                      <a:pt x="7214" y="1644"/>
                    </a:cubicBezTo>
                    <a:cubicBezTo>
                      <a:pt x="6004" y="808"/>
                      <a:pt x="4615" y="285"/>
                      <a:pt x="3181" y="91"/>
                    </a:cubicBezTo>
                    <a:cubicBezTo>
                      <a:pt x="2868" y="46"/>
                      <a:pt x="2569" y="16"/>
                      <a:pt x="2241" y="1"/>
                    </a:cubicBezTo>
                    <a:cubicBezTo>
                      <a:pt x="2230" y="0"/>
                      <a:pt x="2219" y="0"/>
                      <a:pt x="2208" y="0"/>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3" name="Google Shape;1243;p17"/>
              <p:cNvSpPr/>
              <p:nvPr/>
            </p:nvSpPr>
            <p:spPr>
              <a:xfrm>
                <a:off x="7064800" y="8679875"/>
                <a:ext cx="79550" cy="184500"/>
              </a:xfrm>
              <a:custGeom>
                <a:avLst/>
                <a:gdLst/>
                <a:ahLst/>
                <a:cxnLst/>
                <a:rect l="l" t="t" r="r" b="b"/>
                <a:pathLst>
                  <a:path w="3182" h="7380" extrusionOk="0">
                    <a:moveTo>
                      <a:pt x="2223" y="0"/>
                    </a:moveTo>
                    <a:cubicBezTo>
                      <a:pt x="1982" y="0"/>
                      <a:pt x="1759" y="161"/>
                      <a:pt x="1688" y="389"/>
                    </a:cubicBezTo>
                    <a:lnTo>
                      <a:pt x="538" y="3825"/>
                    </a:lnTo>
                    <a:cubicBezTo>
                      <a:pt x="0" y="5438"/>
                      <a:pt x="1688" y="7021"/>
                      <a:pt x="2599" y="7335"/>
                    </a:cubicBezTo>
                    <a:cubicBezTo>
                      <a:pt x="2659" y="7364"/>
                      <a:pt x="2733" y="7364"/>
                      <a:pt x="2793" y="7379"/>
                    </a:cubicBezTo>
                    <a:cubicBezTo>
                      <a:pt x="1688" y="4616"/>
                      <a:pt x="2554" y="1629"/>
                      <a:pt x="3182" y="91"/>
                    </a:cubicBezTo>
                    <a:cubicBezTo>
                      <a:pt x="2868" y="46"/>
                      <a:pt x="2569" y="16"/>
                      <a:pt x="2256" y="1"/>
                    </a:cubicBezTo>
                    <a:cubicBezTo>
                      <a:pt x="2245" y="0"/>
                      <a:pt x="2234" y="0"/>
                      <a:pt x="222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4" name="Google Shape;1244;p17"/>
              <p:cNvSpPr/>
              <p:nvPr/>
            </p:nvSpPr>
            <p:spPr>
              <a:xfrm>
                <a:off x="7220125" y="8580850"/>
                <a:ext cx="246100" cy="190825"/>
              </a:xfrm>
              <a:custGeom>
                <a:avLst/>
                <a:gdLst/>
                <a:ahLst/>
                <a:cxnLst/>
                <a:rect l="l" t="t" r="r" b="b"/>
                <a:pathLst>
                  <a:path w="9844" h="7633" extrusionOk="0">
                    <a:moveTo>
                      <a:pt x="4066" y="0"/>
                    </a:moveTo>
                    <a:cubicBezTo>
                      <a:pt x="4046" y="0"/>
                      <a:pt x="4025" y="2"/>
                      <a:pt x="4003" y="4"/>
                    </a:cubicBezTo>
                    <a:lnTo>
                      <a:pt x="3361" y="49"/>
                    </a:lnTo>
                    <a:cubicBezTo>
                      <a:pt x="3092" y="79"/>
                      <a:pt x="2883" y="318"/>
                      <a:pt x="2883" y="587"/>
                    </a:cubicBezTo>
                    <a:cubicBezTo>
                      <a:pt x="2883" y="1304"/>
                      <a:pt x="3107" y="1916"/>
                      <a:pt x="3346" y="2364"/>
                    </a:cubicBezTo>
                    <a:cubicBezTo>
                      <a:pt x="2181" y="2797"/>
                      <a:pt x="0" y="3902"/>
                      <a:pt x="419" y="5964"/>
                    </a:cubicBezTo>
                    <a:cubicBezTo>
                      <a:pt x="671" y="7283"/>
                      <a:pt x="1762" y="7633"/>
                      <a:pt x="2847" y="7633"/>
                    </a:cubicBezTo>
                    <a:cubicBezTo>
                      <a:pt x="4071" y="7633"/>
                      <a:pt x="5288" y="7188"/>
                      <a:pt x="5288" y="7188"/>
                    </a:cubicBezTo>
                    <a:cubicBezTo>
                      <a:pt x="5288" y="7188"/>
                      <a:pt x="9843" y="6576"/>
                      <a:pt x="9022" y="3843"/>
                    </a:cubicBezTo>
                    <a:cubicBezTo>
                      <a:pt x="8564" y="2286"/>
                      <a:pt x="7004" y="1949"/>
                      <a:pt x="5754" y="1949"/>
                    </a:cubicBezTo>
                    <a:cubicBezTo>
                      <a:pt x="5169" y="1949"/>
                      <a:pt x="4652" y="2023"/>
                      <a:pt x="4347" y="2080"/>
                    </a:cubicBezTo>
                    <a:cubicBezTo>
                      <a:pt x="4332" y="1557"/>
                      <a:pt x="4451" y="1065"/>
                      <a:pt x="4571" y="691"/>
                    </a:cubicBezTo>
                    <a:cubicBezTo>
                      <a:pt x="4669" y="339"/>
                      <a:pt x="4409" y="0"/>
                      <a:pt x="4066"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5" name="Google Shape;1245;p17"/>
              <p:cNvSpPr/>
              <p:nvPr/>
            </p:nvSpPr>
            <p:spPr>
              <a:xfrm>
                <a:off x="7266800" y="8692100"/>
                <a:ext cx="174400" cy="183850"/>
              </a:xfrm>
              <a:custGeom>
                <a:avLst/>
                <a:gdLst/>
                <a:ahLst/>
                <a:cxnLst/>
                <a:rect l="l" t="t" r="r" b="b"/>
                <a:pathLst>
                  <a:path w="6976" h="7354" extrusionOk="0">
                    <a:moveTo>
                      <a:pt x="5102" y="1"/>
                    </a:moveTo>
                    <a:cubicBezTo>
                      <a:pt x="3724" y="1"/>
                      <a:pt x="2379" y="298"/>
                      <a:pt x="1151" y="856"/>
                    </a:cubicBezTo>
                    <a:cubicBezTo>
                      <a:pt x="882" y="976"/>
                      <a:pt x="598" y="1140"/>
                      <a:pt x="329" y="1289"/>
                    </a:cubicBezTo>
                    <a:cubicBezTo>
                      <a:pt x="105" y="1409"/>
                      <a:pt x="0" y="1663"/>
                      <a:pt x="60" y="1917"/>
                    </a:cubicBezTo>
                    <a:lnTo>
                      <a:pt x="912" y="5442"/>
                    </a:lnTo>
                    <a:cubicBezTo>
                      <a:pt x="1249" y="6815"/>
                      <a:pt x="2901" y="7354"/>
                      <a:pt x="3984" y="7354"/>
                    </a:cubicBezTo>
                    <a:cubicBezTo>
                      <a:pt x="4196" y="7354"/>
                      <a:pt x="4387" y="7333"/>
                      <a:pt x="4541" y="7294"/>
                    </a:cubicBezTo>
                    <a:cubicBezTo>
                      <a:pt x="4601" y="7279"/>
                      <a:pt x="4660" y="7264"/>
                      <a:pt x="4735" y="7234"/>
                    </a:cubicBezTo>
                    <a:cubicBezTo>
                      <a:pt x="5452" y="6980"/>
                      <a:pt x="6483" y="6173"/>
                      <a:pt x="6826" y="5158"/>
                    </a:cubicBezTo>
                    <a:lnTo>
                      <a:pt x="6841" y="5143"/>
                    </a:lnTo>
                    <a:lnTo>
                      <a:pt x="6841" y="5113"/>
                    </a:lnTo>
                    <a:lnTo>
                      <a:pt x="6856" y="5098"/>
                    </a:lnTo>
                    <a:lnTo>
                      <a:pt x="6856" y="5083"/>
                    </a:lnTo>
                    <a:lnTo>
                      <a:pt x="6856" y="5068"/>
                    </a:lnTo>
                    <a:lnTo>
                      <a:pt x="6871" y="5053"/>
                    </a:lnTo>
                    <a:lnTo>
                      <a:pt x="6871" y="5038"/>
                    </a:lnTo>
                    <a:lnTo>
                      <a:pt x="6871" y="5008"/>
                    </a:lnTo>
                    <a:lnTo>
                      <a:pt x="6886" y="4994"/>
                    </a:lnTo>
                    <a:lnTo>
                      <a:pt x="6886" y="4979"/>
                    </a:lnTo>
                    <a:lnTo>
                      <a:pt x="6886" y="4964"/>
                    </a:lnTo>
                    <a:lnTo>
                      <a:pt x="6886" y="4949"/>
                    </a:lnTo>
                    <a:cubicBezTo>
                      <a:pt x="6961" y="4635"/>
                      <a:pt x="6975" y="4307"/>
                      <a:pt x="6901" y="3978"/>
                    </a:cubicBezTo>
                    <a:lnTo>
                      <a:pt x="6035" y="453"/>
                    </a:lnTo>
                    <a:cubicBezTo>
                      <a:pt x="5975" y="199"/>
                      <a:pt x="5766" y="20"/>
                      <a:pt x="5497" y="5"/>
                    </a:cubicBezTo>
                    <a:lnTo>
                      <a:pt x="5392" y="5"/>
                    </a:lnTo>
                    <a:cubicBezTo>
                      <a:pt x="5295" y="2"/>
                      <a:pt x="5199" y="1"/>
                      <a:pt x="5102"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6" name="Google Shape;1246;p17"/>
              <p:cNvSpPr/>
              <p:nvPr/>
            </p:nvSpPr>
            <p:spPr>
              <a:xfrm>
                <a:off x="7266800" y="8713500"/>
                <a:ext cx="118400" cy="162450"/>
              </a:xfrm>
              <a:custGeom>
                <a:avLst/>
                <a:gdLst/>
                <a:ahLst/>
                <a:cxnLst/>
                <a:rect l="l" t="t" r="r" b="b"/>
                <a:pathLst>
                  <a:path w="4736" h="6498" extrusionOk="0">
                    <a:moveTo>
                      <a:pt x="1151" y="0"/>
                    </a:moveTo>
                    <a:cubicBezTo>
                      <a:pt x="882" y="120"/>
                      <a:pt x="598" y="269"/>
                      <a:pt x="329" y="433"/>
                    </a:cubicBezTo>
                    <a:cubicBezTo>
                      <a:pt x="105" y="553"/>
                      <a:pt x="0" y="807"/>
                      <a:pt x="60" y="1061"/>
                    </a:cubicBezTo>
                    <a:lnTo>
                      <a:pt x="912" y="4586"/>
                    </a:lnTo>
                    <a:cubicBezTo>
                      <a:pt x="1249" y="5959"/>
                      <a:pt x="2901" y="6498"/>
                      <a:pt x="3984" y="6498"/>
                    </a:cubicBezTo>
                    <a:cubicBezTo>
                      <a:pt x="4196" y="6498"/>
                      <a:pt x="4387" y="6477"/>
                      <a:pt x="4541" y="6438"/>
                    </a:cubicBezTo>
                    <a:cubicBezTo>
                      <a:pt x="4601" y="6423"/>
                      <a:pt x="4660" y="6408"/>
                      <a:pt x="4735" y="6378"/>
                    </a:cubicBezTo>
                    <a:cubicBezTo>
                      <a:pt x="2316" y="4645"/>
                      <a:pt x="1449" y="1658"/>
                      <a:pt x="1151"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7" name="Google Shape;1247;p17"/>
              <p:cNvSpPr/>
              <p:nvPr/>
            </p:nvSpPr>
            <p:spPr>
              <a:xfrm>
                <a:off x="7292575" y="8422250"/>
                <a:ext cx="159825" cy="136675"/>
              </a:xfrm>
              <a:custGeom>
                <a:avLst/>
                <a:gdLst/>
                <a:ahLst/>
                <a:cxnLst/>
                <a:rect l="l" t="t" r="r" b="b"/>
                <a:pathLst>
                  <a:path w="6393" h="5467" extrusionOk="0">
                    <a:moveTo>
                      <a:pt x="1090" y="0"/>
                    </a:moveTo>
                    <a:cubicBezTo>
                      <a:pt x="1090" y="1"/>
                      <a:pt x="0" y="4541"/>
                      <a:pt x="5422" y="5467"/>
                    </a:cubicBezTo>
                    <a:lnTo>
                      <a:pt x="5437" y="5467"/>
                    </a:lnTo>
                    <a:cubicBezTo>
                      <a:pt x="5437" y="5467"/>
                      <a:pt x="6393" y="1479"/>
                      <a:pt x="1090" y="0"/>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8" name="Google Shape;1248;p17"/>
              <p:cNvSpPr/>
              <p:nvPr/>
            </p:nvSpPr>
            <p:spPr>
              <a:xfrm>
                <a:off x="7306375" y="8404700"/>
                <a:ext cx="97850" cy="124000"/>
              </a:xfrm>
              <a:custGeom>
                <a:avLst/>
                <a:gdLst/>
                <a:ahLst/>
                <a:cxnLst/>
                <a:rect l="l" t="t" r="r" b="b"/>
                <a:pathLst>
                  <a:path w="3914" h="4960" fill="none" extrusionOk="0">
                    <a:moveTo>
                      <a:pt x="1" y="0"/>
                    </a:moveTo>
                    <a:lnTo>
                      <a:pt x="3914" y="495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9" name="Google Shape;1249;p17"/>
              <p:cNvSpPr/>
              <p:nvPr/>
            </p:nvSpPr>
            <p:spPr>
              <a:xfrm>
                <a:off x="7104375" y="8455100"/>
                <a:ext cx="188200" cy="154625"/>
              </a:xfrm>
              <a:custGeom>
                <a:avLst/>
                <a:gdLst/>
                <a:ahLst/>
                <a:cxnLst/>
                <a:rect l="l" t="t" r="r" b="b"/>
                <a:pathLst>
                  <a:path w="7528" h="6185" extrusionOk="0">
                    <a:moveTo>
                      <a:pt x="6796" y="1"/>
                    </a:moveTo>
                    <a:lnTo>
                      <a:pt x="6796" y="1"/>
                    </a:lnTo>
                    <a:cubicBezTo>
                      <a:pt x="0" y="1091"/>
                      <a:pt x="643" y="6184"/>
                      <a:pt x="643" y="6184"/>
                    </a:cubicBezTo>
                    <a:lnTo>
                      <a:pt x="673" y="6184"/>
                    </a:lnTo>
                    <a:cubicBezTo>
                      <a:pt x="7528" y="5796"/>
                      <a:pt x="6796" y="1"/>
                      <a:pt x="679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0" name="Google Shape;1250;p17"/>
              <p:cNvSpPr/>
              <p:nvPr/>
            </p:nvSpPr>
            <p:spPr>
              <a:xfrm>
                <a:off x="7154775" y="8435700"/>
                <a:ext cx="138925" cy="140025"/>
              </a:xfrm>
              <a:custGeom>
                <a:avLst/>
                <a:gdLst/>
                <a:ahLst/>
                <a:cxnLst/>
                <a:rect l="l" t="t" r="r" b="b"/>
                <a:pathLst>
                  <a:path w="5557" h="5601" fill="none" extrusionOk="0">
                    <a:moveTo>
                      <a:pt x="5557" y="0"/>
                    </a:moveTo>
                    <a:lnTo>
                      <a:pt x="1" y="560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1" name="Google Shape;1251;p17"/>
            <p:cNvGrpSpPr/>
            <p:nvPr/>
          </p:nvGrpSpPr>
          <p:grpSpPr>
            <a:xfrm rot="10800000">
              <a:off x="8510143" y="-45720"/>
              <a:ext cx="561993" cy="1064543"/>
              <a:chOff x="7176425" y="4828100"/>
              <a:chExt cx="188975" cy="357950"/>
            </a:xfrm>
          </p:grpSpPr>
          <p:sp>
            <p:nvSpPr>
              <p:cNvPr id="1252" name="Google Shape;1252;p17"/>
              <p:cNvSpPr/>
              <p:nvPr/>
            </p:nvSpPr>
            <p:spPr>
              <a:xfrm>
                <a:off x="7176425" y="4828100"/>
                <a:ext cx="145300" cy="259750"/>
              </a:xfrm>
              <a:custGeom>
                <a:avLst/>
                <a:gdLst/>
                <a:ahLst/>
                <a:cxnLst/>
                <a:rect l="l" t="t" r="r" b="b"/>
                <a:pathLst>
                  <a:path w="5812" h="10390" extrusionOk="0">
                    <a:moveTo>
                      <a:pt x="5477" y="1"/>
                    </a:moveTo>
                    <a:cubicBezTo>
                      <a:pt x="5465" y="1"/>
                      <a:pt x="5451" y="3"/>
                      <a:pt x="5438" y="9"/>
                    </a:cubicBezTo>
                    <a:cubicBezTo>
                      <a:pt x="4093" y="860"/>
                      <a:pt x="2854" y="2623"/>
                      <a:pt x="2854" y="2623"/>
                    </a:cubicBezTo>
                    <a:lnTo>
                      <a:pt x="2794" y="2503"/>
                    </a:lnTo>
                    <a:cubicBezTo>
                      <a:pt x="2777" y="2477"/>
                      <a:pt x="2744" y="2461"/>
                      <a:pt x="2714" y="2461"/>
                    </a:cubicBezTo>
                    <a:cubicBezTo>
                      <a:pt x="2692" y="2461"/>
                      <a:pt x="2672" y="2469"/>
                      <a:pt x="2660" y="2488"/>
                    </a:cubicBezTo>
                    <a:cubicBezTo>
                      <a:pt x="1823" y="3384"/>
                      <a:pt x="1554" y="4609"/>
                      <a:pt x="1480" y="5087"/>
                    </a:cubicBezTo>
                    <a:cubicBezTo>
                      <a:pt x="1471" y="5132"/>
                      <a:pt x="1430" y="5160"/>
                      <a:pt x="1389" y="5160"/>
                    </a:cubicBezTo>
                    <a:cubicBezTo>
                      <a:pt x="1361" y="5160"/>
                      <a:pt x="1333" y="5147"/>
                      <a:pt x="1315" y="5117"/>
                    </a:cubicBezTo>
                    <a:lnTo>
                      <a:pt x="1285" y="5072"/>
                    </a:lnTo>
                    <a:cubicBezTo>
                      <a:pt x="1266" y="5046"/>
                      <a:pt x="1238" y="5034"/>
                      <a:pt x="1211" y="5034"/>
                    </a:cubicBezTo>
                    <a:cubicBezTo>
                      <a:pt x="1176" y="5034"/>
                      <a:pt x="1145" y="5053"/>
                      <a:pt x="1136" y="5087"/>
                    </a:cubicBezTo>
                    <a:cubicBezTo>
                      <a:pt x="1" y="8477"/>
                      <a:pt x="1823" y="10135"/>
                      <a:pt x="2092" y="10359"/>
                    </a:cubicBezTo>
                    <a:cubicBezTo>
                      <a:pt x="2122" y="10389"/>
                      <a:pt x="2137" y="10389"/>
                      <a:pt x="2152" y="10389"/>
                    </a:cubicBezTo>
                    <a:cubicBezTo>
                      <a:pt x="4990" y="9732"/>
                      <a:pt x="5647" y="6461"/>
                      <a:pt x="5766" y="5684"/>
                    </a:cubicBezTo>
                    <a:cubicBezTo>
                      <a:pt x="5778" y="5626"/>
                      <a:pt x="5725" y="5585"/>
                      <a:pt x="5680" y="5585"/>
                    </a:cubicBezTo>
                    <a:cubicBezTo>
                      <a:pt x="5668" y="5585"/>
                      <a:pt x="5656" y="5588"/>
                      <a:pt x="5647" y="5595"/>
                    </a:cubicBezTo>
                    <a:lnTo>
                      <a:pt x="5557" y="5655"/>
                    </a:lnTo>
                    <a:cubicBezTo>
                      <a:pt x="5543" y="5663"/>
                      <a:pt x="5529" y="5667"/>
                      <a:pt x="5516" y="5667"/>
                    </a:cubicBezTo>
                    <a:cubicBezTo>
                      <a:pt x="5458" y="5667"/>
                      <a:pt x="5413" y="5598"/>
                      <a:pt x="5438" y="5550"/>
                    </a:cubicBezTo>
                    <a:cubicBezTo>
                      <a:pt x="5781" y="4788"/>
                      <a:pt x="5811" y="3713"/>
                      <a:pt x="5796" y="3280"/>
                    </a:cubicBezTo>
                    <a:cubicBezTo>
                      <a:pt x="5796" y="3237"/>
                      <a:pt x="5750" y="3202"/>
                      <a:pt x="5708" y="3202"/>
                    </a:cubicBezTo>
                    <a:cubicBezTo>
                      <a:pt x="5691" y="3202"/>
                      <a:pt x="5674" y="3207"/>
                      <a:pt x="5662" y="3220"/>
                    </a:cubicBezTo>
                    <a:cubicBezTo>
                      <a:pt x="5642" y="3244"/>
                      <a:pt x="5620" y="3254"/>
                      <a:pt x="5599" y="3254"/>
                    </a:cubicBezTo>
                    <a:cubicBezTo>
                      <a:pt x="5555" y="3254"/>
                      <a:pt x="5517" y="3211"/>
                      <a:pt x="5527" y="3160"/>
                    </a:cubicBezTo>
                    <a:cubicBezTo>
                      <a:pt x="5587" y="2712"/>
                      <a:pt x="5587" y="2085"/>
                      <a:pt x="5453" y="1458"/>
                    </a:cubicBezTo>
                    <a:cubicBezTo>
                      <a:pt x="5348" y="920"/>
                      <a:pt x="5467" y="397"/>
                      <a:pt x="5557" y="113"/>
                    </a:cubicBezTo>
                    <a:cubicBezTo>
                      <a:pt x="5582" y="52"/>
                      <a:pt x="5536" y="1"/>
                      <a:pt x="5477"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3" name="Google Shape;1253;p17"/>
              <p:cNvSpPr/>
              <p:nvPr/>
            </p:nvSpPr>
            <p:spPr>
              <a:xfrm>
                <a:off x="7251900" y="5049725"/>
                <a:ext cx="113500" cy="77225"/>
              </a:xfrm>
              <a:custGeom>
                <a:avLst/>
                <a:gdLst/>
                <a:ahLst/>
                <a:cxnLst/>
                <a:rect l="l" t="t" r="r" b="b"/>
                <a:pathLst>
                  <a:path w="4540" h="3089" extrusionOk="0">
                    <a:moveTo>
                      <a:pt x="3613" y="1"/>
                    </a:moveTo>
                    <a:cubicBezTo>
                      <a:pt x="2493" y="105"/>
                      <a:pt x="1672" y="837"/>
                      <a:pt x="1672" y="837"/>
                    </a:cubicBezTo>
                    <a:cubicBezTo>
                      <a:pt x="1672" y="782"/>
                      <a:pt x="1623" y="751"/>
                      <a:pt x="1573" y="751"/>
                    </a:cubicBezTo>
                    <a:cubicBezTo>
                      <a:pt x="1555" y="751"/>
                      <a:pt x="1538" y="755"/>
                      <a:pt x="1522" y="762"/>
                    </a:cubicBezTo>
                    <a:cubicBezTo>
                      <a:pt x="402" y="1450"/>
                      <a:pt x="89" y="2615"/>
                      <a:pt x="14" y="2928"/>
                    </a:cubicBezTo>
                    <a:cubicBezTo>
                      <a:pt x="1" y="2955"/>
                      <a:pt x="35" y="3005"/>
                      <a:pt x="85" y="3005"/>
                    </a:cubicBezTo>
                    <a:cubicBezTo>
                      <a:pt x="91" y="3005"/>
                      <a:pt x="97" y="3004"/>
                      <a:pt x="104" y="3003"/>
                    </a:cubicBezTo>
                    <a:cubicBezTo>
                      <a:pt x="413" y="3063"/>
                      <a:pt x="697" y="3089"/>
                      <a:pt x="957" y="3089"/>
                    </a:cubicBezTo>
                    <a:cubicBezTo>
                      <a:pt x="1915" y="3089"/>
                      <a:pt x="2534" y="2746"/>
                      <a:pt x="2792" y="2570"/>
                    </a:cubicBezTo>
                    <a:cubicBezTo>
                      <a:pt x="2852" y="2525"/>
                      <a:pt x="2837" y="2450"/>
                      <a:pt x="2762" y="2420"/>
                    </a:cubicBezTo>
                    <a:lnTo>
                      <a:pt x="2702" y="2405"/>
                    </a:lnTo>
                    <a:cubicBezTo>
                      <a:pt x="3793" y="2107"/>
                      <a:pt x="4151" y="1435"/>
                      <a:pt x="4151" y="1435"/>
                    </a:cubicBezTo>
                    <a:lnTo>
                      <a:pt x="4151" y="1435"/>
                    </a:lnTo>
                    <a:lnTo>
                      <a:pt x="3987" y="1450"/>
                    </a:lnTo>
                    <a:cubicBezTo>
                      <a:pt x="4330" y="1031"/>
                      <a:pt x="4480" y="419"/>
                      <a:pt x="4540" y="180"/>
                    </a:cubicBezTo>
                    <a:cubicBezTo>
                      <a:pt x="4540" y="120"/>
                      <a:pt x="4525" y="90"/>
                      <a:pt x="4465" y="75"/>
                    </a:cubicBezTo>
                    <a:cubicBezTo>
                      <a:pt x="4396" y="66"/>
                      <a:pt x="4324" y="63"/>
                      <a:pt x="4254" y="63"/>
                    </a:cubicBezTo>
                    <a:cubicBezTo>
                      <a:pt x="3971" y="63"/>
                      <a:pt x="3703" y="120"/>
                      <a:pt x="3703" y="120"/>
                    </a:cubicBezTo>
                    <a:lnTo>
                      <a:pt x="3703" y="105"/>
                    </a:lnTo>
                    <a:cubicBezTo>
                      <a:pt x="3718" y="60"/>
                      <a:pt x="3688" y="1"/>
                      <a:pt x="3613" y="1"/>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4" name="Google Shape;1254;p17"/>
              <p:cNvSpPr/>
              <p:nvPr/>
            </p:nvSpPr>
            <p:spPr>
              <a:xfrm>
                <a:off x="7217875" y="4849600"/>
                <a:ext cx="84425" cy="336450"/>
              </a:xfrm>
              <a:custGeom>
                <a:avLst/>
                <a:gdLst/>
                <a:ahLst/>
                <a:cxnLst/>
                <a:rect l="l" t="t" r="r" b="b"/>
                <a:pathLst>
                  <a:path w="3377" h="13458" extrusionOk="0">
                    <a:moveTo>
                      <a:pt x="3242" y="0"/>
                    </a:moveTo>
                    <a:cubicBezTo>
                      <a:pt x="2749" y="1061"/>
                      <a:pt x="2271" y="2121"/>
                      <a:pt x="1898" y="3211"/>
                    </a:cubicBezTo>
                    <a:cubicBezTo>
                      <a:pt x="1689" y="3749"/>
                      <a:pt x="1539" y="4317"/>
                      <a:pt x="1360" y="4869"/>
                    </a:cubicBezTo>
                    <a:cubicBezTo>
                      <a:pt x="1285" y="5138"/>
                      <a:pt x="1211" y="5422"/>
                      <a:pt x="1136" y="5706"/>
                    </a:cubicBezTo>
                    <a:lnTo>
                      <a:pt x="1017" y="6124"/>
                    </a:lnTo>
                    <a:lnTo>
                      <a:pt x="927" y="6557"/>
                    </a:lnTo>
                    <a:cubicBezTo>
                      <a:pt x="852" y="6841"/>
                      <a:pt x="792" y="7110"/>
                      <a:pt x="733" y="7408"/>
                    </a:cubicBezTo>
                    <a:lnTo>
                      <a:pt x="553" y="8260"/>
                    </a:lnTo>
                    <a:lnTo>
                      <a:pt x="404" y="9111"/>
                    </a:lnTo>
                    <a:cubicBezTo>
                      <a:pt x="359" y="9410"/>
                      <a:pt x="329" y="9693"/>
                      <a:pt x="285" y="9977"/>
                    </a:cubicBezTo>
                    <a:cubicBezTo>
                      <a:pt x="135" y="11127"/>
                      <a:pt x="16" y="12292"/>
                      <a:pt x="1" y="13457"/>
                    </a:cubicBezTo>
                    <a:lnTo>
                      <a:pt x="329" y="13442"/>
                    </a:lnTo>
                    <a:cubicBezTo>
                      <a:pt x="329" y="12292"/>
                      <a:pt x="419" y="11142"/>
                      <a:pt x="553" y="10007"/>
                    </a:cubicBezTo>
                    <a:cubicBezTo>
                      <a:pt x="583" y="9738"/>
                      <a:pt x="628" y="9440"/>
                      <a:pt x="673" y="9156"/>
                    </a:cubicBezTo>
                    <a:lnTo>
                      <a:pt x="807" y="8304"/>
                    </a:lnTo>
                    <a:lnTo>
                      <a:pt x="972" y="7453"/>
                    </a:lnTo>
                    <a:cubicBezTo>
                      <a:pt x="1017" y="7169"/>
                      <a:pt x="1091" y="6900"/>
                      <a:pt x="1151" y="6602"/>
                    </a:cubicBezTo>
                    <a:lnTo>
                      <a:pt x="1241" y="6184"/>
                    </a:lnTo>
                    <a:lnTo>
                      <a:pt x="1345" y="5750"/>
                    </a:lnTo>
                    <a:cubicBezTo>
                      <a:pt x="1420" y="5482"/>
                      <a:pt x="1494" y="5198"/>
                      <a:pt x="1569" y="4914"/>
                    </a:cubicBezTo>
                    <a:cubicBezTo>
                      <a:pt x="1733" y="4376"/>
                      <a:pt x="1883" y="3809"/>
                      <a:pt x="2077" y="3271"/>
                    </a:cubicBezTo>
                    <a:cubicBezTo>
                      <a:pt x="2435" y="2181"/>
                      <a:pt x="2883" y="1105"/>
                      <a:pt x="3376" y="60"/>
                    </a:cubicBezTo>
                    <a:lnTo>
                      <a:pt x="3242"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5" name="Google Shape;1255;p17"/>
              <p:cNvSpPr/>
              <p:nvPr/>
            </p:nvSpPr>
            <p:spPr>
              <a:xfrm>
                <a:off x="7223850" y="5057200"/>
                <a:ext cx="132950" cy="84050"/>
              </a:xfrm>
              <a:custGeom>
                <a:avLst/>
                <a:gdLst/>
                <a:ahLst/>
                <a:cxnLst/>
                <a:rect l="l" t="t" r="r" b="b"/>
                <a:pathLst>
                  <a:path w="5318" h="3362" fill="none" extrusionOk="0">
                    <a:moveTo>
                      <a:pt x="1" y="3361"/>
                    </a:moveTo>
                    <a:cubicBezTo>
                      <a:pt x="1" y="3361"/>
                      <a:pt x="3824" y="1121"/>
                      <a:pt x="5318" y="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6" name="Google Shape;1256;p17"/>
              <p:cNvSpPr/>
              <p:nvPr/>
            </p:nvSpPr>
            <p:spPr>
              <a:xfrm>
                <a:off x="7208550" y="4892525"/>
                <a:ext cx="99350" cy="172925"/>
              </a:xfrm>
              <a:custGeom>
                <a:avLst/>
                <a:gdLst/>
                <a:ahLst/>
                <a:cxnLst/>
                <a:rect l="l" t="t" r="r" b="b"/>
                <a:pathLst>
                  <a:path w="3974" h="6917" fill="none" extrusionOk="0">
                    <a:moveTo>
                      <a:pt x="2106" y="1"/>
                    </a:moveTo>
                    <a:lnTo>
                      <a:pt x="2599" y="852"/>
                    </a:lnTo>
                    <a:moveTo>
                      <a:pt x="1001" y="6916"/>
                    </a:moveTo>
                    <a:cubicBezTo>
                      <a:pt x="1001" y="6916"/>
                      <a:pt x="2480" y="5183"/>
                      <a:pt x="2779" y="4915"/>
                    </a:cubicBezTo>
                    <a:moveTo>
                      <a:pt x="105" y="3780"/>
                    </a:moveTo>
                    <a:lnTo>
                      <a:pt x="1210" y="5706"/>
                    </a:lnTo>
                    <a:moveTo>
                      <a:pt x="0" y="4302"/>
                    </a:moveTo>
                    <a:lnTo>
                      <a:pt x="583" y="4616"/>
                    </a:lnTo>
                    <a:moveTo>
                      <a:pt x="1121" y="2226"/>
                    </a:moveTo>
                    <a:lnTo>
                      <a:pt x="1673" y="3780"/>
                    </a:lnTo>
                    <a:moveTo>
                      <a:pt x="1434" y="4750"/>
                    </a:moveTo>
                    <a:lnTo>
                      <a:pt x="3973" y="1793"/>
                    </a:lnTo>
                    <a:moveTo>
                      <a:pt x="2988" y="2943"/>
                    </a:moveTo>
                    <a:lnTo>
                      <a:pt x="3749" y="2659"/>
                    </a:lnTo>
                    <a:moveTo>
                      <a:pt x="2301" y="1703"/>
                    </a:moveTo>
                    <a:lnTo>
                      <a:pt x="3690" y="434"/>
                    </a:lnTo>
                    <a:moveTo>
                      <a:pt x="3749" y="792"/>
                    </a:moveTo>
                    <a:lnTo>
                      <a:pt x="3227" y="85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7" name="Google Shape;1257;p17"/>
              <p:cNvSpPr/>
              <p:nvPr/>
            </p:nvSpPr>
            <p:spPr>
              <a:xfrm>
                <a:off x="7264925" y="5062800"/>
                <a:ext cx="84425" cy="54175"/>
              </a:xfrm>
              <a:custGeom>
                <a:avLst/>
                <a:gdLst/>
                <a:ahLst/>
                <a:cxnLst/>
                <a:rect l="l" t="t" r="r" b="b"/>
                <a:pathLst>
                  <a:path w="3377" h="2167" fill="none" extrusionOk="0">
                    <a:moveTo>
                      <a:pt x="524" y="1853"/>
                    </a:moveTo>
                    <a:lnTo>
                      <a:pt x="837" y="807"/>
                    </a:lnTo>
                    <a:moveTo>
                      <a:pt x="3302" y="508"/>
                    </a:moveTo>
                    <a:lnTo>
                      <a:pt x="3107" y="404"/>
                    </a:lnTo>
                    <a:moveTo>
                      <a:pt x="2644" y="508"/>
                    </a:moveTo>
                    <a:lnTo>
                      <a:pt x="3376" y="359"/>
                    </a:lnTo>
                    <a:moveTo>
                      <a:pt x="2585" y="30"/>
                    </a:moveTo>
                    <a:lnTo>
                      <a:pt x="2316" y="269"/>
                    </a:lnTo>
                    <a:moveTo>
                      <a:pt x="2107" y="852"/>
                    </a:moveTo>
                    <a:lnTo>
                      <a:pt x="2391" y="1"/>
                    </a:lnTo>
                    <a:moveTo>
                      <a:pt x="2585" y="1240"/>
                    </a:moveTo>
                    <a:lnTo>
                      <a:pt x="2271" y="1419"/>
                    </a:lnTo>
                    <a:moveTo>
                      <a:pt x="1226" y="1419"/>
                    </a:moveTo>
                    <a:lnTo>
                      <a:pt x="2644" y="1419"/>
                    </a:lnTo>
                    <a:moveTo>
                      <a:pt x="1494" y="1957"/>
                    </a:moveTo>
                    <a:lnTo>
                      <a:pt x="1196" y="2106"/>
                    </a:lnTo>
                    <a:moveTo>
                      <a:pt x="1" y="2166"/>
                    </a:moveTo>
                    <a:lnTo>
                      <a:pt x="1718" y="2092"/>
                    </a:lnTo>
                    <a:moveTo>
                      <a:pt x="524" y="1046"/>
                    </a:moveTo>
                    <a:lnTo>
                      <a:pt x="673" y="133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58" name="Google Shape;1258;p17"/>
            <p:cNvGrpSpPr/>
            <p:nvPr/>
          </p:nvGrpSpPr>
          <p:grpSpPr>
            <a:xfrm flipH="1">
              <a:off x="8510153" y="1425494"/>
              <a:ext cx="1371454" cy="1289236"/>
              <a:chOff x="111611" y="-1197780"/>
              <a:chExt cx="2936103" cy="2743056"/>
            </a:xfrm>
          </p:grpSpPr>
          <p:grpSp>
            <p:nvGrpSpPr>
              <p:cNvPr id="1259" name="Google Shape;1259;p17"/>
              <p:cNvGrpSpPr/>
              <p:nvPr/>
            </p:nvGrpSpPr>
            <p:grpSpPr>
              <a:xfrm>
                <a:off x="111611" y="-1197780"/>
                <a:ext cx="2936103" cy="2743056"/>
                <a:chOff x="111611" y="-1197780"/>
                <a:chExt cx="2936103" cy="2743056"/>
              </a:xfrm>
            </p:grpSpPr>
            <p:sp>
              <p:nvSpPr>
                <p:cNvPr id="1260" name="Google Shape;1260;p17"/>
                <p:cNvSpPr/>
                <p:nvPr/>
              </p:nvSpPr>
              <p:spPr>
                <a:xfrm rot="-9591901">
                  <a:off x="385002" y="-788247"/>
                  <a:ext cx="1995046" cy="1942613"/>
                </a:xfrm>
                <a:custGeom>
                  <a:avLst/>
                  <a:gdLst/>
                  <a:ahLst/>
                  <a:cxnLst/>
                  <a:rect l="l" t="t" r="r" b="b"/>
                  <a:pathLst>
                    <a:path w="24466" h="23823" extrusionOk="0">
                      <a:moveTo>
                        <a:pt x="1" y="0"/>
                      </a:moveTo>
                      <a:lnTo>
                        <a:pt x="1" y="15"/>
                      </a:lnTo>
                      <a:cubicBezTo>
                        <a:pt x="1" y="15"/>
                        <a:pt x="22" y="37"/>
                        <a:pt x="62" y="77"/>
                      </a:cubicBezTo>
                      <a:lnTo>
                        <a:pt x="62" y="77"/>
                      </a:lnTo>
                      <a:lnTo>
                        <a:pt x="1" y="0"/>
                      </a:lnTo>
                      <a:close/>
                      <a:moveTo>
                        <a:pt x="62" y="77"/>
                      </a:moveTo>
                      <a:lnTo>
                        <a:pt x="18969" y="23823"/>
                      </a:lnTo>
                      <a:lnTo>
                        <a:pt x="22136" y="20417"/>
                      </a:lnTo>
                      <a:lnTo>
                        <a:pt x="21240" y="20776"/>
                      </a:lnTo>
                      <a:lnTo>
                        <a:pt x="21240" y="20776"/>
                      </a:lnTo>
                      <a:lnTo>
                        <a:pt x="24077" y="17953"/>
                      </a:lnTo>
                      <a:lnTo>
                        <a:pt x="23331" y="18058"/>
                      </a:lnTo>
                      <a:lnTo>
                        <a:pt x="23331" y="18058"/>
                      </a:lnTo>
                      <a:lnTo>
                        <a:pt x="24466" y="16400"/>
                      </a:lnTo>
                      <a:lnTo>
                        <a:pt x="24466" y="16400"/>
                      </a:lnTo>
                      <a:cubicBezTo>
                        <a:pt x="24383" y="16414"/>
                        <a:pt x="24307" y="16420"/>
                        <a:pt x="24235" y="16420"/>
                      </a:cubicBezTo>
                      <a:cubicBezTo>
                        <a:pt x="22322" y="16420"/>
                        <a:pt x="24182" y="11591"/>
                        <a:pt x="24182" y="11590"/>
                      </a:cubicBezTo>
                      <a:lnTo>
                        <a:pt x="24182" y="11590"/>
                      </a:lnTo>
                      <a:cubicBezTo>
                        <a:pt x="24104" y="11626"/>
                        <a:pt x="24033" y="11642"/>
                        <a:pt x="23968" y="11642"/>
                      </a:cubicBezTo>
                      <a:cubicBezTo>
                        <a:pt x="23026" y="11642"/>
                        <a:pt x="23510" y="8097"/>
                        <a:pt x="23510" y="8095"/>
                      </a:cubicBezTo>
                      <a:lnTo>
                        <a:pt x="23510" y="8095"/>
                      </a:lnTo>
                      <a:cubicBezTo>
                        <a:pt x="22919" y="10108"/>
                        <a:pt x="21833" y="10302"/>
                        <a:pt x="21435" y="10302"/>
                      </a:cubicBezTo>
                      <a:cubicBezTo>
                        <a:pt x="21340" y="10302"/>
                        <a:pt x="21284" y="10291"/>
                        <a:pt x="21284" y="10291"/>
                      </a:cubicBezTo>
                      <a:cubicBezTo>
                        <a:pt x="21284" y="10291"/>
                        <a:pt x="20344" y="11977"/>
                        <a:pt x="19409" y="11977"/>
                      </a:cubicBezTo>
                      <a:cubicBezTo>
                        <a:pt x="19183" y="11977"/>
                        <a:pt x="18957" y="11879"/>
                        <a:pt x="18745" y="11635"/>
                      </a:cubicBezTo>
                      <a:cubicBezTo>
                        <a:pt x="17640" y="10396"/>
                        <a:pt x="20448" y="8663"/>
                        <a:pt x="20448" y="8663"/>
                      </a:cubicBezTo>
                      <a:lnTo>
                        <a:pt x="20448" y="8663"/>
                      </a:lnTo>
                      <a:cubicBezTo>
                        <a:pt x="20433" y="8664"/>
                        <a:pt x="20418" y="8664"/>
                        <a:pt x="20404" y="8664"/>
                      </a:cubicBezTo>
                      <a:cubicBezTo>
                        <a:pt x="19350" y="8664"/>
                        <a:pt x="21284" y="5960"/>
                        <a:pt x="21284" y="5960"/>
                      </a:cubicBezTo>
                      <a:lnTo>
                        <a:pt x="21284" y="5960"/>
                      </a:lnTo>
                      <a:cubicBezTo>
                        <a:pt x="21199" y="5985"/>
                        <a:pt x="21125" y="5996"/>
                        <a:pt x="21060" y="5996"/>
                      </a:cubicBezTo>
                      <a:cubicBezTo>
                        <a:pt x="20045" y="5996"/>
                        <a:pt x="21404" y="3107"/>
                        <a:pt x="21404" y="3107"/>
                      </a:cubicBezTo>
                      <a:lnTo>
                        <a:pt x="21404" y="3107"/>
                      </a:lnTo>
                      <a:cubicBezTo>
                        <a:pt x="21404" y="3107"/>
                        <a:pt x="21162" y="3309"/>
                        <a:pt x="20897" y="3309"/>
                      </a:cubicBezTo>
                      <a:cubicBezTo>
                        <a:pt x="20801" y="3309"/>
                        <a:pt x="20703" y="3283"/>
                        <a:pt x="20612" y="3211"/>
                      </a:cubicBezTo>
                      <a:cubicBezTo>
                        <a:pt x="20299" y="2928"/>
                        <a:pt x="20791" y="867"/>
                        <a:pt x="20792" y="866"/>
                      </a:cubicBezTo>
                      <a:lnTo>
                        <a:pt x="20792" y="866"/>
                      </a:lnTo>
                      <a:cubicBezTo>
                        <a:pt x="20791" y="867"/>
                        <a:pt x="19940" y="2181"/>
                        <a:pt x="18969" y="2569"/>
                      </a:cubicBezTo>
                      <a:cubicBezTo>
                        <a:pt x="18858" y="2615"/>
                        <a:pt x="18769" y="2636"/>
                        <a:pt x="18700" y="2636"/>
                      </a:cubicBezTo>
                      <a:cubicBezTo>
                        <a:pt x="18164" y="2636"/>
                        <a:pt x="18760" y="1419"/>
                        <a:pt x="18760" y="1419"/>
                      </a:cubicBezTo>
                      <a:lnTo>
                        <a:pt x="18760" y="1419"/>
                      </a:lnTo>
                      <a:cubicBezTo>
                        <a:pt x="18760" y="1419"/>
                        <a:pt x="18118" y="2121"/>
                        <a:pt x="17789" y="2300"/>
                      </a:cubicBezTo>
                      <a:cubicBezTo>
                        <a:pt x="17746" y="2324"/>
                        <a:pt x="17708" y="2335"/>
                        <a:pt x="17675" y="2335"/>
                      </a:cubicBezTo>
                      <a:cubicBezTo>
                        <a:pt x="17465" y="2335"/>
                        <a:pt x="17476" y="1897"/>
                        <a:pt x="17476" y="1897"/>
                      </a:cubicBezTo>
                      <a:lnTo>
                        <a:pt x="17476" y="1897"/>
                      </a:lnTo>
                      <a:cubicBezTo>
                        <a:pt x="17476" y="1897"/>
                        <a:pt x="16744" y="3495"/>
                        <a:pt x="16117" y="4033"/>
                      </a:cubicBezTo>
                      <a:cubicBezTo>
                        <a:pt x="15967" y="4157"/>
                        <a:pt x="15841" y="4205"/>
                        <a:pt x="15735" y="4205"/>
                      </a:cubicBezTo>
                      <a:cubicBezTo>
                        <a:pt x="15395" y="4205"/>
                        <a:pt x="15265" y="3719"/>
                        <a:pt x="15265" y="3719"/>
                      </a:cubicBezTo>
                      <a:cubicBezTo>
                        <a:pt x="15265" y="3719"/>
                        <a:pt x="14892" y="7319"/>
                        <a:pt x="14638" y="7408"/>
                      </a:cubicBezTo>
                      <a:cubicBezTo>
                        <a:pt x="14630" y="7411"/>
                        <a:pt x="14621" y="7412"/>
                        <a:pt x="14613" y="7412"/>
                      </a:cubicBezTo>
                      <a:cubicBezTo>
                        <a:pt x="14367" y="7412"/>
                        <a:pt x="14115" y="6393"/>
                        <a:pt x="14115" y="6393"/>
                      </a:cubicBezTo>
                      <a:lnTo>
                        <a:pt x="14115" y="6393"/>
                      </a:lnTo>
                      <a:cubicBezTo>
                        <a:pt x="14115" y="6394"/>
                        <a:pt x="14305" y="9930"/>
                        <a:pt x="12993" y="9930"/>
                      </a:cubicBezTo>
                      <a:cubicBezTo>
                        <a:pt x="12928" y="9930"/>
                        <a:pt x="12859" y="9921"/>
                        <a:pt x="12786" y="9903"/>
                      </a:cubicBezTo>
                      <a:cubicBezTo>
                        <a:pt x="11233" y="9514"/>
                        <a:pt x="12890" y="6572"/>
                        <a:pt x="12890" y="6572"/>
                      </a:cubicBezTo>
                      <a:lnTo>
                        <a:pt x="12890" y="6572"/>
                      </a:lnTo>
                      <a:cubicBezTo>
                        <a:pt x="12762" y="6617"/>
                        <a:pt x="12660" y="6637"/>
                        <a:pt x="12582" y="6637"/>
                      </a:cubicBezTo>
                      <a:cubicBezTo>
                        <a:pt x="11771" y="6637"/>
                        <a:pt x="13473" y="4451"/>
                        <a:pt x="13473" y="4451"/>
                      </a:cubicBezTo>
                      <a:lnTo>
                        <a:pt x="13473" y="4451"/>
                      </a:lnTo>
                      <a:cubicBezTo>
                        <a:pt x="13222" y="4601"/>
                        <a:pt x="13020" y="4663"/>
                        <a:pt x="12858" y="4663"/>
                      </a:cubicBezTo>
                      <a:cubicBezTo>
                        <a:pt x="12031" y="4663"/>
                        <a:pt x="12218" y="3047"/>
                        <a:pt x="12218" y="3047"/>
                      </a:cubicBezTo>
                      <a:lnTo>
                        <a:pt x="12218" y="3047"/>
                      </a:lnTo>
                      <a:cubicBezTo>
                        <a:pt x="12128" y="3072"/>
                        <a:pt x="12044" y="3083"/>
                        <a:pt x="11965" y="3083"/>
                      </a:cubicBezTo>
                      <a:cubicBezTo>
                        <a:pt x="10858" y="3083"/>
                        <a:pt x="10949" y="778"/>
                        <a:pt x="10949" y="777"/>
                      </a:cubicBezTo>
                      <a:lnTo>
                        <a:pt x="10949" y="777"/>
                      </a:lnTo>
                      <a:cubicBezTo>
                        <a:pt x="10949" y="777"/>
                        <a:pt x="10769" y="1569"/>
                        <a:pt x="10172" y="2494"/>
                      </a:cubicBezTo>
                      <a:cubicBezTo>
                        <a:pt x="9918" y="2872"/>
                        <a:pt x="9672" y="2983"/>
                        <a:pt x="9470" y="2983"/>
                      </a:cubicBezTo>
                      <a:cubicBezTo>
                        <a:pt x="9187" y="2983"/>
                        <a:pt x="8992" y="2763"/>
                        <a:pt x="8992" y="2763"/>
                      </a:cubicBezTo>
                      <a:lnTo>
                        <a:pt x="8992" y="2763"/>
                      </a:lnTo>
                      <a:cubicBezTo>
                        <a:pt x="8992" y="2764"/>
                        <a:pt x="9291" y="3376"/>
                        <a:pt x="9127" y="4272"/>
                      </a:cubicBezTo>
                      <a:cubicBezTo>
                        <a:pt x="9056" y="4630"/>
                        <a:pt x="8861" y="4739"/>
                        <a:pt x="8650" y="4739"/>
                      </a:cubicBezTo>
                      <a:cubicBezTo>
                        <a:pt x="8324" y="4739"/>
                        <a:pt x="7962" y="4481"/>
                        <a:pt x="7962" y="4481"/>
                      </a:cubicBezTo>
                      <a:lnTo>
                        <a:pt x="7962" y="4481"/>
                      </a:lnTo>
                      <a:cubicBezTo>
                        <a:pt x="7962" y="4481"/>
                        <a:pt x="9664" y="7408"/>
                        <a:pt x="7992" y="7588"/>
                      </a:cubicBezTo>
                      <a:cubicBezTo>
                        <a:pt x="7959" y="7591"/>
                        <a:pt x="7928" y="7593"/>
                        <a:pt x="7898" y="7593"/>
                      </a:cubicBezTo>
                      <a:cubicBezTo>
                        <a:pt x="6356" y="7593"/>
                        <a:pt x="7304" y="3183"/>
                        <a:pt x="7304" y="3181"/>
                      </a:cubicBezTo>
                      <a:lnTo>
                        <a:pt x="7304" y="3181"/>
                      </a:lnTo>
                      <a:cubicBezTo>
                        <a:pt x="7304" y="3182"/>
                        <a:pt x="6973" y="3977"/>
                        <a:pt x="6438" y="3977"/>
                      </a:cubicBezTo>
                      <a:cubicBezTo>
                        <a:pt x="6302" y="3977"/>
                        <a:pt x="6151" y="3925"/>
                        <a:pt x="5990" y="3794"/>
                      </a:cubicBezTo>
                      <a:cubicBezTo>
                        <a:pt x="5214" y="3167"/>
                        <a:pt x="5437" y="1674"/>
                        <a:pt x="5438" y="1673"/>
                      </a:cubicBezTo>
                      <a:lnTo>
                        <a:pt x="5438" y="1673"/>
                      </a:lnTo>
                      <a:cubicBezTo>
                        <a:pt x="5255" y="2325"/>
                        <a:pt x="5004" y="2560"/>
                        <a:pt x="4737" y="2560"/>
                      </a:cubicBezTo>
                      <a:cubicBezTo>
                        <a:pt x="4044" y="2560"/>
                        <a:pt x="3242" y="971"/>
                        <a:pt x="3242" y="971"/>
                      </a:cubicBezTo>
                      <a:cubicBezTo>
                        <a:pt x="3066" y="1370"/>
                        <a:pt x="2786" y="1522"/>
                        <a:pt x="2464" y="1522"/>
                      </a:cubicBezTo>
                      <a:cubicBezTo>
                        <a:pt x="1571" y="1522"/>
                        <a:pt x="346" y="359"/>
                        <a:pt x="62" y="77"/>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1" name="Google Shape;1261;p17"/>
                <p:cNvSpPr/>
                <p:nvPr/>
              </p:nvSpPr>
              <p:spPr>
                <a:xfrm rot="-9591901">
                  <a:off x="862533" y="-946783"/>
                  <a:ext cx="1856177" cy="2241063"/>
                </a:xfrm>
                <a:custGeom>
                  <a:avLst/>
                  <a:gdLst/>
                  <a:ahLst/>
                  <a:cxnLst/>
                  <a:rect l="l" t="t" r="r" b="b"/>
                  <a:pathLst>
                    <a:path w="22763" h="27483" extrusionOk="0">
                      <a:moveTo>
                        <a:pt x="3809" y="0"/>
                      </a:moveTo>
                      <a:lnTo>
                        <a:pt x="3809" y="15"/>
                      </a:lnTo>
                      <a:cubicBezTo>
                        <a:pt x="3809" y="15"/>
                        <a:pt x="5795" y="3047"/>
                        <a:pt x="4033" y="3376"/>
                      </a:cubicBezTo>
                      <a:cubicBezTo>
                        <a:pt x="4033" y="3376"/>
                        <a:pt x="6647" y="5571"/>
                        <a:pt x="4212" y="5676"/>
                      </a:cubicBezTo>
                      <a:cubicBezTo>
                        <a:pt x="4212" y="5676"/>
                        <a:pt x="5721" y="5795"/>
                        <a:pt x="6169" y="6706"/>
                      </a:cubicBezTo>
                      <a:cubicBezTo>
                        <a:pt x="6617" y="7602"/>
                        <a:pt x="5258" y="7856"/>
                        <a:pt x="5258" y="7856"/>
                      </a:cubicBezTo>
                      <a:cubicBezTo>
                        <a:pt x="5258" y="7856"/>
                        <a:pt x="9947" y="7916"/>
                        <a:pt x="9410" y="9499"/>
                      </a:cubicBezTo>
                      <a:cubicBezTo>
                        <a:pt x="9269" y="9907"/>
                        <a:pt x="9003" y="10059"/>
                        <a:pt x="8685" y="10059"/>
                      </a:cubicBezTo>
                      <a:cubicBezTo>
                        <a:pt x="7759" y="10059"/>
                        <a:pt x="6393" y="8768"/>
                        <a:pt x="6393" y="8767"/>
                      </a:cubicBezTo>
                      <a:lnTo>
                        <a:pt x="6393" y="8767"/>
                      </a:lnTo>
                      <a:cubicBezTo>
                        <a:pt x="6393" y="8768"/>
                        <a:pt x="6824" y="9859"/>
                        <a:pt x="5981" y="9859"/>
                      </a:cubicBezTo>
                      <a:cubicBezTo>
                        <a:pt x="5965" y="9859"/>
                        <a:pt x="5947" y="9859"/>
                        <a:pt x="5930" y="9858"/>
                      </a:cubicBezTo>
                      <a:cubicBezTo>
                        <a:pt x="5019" y="9813"/>
                        <a:pt x="4496" y="9395"/>
                        <a:pt x="4496" y="9395"/>
                      </a:cubicBezTo>
                      <a:lnTo>
                        <a:pt x="4496" y="9395"/>
                      </a:lnTo>
                      <a:cubicBezTo>
                        <a:pt x="4496" y="9395"/>
                        <a:pt x="5004" y="10082"/>
                        <a:pt x="3973" y="10470"/>
                      </a:cubicBezTo>
                      <a:cubicBezTo>
                        <a:pt x="2943" y="10858"/>
                        <a:pt x="2121" y="10858"/>
                        <a:pt x="2121" y="10858"/>
                      </a:cubicBezTo>
                      <a:cubicBezTo>
                        <a:pt x="2121" y="10858"/>
                        <a:pt x="4720" y="11366"/>
                        <a:pt x="4048" y="12606"/>
                      </a:cubicBezTo>
                      <a:cubicBezTo>
                        <a:pt x="4048" y="12606"/>
                        <a:pt x="6393" y="12845"/>
                        <a:pt x="5153" y="14144"/>
                      </a:cubicBezTo>
                      <a:cubicBezTo>
                        <a:pt x="5153" y="14144"/>
                        <a:pt x="6546" y="13493"/>
                        <a:pt x="7175" y="13493"/>
                      </a:cubicBezTo>
                      <a:cubicBezTo>
                        <a:pt x="7469" y="13493"/>
                        <a:pt x="7596" y="13636"/>
                        <a:pt x="7334" y="14055"/>
                      </a:cubicBezTo>
                      <a:cubicBezTo>
                        <a:pt x="7334" y="14055"/>
                        <a:pt x="8304" y="13769"/>
                        <a:pt x="9187" y="13769"/>
                      </a:cubicBezTo>
                      <a:cubicBezTo>
                        <a:pt x="9919" y="13769"/>
                        <a:pt x="10591" y="13965"/>
                        <a:pt x="10605" y="14682"/>
                      </a:cubicBezTo>
                      <a:cubicBezTo>
                        <a:pt x="10611" y="15358"/>
                        <a:pt x="9947" y="15553"/>
                        <a:pt x="9178" y="15553"/>
                      </a:cubicBezTo>
                      <a:cubicBezTo>
                        <a:pt x="8129" y="15553"/>
                        <a:pt x="6886" y="15190"/>
                        <a:pt x="6886" y="15190"/>
                      </a:cubicBezTo>
                      <a:lnTo>
                        <a:pt x="6886" y="15190"/>
                      </a:lnTo>
                      <a:cubicBezTo>
                        <a:pt x="6886" y="15190"/>
                        <a:pt x="7901" y="15683"/>
                        <a:pt x="7737" y="15922"/>
                      </a:cubicBezTo>
                      <a:cubicBezTo>
                        <a:pt x="7709" y="15971"/>
                        <a:pt x="7536" y="15990"/>
                        <a:pt x="7278" y="15990"/>
                      </a:cubicBezTo>
                      <a:cubicBezTo>
                        <a:pt x="6277" y="15990"/>
                        <a:pt x="4003" y="15698"/>
                        <a:pt x="4003" y="15698"/>
                      </a:cubicBezTo>
                      <a:lnTo>
                        <a:pt x="4003" y="15698"/>
                      </a:lnTo>
                      <a:cubicBezTo>
                        <a:pt x="4003" y="15698"/>
                        <a:pt x="4780" y="16116"/>
                        <a:pt x="4123" y="16594"/>
                      </a:cubicBezTo>
                      <a:cubicBezTo>
                        <a:pt x="3465" y="17087"/>
                        <a:pt x="1748" y="17445"/>
                        <a:pt x="1748" y="17445"/>
                      </a:cubicBezTo>
                      <a:cubicBezTo>
                        <a:pt x="1748" y="17445"/>
                        <a:pt x="2315" y="17550"/>
                        <a:pt x="2061" y="17848"/>
                      </a:cubicBezTo>
                      <a:cubicBezTo>
                        <a:pt x="1822" y="18132"/>
                        <a:pt x="986" y="18595"/>
                        <a:pt x="986" y="18595"/>
                      </a:cubicBezTo>
                      <a:cubicBezTo>
                        <a:pt x="986" y="18595"/>
                        <a:pt x="1370" y="18507"/>
                        <a:pt x="1705" y="18507"/>
                      </a:cubicBezTo>
                      <a:cubicBezTo>
                        <a:pt x="2073" y="18507"/>
                        <a:pt x="2382" y="18613"/>
                        <a:pt x="2061" y="19058"/>
                      </a:cubicBezTo>
                      <a:cubicBezTo>
                        <a:pt x="1464" y="19910"/>
                        <a:pt x="0" y="20432"/>
                        <a:pt x="0" y="20432"/>
                      </a:cubicBezTo>
                      <a:cubicBezTo>
                        <a:pt x="0" y="20432"/>
                        <a:pt x="11" y="20432"/>
                        <a:pt x="31" y="20432"/>
                      </a:cubicBezTo>
                      <a:cubicBezTo>
                        <a:pt x="293" y="20432"/>
                        <a:pt x="2135" y="20445"/>
                        <a:pt x="2315" y="20806"/>
                      </a:cubicBezTo>
                      <a:cubicBezTo>
                        <a:pt x="2509" y="21194"/>
                        <a:pt x="2032" y="21553"/>
                        <a:pt x="2032" y="21553"/>
                      </a:cubicBezTo>
                      <a:cubicBezTo>
                        <a:pt x="2032" y="21553"/>
                        <a:pt x="3088" y="21320"/>
                        <a:pt x="3926" y="21320"/>
                      </a:cubicBezTo>
                      <a:cubicBezTo>
                        <a:pt x="4619" y="21320"/>
                        <a:pt x="5164" y="21479"/>
                        <a:pt x="4839" y="22060"/>
                      </a:cubicBezTo>
                      <a:cubicBezTo>
                        <a:pt x="4839" y="22060"/>
                        <a:pt x="6406" y="21404"/>
                        <a:pt x="7215" y="21404"/>
                      </a:cubicBezTo>
                      <a:cubicBezTo>
                        <a:pt x="7550" y="21404"/>
                        <a:pt x="7754" y="21517"/>
                        <a:pt x="7662" y="21836"/>
                      </a:cubicBezTo>
                      <a:cubicBezTo>
                        <a:pt x="7662" y="21836"/>
                        <a:pt x="9061" y="20420"/>
                        <a:pt x="10140" y="20420"/>
                      </a:cubicBezTo>
                      <a:cubicBezTo>
                        <a:pt x="10449" y="20420"/>
                        <a:pt x="10732" y="20536"/>
                        <a:pt x="10948" y="20836"/>
                      </a:cubicBezTo>
                      <a:cubicBezTo>
                        <a:pt x="11934" y="22180"/>
                        <a:pt x="9066" y="23001"/>
                        <a:pt x="9066" y="23001"/>
                      </a:cubicBezTo>
                      <a:cubicBezTo>
                        <a:pt x="9066" y="23001"/>
                        <a:pt x="9036" y="24525"/>
                        <a:pt x="6438" y="24704"/>
                      </a:cubicBezTo>
                      <a:cubicBezTo>
                        <a:pt x="6438" y="24704"/>
                        <a:pt x="10515" y="25062"/>
                        <a:pt x="9679" y="26138"/>
                      </a:cubicBezTo>
                      <a:cubicBezTo>
                        <a:pt x="9679" y="26138"/>
                        <a:pt x="10691" y="25990"/>
                        <a:pt x="11778" y="25990"/>
                      </a:cubicBezTo>
                      <a:cubicBezTo>
                        <a:pt x="13228" y="25990"/>
                        <a:pt x="14812" y="26253"/>
                        <a:pt x="14309" y="27482"/>
                      </a:cubicBezTo>
                      <a:lnTo>
                        <a:pt x="16176" y="26750"/>
                      </a:lnTo>
                      <a:lnTo>
                        <a:pt x="15907" y="27452"/>
                      </a:lnTo>
                      <a:lnTo>
                        <a:pt x="19297" y="25301"/>
                      </a:lnTo>
                      <a:lnTo>
                        <a:pt x="18745" y="26093"/>
                      </a:lnTo>
                      <a:lnTo>
                        <a:pt x="22762" y="23778"/>
                      </a:lnTo>
                      <a:lnTo>
                        <a:pt x="3809"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262" name="Google Shape;1262;p17"/>
              <p:cNvSpPr/>
              <p:nvPr/>
            </p:nvSpPr>
            <p:spPr>
              <a:xfrm rot="-9591901">
                <a:off x="764262" y="-893866"/>
                <a:ext cx="1523642" cy="1904940"/>
              </a:xfrm>
              <a:custGeom>
                <a:avLst/>
                <a:gdLst/>
                <a:ahLst/>
                <a:cxnLst/>
                <a:rect l="l" t="t" r="r" b="b"/>
                <a:pathLst>
                  <a:path w="18685" h="23361" extrusionOk="0">
                    <a:moveTo>
                      <a:pt x="180" y="0"/>
                    </a:moveTo>
                    <a:lnTo>
                      <a:pt x="0" y="135"/>
                    </a:lnTo>
                    <a:lnTo>
                      <a:pt x="18297" y="23360"/>
                    </a:lnTo>
                    <a:lnTo>
                      <a:pt x="18685" y="23031"/>
                    </a:lnTo>
                    <a:lnTo>
                      <a:pt x="180"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263" name="Google Shape;1263;p17"/>
              <p:cNvGrpSpPr/>
              <p:nvPr/>
            </p:nvGrpSpPr>
            <p:grpSpPr>
              <a:xfrm rot="-9591901">
                <a:off x="596733" y="-860550"/>
                <a:ext cx="1791676" cy="1707605"/>
                <a:chOff x="11860675" y="4981025"/>
                <a:chExt cx="549300" cy="523525"/>
              </a:xfrm>
            </p:grpSpPr>
            <p:sp>
              <p:nvSpPr>
                <p:cNvPr id="1264" name="Google Shape;1264;p17"/>
                <p:cNvSpPr/>
                <p:nvPr/>
              </p:nvSpPr>
              <p:spPr>
                <a:xfrm>
                  <a:off x="12020875" y="5415275"/>
                  <a:ext cx="258025" cy="83300"/>
                </a:xfrm>
                <a:custGeom>
                  <a:avLst/>
                  <a:gdLst/>
                  <a:ahLst/>
                  <a:cxnLst/>
                  <a:rect l="l" t="t" r="r" b="b"/>
                  <a:pathLst>
                    <a:path w="10321" h="3332" fill="none" extrusionOk="0">
                      <a:moveTo>
                        <a:pt x="10321" y="509"/>
                      </a:moveTo>
                      <a:cubicBezTo>
                        <a:pt x="10321" y="509"/>
                        <a:pt x="3988" y="1"/>
                        <a:pt x="0" y="3332"/>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5" name="Google Shape;1265;p17"/>
                <p:cNvSpPr/>
                <p:nvPr/>
              </p:nvSpPr>
              <p:spPr>
                <a:xfrm>
                  <a:off x="12023100" y="5439550"/>
                  <a:ext cx="123625" cy="9375"/>
                </a:xfrm>
                <a:custGeom>
                  <a:avLst/>
                  <a:gdLst/>
                  <a:ahLst/>
                  <a:cxnLst/>
                  <a:rect l="l" t="t" r="r" b="b"/>
                  <a:pathLst>
                    <a:path w="4945" h="375" fill="none" extrusionOk="0">
                      <a:moveTo>
                        <a:pt x="1" y="374"/>
                      </a:moveTo>
                      <a:lnTo>
                        <a:pt x="4944" y="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6" name="Google Shape;1266;p17"/>
                <p:cNvSpPr/>
                <p:nvPr/>
              </p:nvSpPr>
              <p:spPr>
                <a:xfrm>
                  <a:off x="12052975" y="5451500"/>
                  <a:ext cx="53050" cy="53050"/>
                </a:xfrm>
                <a:custGeom>
                  <a:avLst/>
                  <a:gdLst/>
                  <a:ahLst/>
                  <a:cxnLst/>
                  <a:rect l="l" t="t" r="r" b="b"/>
                  <a:pathLst>
                    <a:path w="2122" h="2122" fill="none" extrusionOk="0">
                      <a:moveTo>
                        <a:pt x="2121" y="1"/>
                      </a:moveTo>
                      <a:cubicBezTo>
                        <a:pt x="2121" y="1"/>
                        <a:pt x="314" y="1479"/>
                        <a:pt x="0" y="2122"/>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7" name="Google Shape;1267;p17"/>
                <p:cNvSpPr/>
                <p:nvPr/>
              </p:nvSpPr>
              <p:spPr>
                <a:xfrm>
                  <a:off x="12066800" y="5366375"/>
                  <a:ext cx="166550" cy="4500"/>
                </a:xfrm>
                <a:custGeom>
                  <a:avLst/>
                  <a:gdLst/>
                  <a:ahLst/>
                  <a:cxnLst/>
                  <a:rect l="l" t="t" r="r" b="b"/>
                  <a:pathLst>
                    <a:path w="6662" h="180" fill="none" extrusionOk="0">
                      <a:moveTo>
                        <a:pt x="0" y="0"/>
                      </a:moveTo>
                      <a:lnTo>
                        <a:pt x="6661" y="180"/>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8" name="Google Shape;1268;p17"/>
                <p:cNvSpPr/>
                <p:nvPr/>
              </p:nvSpPr>
              <p:spPr>
                <a:xfrm>
                  <a:off x="11860675" y="5278625"/>
                  <a:ext cx="342425" cy="83300"/>
                </a:xfrm>
                <a:custGeom>
                  <a:avLst/>
                  <a:gdLst/>
                  <a:ahLst/>
                  <a:cxnLst/>
                  <a:rect l="l" t="t" r="r" b="b"/>
                  <a:pathLst>
                    <a:path w="13697" h="3332" fill="none" extrusionOk="0">
                      <a:moveTo>
                        <a:pt x="13697" y="2181"/>
                      </a:moveTo>
                      <a:cubicBezTo>
                        <a:pt x="13697" y="2181"/>
                        <a:pt x="6348" y="0"/>
                        <a:pt x="1" y="333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69" name="Google Shape;1269;p17"/>
                <p:cNvSpPr/>
                <p:nvPr/>
              </p:nvSpPr>
              <p:spPr>
                <a:xfrm>
                  <a:off x="11868525" y="5317450"/>
                  <a:ext cx="87400" cy="14600"/>
                </a:xfrm>
                <a:custGeom>
                  <a:avLst/>
                  <a:gdLst/>
                  <a:ahLst/>
                  <a:cxnLst/>
                  <a:rect l="l" t="t" r="r" b="b"/>
                  <a:pathLst>
                    <a:path w="3496" h="584" fill="none" extrusionOk="0">
                      <a:moveTo>
                        <a:pt x="0" y="1"/>
                      </a:moveTo>
                      <a:cubicBezTo>
                        <a:pt x="0" y="1"/>
                        <a:pt x="2494" y="583"/>
                        <a:pt x="3495" y="389"/>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0" name="Google Shape;1270;p17"/>
                <p:cNvSpPr/>
                <p:nvPr/>
              </p:nvSpPr>
              <p:spPr>
                <a:xfrm>
                  <a:off x="11953275" y="5315600"/>
                  <a:ext cx="107200" cy="58275"/>
                </a:xfrm>
                <a:custGeom>
                  <a:avLst/>
                  <a:gdLst/>
                  <a:ahLst/>
                  <a:cxnLst/>
                  <a:rect l="l" t="t" r="r" b="b"/>
                  <a:pathLst>
                    <a:path w="4288" h="2331" fill="none" extrusionOk="0">
                      <a:moveTo>
                        <a:pt x="1" y="2330"/>
                      </a:moveTo>
                      <a:cubicBezTo>
                        <a:pt x="1" y="2330"/>
                        <a:pt x="2346" y="553"/>
                        <a:pt x="4287" y="0"/>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1" name="Google Shape;1271;p17"/>
                <p:cNvSpPr/>
                <p:nvPr/>
              </p:nvSpPr>
              <p:spPr>
                <a:xfrm>
                  <a:off x="12062300" y="5245775"/>
                  <a:ext cx="84800" cy="17200"/>
                </a:xfrm>
                <a:custGeom>
                  <a:avLst/>
                  <a:gdLst/>
                  <a:ahLst/>
                  <a:cxnLst/>
                  <a:rect l="l" t="t" r="r" b="b"/>
                  <a:pathLst>
                    <a:path w="3392" h="688" fill="none" extrusionOk="0">
                      <a:moveTo>
                        <a:pt x="1" y="0"/>
                      </a:moveTo>
                      <a:lnTo>
                        <a:pt x="3391" y="687"/>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2" name="Google Shape;1272;p17"/>
                <p:cNvSpPr/>
                <p:nvPr/>
              </p:nvSpPr>
              <p:spPr>
                <a:xfrm>
                  <a:off x="12057825" y="5253600"/>
                  <a:ext cx="42975" cy="20200"/>
                </a:xfrm>
                <a:custGeom>
                  <a:avLst/>
                  <a:gdLst/>
                  <a:ahLst/>
                  <a:cxnLst/>
                  <a:rect l="l" t="t" r="r" b="b"/>
                  <a:pathLst>
                    <a:path w="1719" h="808" fill="none" extrusionOk="0">
                      <a:moveTo>
                        <a:pt x="1" y="807"/>
                      </a:moveTo>
                      <a:lnTo>
                        <a:pt x="1718" y="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3" name="Google Shape;1273;p17"/>
                <p:cNvSpPr/>
                <p:nvPr/>
              </p:nvSpPr>
              <p:spPr>
                <a:xfrm>
                  <a:off x="11897650" y="5153900"/>
                  <a:ext cx="191200" cy="35875"/>
                </a:xfrm>
                <a:custGeom>
                  <a:avLst/>
                  <a:gdLst/>
                  <a:ahLst/>
                  <a:cxnLst/>
                  <a:rect l="l" t="t" r="r" b="b"/>
                  <a:pathLst>
                    <a:path w="7648" h="1435" fill="none" extrusionOk="0">
                      <a:moveTo>
                        <a:pt x="0" y="1"/>
                      </a:moveTo>
                      <a:lnTo>
                        <a:pt x="7647" y="1435"/>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4" name="Google Shape;1274;p17"/>
                <p:cNvSpPr/>
                <p:nvPr/>
              </p:nvSpPr>
              <p:spPr>
                <a:xfrm>
                  <a:off x="11938725" y="5170700"/>
                  <a:ext cx="49300" cy="17225"/>
                </a:xfrm>
                <a:custGeom>
                  <a:avLst/>
                  <a:gdLst/>
                  <a:ahLst/>
                  <a:cxnLst/>
                  <a:rect l="l" t="t" r="r" b="b"/>
                  <a:pathLst>
                    <a:path w="1972" h="689" fill="none" extrusionOk="0">
                      <a:moveTo>
                        <a:pt x="0" y="688"/>
                      </a:moveTo>
                      <a:lnTo>
                        <a:pt x="1972" y="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5" name="Google Shape;1275;p17"/>
                <p:cNvSpPr/>
                <p:nvPr/>
              </p:nvSpPr>
              <p:spPr>
                <a:xfrm>
                  <a:off x="11896900" y="5001575"/>
                  <a:ext cx="72075" cy="38100"/>
                </a:xfrm>
                <a:custGeom>
                  <a:avLst/>
                  <a:gdLst/>
                  <a:ahLst/>
                  <a:cxnLst/>
                  <a:rect l="l" t="t" r="r" b="b"/>
                  <a:pathLst>
                    <a:path w="2883" h="1524" fill="none" extrusionOk="0">
                      <a:moveTo>
                        <a:pt x="0" y="0"/>
                      </a:moveTo>
                      <a:lnTo>
                        <a:pt x="2883" y="1523"/>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6" name="Google Shape;1276;p17"/>
                <p:cNvSpPr/>
                <p:nvPr/>
              </p:nvSpPr>
              <p:spPr>
                <a:xfrm>
                  <a:off x="11909600" y="5019850"/>
                  <a:ext cx="21300" cy="4900"/>
                </a:xfrm>
                <a:custGeom>
                  <a:avLst/>
                  <a:gdLst/>
                  <a:ahLst/>
                  <a:cxnLst/>
                  <a:rect l="l" t="t" r="r" b="b"/>
                  <a:pathLst>
                    <a:path w="852" h="196" fill="none" extrusionOk="0">
                      <a:moveTo>
                        <a:pt x="0" y="195"/>
                      </a:moveTo>
                      <a:lnTo>
                        <a:pt x="851" y="1"/>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7" name="Google Shape;1277;p17"/>
                <p:cNvSpPr/>
                <p:nvPr/>
              </p:nvSpPr>
              <p:spPr>
                <a:xfrm>
                  <a:off x="12283725" y="5195350"/>
                  <a:ext cx="126250" cy="236025"/>
                </a:xfrm>
                <a:custGeom>
                  <a:avLst/>
                  <a:gdLst/>
                  <a:ahLst/>
                  <a:cxnLst/>
                  <a:rect l="l" t="t" r="r" b="b"/>
                  <a:pathLst>
                    <a:path w="5050" h="9441" fill="none" extrusionOk="0">
                      <a:moveTo>
                        <a:pt x="1" y="9440"/>
                      </a:moveTo>
                      <a:cubicBezTo>
                        <a:pt x="1" y="9440"/>
                        <a:pt x="912" y="3152"/>
                        <a:pt x="504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8" name="Google Shape;1278;p17"/>
                <p:cNvSpPr/>
                <p:nvPr/>
              </p:nvSpPr>
              <p:spPr>
                <a:xfrm>
                  <a:off x="12324425" y="5186775"/>
                  <a:ext cx="36625" cy="118375"/>
                </a:xfrm>
                <a:custGeom>
                  <a:avLst/>
                  <a:gdLst/>
                  <a:ahLst/>
                  <a:cxnLst/>
                  <a:rect l="l" t="t" r="r" b="b"/>
                  <a:pathLst>
                    <a:path w="1465" h="4735" fill="none" extrusionOk="0">
                      <a:moveTo>
                        <a:pt x="1465" y="0"/>
                      </a:moveTo>
                      <a:lnTo>
                        <a:pt x="1" y="4735"/>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9" name="Google Shape;1279;p17"/>
                <p:cNvSpPr/>
                <p:nvPr/>
              </p:nvSpPr>
              <p:spPr>
                <a:xfrm>
                  <a:off x="12344975" y="5227850"/>
                  <a:ext cx="63875" cy="39975"/>
                </a:xfrm>
                <a:custGeom>
                  <a:avLst/>
                  <a:gdLst/>
                  <a:ahLst/>
                  <a:cxnLst/>
                  <a:rect l="l" t="t" r="r" b="b"/>
                  <a:pathLst>
                    <a:path w="2555" h="1599" fill="none" extrusionOk="0">
                      <a:moveTo>
                        <a:pt x="0" y="1598"/>
                      </a:moveTo>
                      <a:cubicBezTo>
                        <a:pt x="0" y="1598"/>
                        <a:pt x="1852" y="179"/>
                        <a:pt x="2554" y="0"/>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0" name="Google Shape;1280;p17"/>
                <p:cNvSpPr/>
                <p:nvPr/>
              </p:nvSpPr>
              <p:spPr>
                <a:xfrm>
                  <a:off x="12251625" y="5228600"/>
                  <a:ext cx="32875" cy="162825"/>
                </a:xfrm>
                <a:custGeom>
                  <a:avLst/>
                  <a:gdLst/>
                  <a:ahLst/>
                  <a:cxnLst/>
                  <a:rect l="l" t="t" r="r" b="b"/>
                  <a:pathLst>
                    <a:path w="1315" h="6513" fill="none" extrusionOk="0">
                      <a:moveTo>
                        <a:pt x="1315" y="0"/>
                      </a:moveTo>
                      <a:lnTo>
                        <a:pt x="0" y="6512"/>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1" name="Google Shape;1281;p17"/>
                <p:cNvSpPr/>
                <p:nvPr/>
              </p:nvSpPr>
              <p:spPr>
                <a:xfrm>
                  <a:off x="12199350" y="5013500"/>
                  <a:ext cx="116525" cy="327125"/>
                </a:xfrm>
                <a:custGeom>
                  <a:avLst/>
                  <a:gdLst/>
                  <a:ahLst/>
                  <a:cxnLst/>
                  <a:rect l="l" t="t" r="r" b="b"/>
                  <a:pathLst>
                    <a:path w="4661" h="13085" fill="none" extrusionOk="0">
                      <a:moveTo>
                        <a:pt x="478" y="13085"/>
                      </a:moveTo>
                      <a:cubicBezTo>
                        <a:pt x="478" y="13085"/>
                        <a:pt x="0" y="5423"/>
                        <a:pt x="4660"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2" name="Google Shape;1282;p17"/>
                <p:cNvSpPr/>
                <p:nvPr/>
              </p:nvSpPr>
              <p:spPr>
                <a:xfrm>
                  <a:off x="12260575" y="5010900"/>
                  <a:ext cx="10850" cy="87400"/>
                </a:xfrm>
                <a:custGeom>
                  <a:avLst/>
                  <a:gdLst/>
                  <a:ahLst/>
                  <a:cxnLst/>
                  <a:rect l="l" t="t" r="r" b="b"/>
                  <a:pathLst>
                    <a:path w="434" h="3496" fill="none" extrusionOk="0">
                      <a:moveTo>
                        <a:pt x="404" y="0"/>
                      </a:moveTo>
                      <a:cubicBezTo>
                        <a:pt x="404" y="0"/>
                        <a:pt x="434" y="2554"/>
                        <a:pt x="1" y="3495"/>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3" name="Google Shape;1283;p17"/>
                <p:cNvSpPr/>
                <p:nvPr/>
              </p:nvSpPr>
              <p:spPr>
                <a:xfrm>
                  <a:off x="12226225" y="5106125"/>
                  <a:ext cx="80675" cy="91125"/>
                </a:xfrm>
                <a:custGeom>
                  <a:avLst/>
                  <a:gdLst/>
                  <a:ahLst/>
                  <a:cxnLst/>
                  <a:rect l="l" t="t" r="r" b="b"/>
                  <a:pathLst>
                    <a:path w="3227" h="3645" fill="none" extrusionOk="0">
                      <a:moveTo>
                        <a:pt x="3227" y="0"/>
                      </a:moveTo>
                      <a:cubicBezTo>
                        <a:pt x="3227" y="0"/>
                        <a:pt x="972" y="1882"/>
                        <a:pt x="1" y="3644"/>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4" name="Google Shape;1284;p17"/>
                <p:cNvSpPr/>
                <p:nvPr/>
              </p:nvSpPr>
              <p:spPr>
                <a:xfrm>
                  <a:off x="12166125" y="5196850"/>
                  <a:ext cx="1500" cy="86650"/>
                </a:xfrm>
                <a:custGeom>
                  <a:avLst/>
                  <a:gdLst/>
                  <a:ahLst/>
                  <a:cxnLst/>
                  <a:rect l="l" t="t" r="r" b="b"/>
                  <a:pathLst>
                    <a:path w="60" h="3466" fill="none" extrusionOk="0">
                      <a:moveTo>
                        <a:pt x="60" y="0"/>
                      </a:moveTo>
                      <a:lnTo>
                        <a:pt x="0" y="3466"/>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5" name="Google Shape;1285;p17"/>
                <p:cNvSpPr/>
                <p:nvPr/>
              </p:nvSpPr>
              <p:spPr>
                <a:xfrm>
                  <a:off x="12167225" y="5199100"/>
                  <a:ext cx="29150" cy="37350"/>
                </a:xfrm>
                <a:custGeom>
                  <a:avLst/>
                  <a:gdLst/>
                  <a:ahLst/>
                  <a:cxnLst/>
                  <a:rect l="l" t="t" r="r" b="b"/>
                  <a:pathLst>
                    <a:path w="1166" h="1494" fill="none" extrusionOk="0">
                      <a:moveTo>
                        <a:pt x="1166" y="0"/>
                      </a:moveTo>
                      <a:lnTo>
                        <a:pt x="1" y="1494"/>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6" name="Google Shape;1286;p17"/>
                <p:cNvSpPr/>
                <p:nvPr/>
              </p:nvSpPr>
              <p:spPr>
                <a:xfrm>
                  <a:off x="12093675" y="4998575"/>
                  <a:ext cx="7875" cy="194200"/>
                </a:xfrm>
                <a:custGeom>
                  <a:avLst/>
                  <a:gdLst/>
                  <a:ahLst/>
                  <a:cxnLst/>
                  <a:rect l="l" t="t" r="r" b="b"/>
                  <a:pathLst>
                    <a:path w="315" h="7768" fill="none" extrusionOk="0">
                      <a:moveTo>
                        <a:pt x="314" y="1"/>
                      </a:moveTo>
                      <a:lnTo>
                        <a:pt x="0" y="7767"/>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7" name="Google Shape;1287;p17"/>
                <p:cNvSpPr/>
                <p:nvPr/>
              </p:nvSpPr>
              <p:spPr>
                <a:xfrm>
                  <a:off x="12097775" y="5046375"/>
                  <a:ext cx="27650" cy="43700"/>
                </a:xfrm>
                <a:custGeom>
                  <a:avLst/>
                  <a:gdLst/>
                  <a:ahLst/>
                  <a:cxnLst/>
                  <a:rect l="l" t="t" r="r" b="b"/>
                  <a:pathLst>
                    <a:path w="1106" h="1748" fill="none" extrusionOk="0">
                      <a:moveTo>
                        <a:pt x="1106" y="0"/>
                      </a:moveTo>
                      <a:lnTo>
                        <a:pt x="1" y="1748"/>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8" name="Google Shape;1288;p17"/>
                <p:cNvSpPr/>
                <p:nvPr/>
              </p:nvSpPr>
              <p:spPr>
                <a:xfrm>
                  <a:off x="11967100" y="4981025"/>
                  <a:ext cx="20925" cy="79175"/>
                </a:xfrm>
                <a:custGeom>
                  <a:avLst/>
                  <a:gdLst/>
                  <a:ahLst/>
                  <a:cxnLst/>
                  <a:rect l="l" t="t" r="r" b="b"/>
                  <a:pathLst>
                    <a:path w="837" h="3167" fill="none" extrusionOk="0">
                      <a:moveTo>
                        <a:pt x="0" y="1"/>
                      </a:moveTo>
                      <a:lnTo>
                        <a:pt x="837" y="3167"/>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9" name="Google Shape;1289;p17"/>
                <p:cNvSpPr/>
                <p:nvPr/>
              </p:nvSpPr>
              <p:spPr>
                <a:xfrm>
                  <a:off x="11977175" y="4998575"/>
                  <a:ext cx="9350" cy="19825"/>
                </a:xfrm>
                <a:custGeom>
                  <a:avLst/>
                  <a:gdLst/>
                  <a:ahLst/>
                  <a:cxnLst/>
                  <a:rect l="l" t="t" r="r" b="b"/>
                  <a:pathLst>
                    <a:path w="374" h="793" fill="none" extrusionOk="0">
                      <a:moveTo>
                        <a:pt x="374" y="1"/>
                      </a:moveTo>
                      <a:lnTo>
                        <a:pt x="1" y="792"/>
                      </a:ln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1290" name="Google Shape;1290;p17"/>
            <p:cNvGrpSpPr/>
            <p:nvPr/>
          </p:nvGrpSpPr>
          <p:grpSpPr>
            <a:xfrm rot="-8100000" flipH="1">
              <a:off x="7090926" y="-1249320"/>
              <a:ext cx="1375055" cy="1806245"/>
              <a:chOff x="3255967" y="2507600"/>
              <a:chExt cx="1305465" cy="1715179"/>
            </a:xfrm>
          </p:grpSpPr>
          <p:sp>
            <p:nvSpPr>
              <p:cNvPr id="1291" name="Google Shape;1291;p17"/>
              <p:cNvSpPr/>
              <p:nvPr/>
            </p:nvSpPr>
            <p:spPr>
              <a:xfrm>
                <a:off x="4191774" y="3356698"/>
                <a:ext cx="369658" cy="519086"/>
              </a:xfrm>
              <a:custGeom>
                <a:avLst/>
                <a:gdLst/>
                <a:ahLst/>
                <a:cxnLst/>
                <a:rect l="l" t="t" r="r" b="b"/>
                <a:pathLst>
                  <a:path w="11711" h="16445" extrusionOk="0">
                    <a:moveTo>
                      <a:pt x="10695" y="0"/>
                    </a:moveTo>
                    <a:cubicBezTo>
                      <a:pt x="10695" y="0"/>
                      <a:pt x="8962" y="777"/>
                      <a:pt x="7394" y="3032"/>
                    </a:cubicBezTo>
                    <a:lnTo>
                      <a:pt x="7290" y="2256"/>
                    </a:lnTo>
                    <a:cubicBezTo>
                      <a:pt x="7290" y="2256"/>
                      <a:pt x="4691" y="4735"/>
                      <a:pt x="3660" y="6841"/>
                    </a:cubicBezTo>
                    <a:lnTo>
                      <a:pt x="3660" y="5945"/>
                    </a:lnTo>
                    <a:cubicBezTo>
                      <a:pt x="3660" y="5945"/>
                      <a:pt x="1" y="10635"/>
                      <a:pt x="2674" y="16445"/>
                    </a:cubicBezTo>
                    <a:cubicBezTo>
                      <a:pt x="2674" y="16445"/>
                      <a:pt x="5423" y="16370"/>
                      <a:pt x="9067" y="13249"/>
                    </a:cubicBezTo>
                    <a:lnTo>
                      <a:pt x="8529" y="13174"/>
                    </a:lnTo>
                    <a:cubicBezTo>
                      <a:pt x="8529" y="13174"/>
                      <a:pt x="11053" y="9559"/>
                      <a:pt x="11666" y="5930"/>
                    </a:cubicBezTo>
                    <a:lnTo>
                      <a:pt x="11666" y="5930"/>
                    </a:lnTo>
                    <a:lnTo>
                      <a:pt x="11009" y="6184"/>
                    </a:lnTo>
                    <a:cubicBezTo>
                      <a:pt x="11009" y="6184"/>
                      <a:pt x="11711" y="2659"/>
                      <a:pt x="1069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2" name="Google Shape;1292;p17"/>
              <p:cNvSpPr/>
              <p:nvPr/>
            </p:nvSpPr>
            <p:spPr>
              <a:xfrm>
                <a:off x="3567576" y="2507600"/>
                <a:ext cx="429537" cy="595474"/>
              </a:xfrm>
              <a:custGeom>
                <a:avLst/>
                <a:gdLst/>
                <a:ahLst/>
                <a:cxnLst/>
                <a:rect l="l" t="t" r="r" b="b"/>
                <a:pathLst>
                  <a:path w="13608" h="18865" extrusionOk="0">
                    <a:moveTo>
                      <a:pt x="1300" y="1"/>
                    </a:moveTo>
                    <a:lnTo>
                      <a:pt x="1315" y="31"/>
                    </a:lnTo>
                    <a:lnTo>
                      <a:pt x="1300" y="16"/>
                    </a:lnTo>
                    <a:cubicBezTo>
                      <a:pt x="1106" y="554"/>
                      <a:pt x="1211" y="2779"/>
                      <a:pt x="1211" y="2779"/>
                    </a:cubicBezTo>
                    <a:lnTo>
                      <a:pt x="539" y="2421"/>
                    </a:lnTo>
                    <a:lnTo>
                      <a:pt x="539" y="2421"/>
                    </a:lnTo>
                    <a:cubicBezTo>
                      <a:pt x="434" y="3317"/>
                      <a:pt x="1255" y="6408"/>
                      <a:pt x="1270" y="6513"/>
                    </a:cubicBezTo>
                    <a:lnTo>
                      <a:pt x="1" y="6080"/>
                    </a:lnTo>
                    <a:lnTo>
                      <a:pt x="1" y="6080"/>
                    </a:lnTo>
                    <a:cubicBezTo>
                      <a:pt x="583" y="8783"/>
                      <a:pt x="4332" y="13309"/>
                      <a:pt x="4332" y="13309"/>
                    </a:cubicBezTo>
                    <a:lnTo>
                      <a:pt x="3152" y="13488"/>
                    </a:lnTo>
                    <a:cubicBezTo>
                      <a:pt x="6677" y="17924"/>
                      <a:pt x="12995" y="18865"/>
                      <a:pt x="12995" y="18865"/>
                    </a:cubicBezTo>
                    <a:cubicBezTo>
                      <a:pt x="13010" y="18820"/>
                      <a:pt x="13040" y="18775"/>
                      <a:pt x="13055" y="18731"/>
                    </a:cubicBezTo>
                    <a:cubicBezTo>
                      <a:pt x="13085" y="18686"/>
                      <a:pt x="13100" y="18641"/>
                      <a:pt x="13115" y="18596"/>
                    </a:cubicBezTo>
                    <a:cubicBezTo>
                      <a:pt x="13144" y="18536"/>
                      <a:pt x="13159" y="18492"/>
                      <a:pt x="13174" y="18447"/>
                    </a:cubicBezTo>
                    <a:cubicBezTo>
                      <a:pt x="13189" y="18402"/>
                      <a:pt x="13204" y="18342"/>
                      <a:pt x="13219" y="18297"/>
                    </a:cubicBezTo>
                    <a:cubicBezTo>
                      <a:pt x="13249" y="18238"/>
                      <a:pt x="13264" y="18193"/>
                      <a:pt x="13279" y="18148"/>
                    </a:cubicBezTo>
                    <a:cubicBezTo>
                      <a:pt x="13294" y="18088"/>
                      <a:pt x="13309" y="18029"/>
                      <a:pt x="13324" y="17984"/>
                    </a:cubicBezTo>
                    <a:cubicBezTo>
                      <a:pt x="13339" y="17924"/>
                      <a:pt x="13353" y="17864"/>
                      <a:pt x="13353" y="17819"/>
                    </a:cubicBezTo>
                    <a:cubicBezTo>
                      <a:pt x="13368" y="17760"/>
                      <a:pt x="13383" y="17700"/>
                      <a:pt x="13398" y="17640"/>
                    </a:cubicBezTo>
                    <a:cubicBezTo>
                      <a:pt x="13413" y="17595"/>
                      <a:pt x="13413" y="17536"/>
                      <a:pt x="13428" y="17476"/>
                    </a:cubicBezTo>
                    <a:cubicBezTo>
                      <a:pt x="13443" y="17416"/>
                      <a:pt x="13458" y="17356"/>
                      <a:pt x="13458" y="17297"/>
                    </a:cubicBezTo>
                    <a:cubicBezTo>
                      <a:pt x="13473" y="17237"/>
                      <a:pt x="13488" y="17177"/>
                      <a:pt x="13488" y="17117"/>
                    </a:cubicBezTo>
                    <a:cubicBezTo>
                      <a:pt x="13503" y="17058"/>
                      <a:pt x="13503" y="16983"/>
                      <a:pt x="13518" y="16923"/>
                    </a:cubicBezTo>
                    <a:cubicBezTo>
                      <a:pt x="13518" y="16864"/>
                      <a:pt x="13533" y="16804"/>
                      <a:pt x="13533" y="16744"/>
                    </a:cubicBezTo>
                    <a:cubicBezTo>
                      <a:pt x="13548" y="16669"/>
                      <a:pt x="13548" y="16610"/>
                      <a:pt x="13548" y="16550"/>
                    </a:cubicBezTo>
                    <a:cubicBezTo>
                      <a:pt x="13563" y="16490"/>
                      <a:pt x="13563" y="16415"/>
                      <a:pt x="13578" y="16356"/>
                    </a:cubicBezTo>
                    <a:cubicBezTo>
                      <a:pt x="13578" y="16281"/>
                      <a:pt x="13578" y="16221"/>
                      <a:pt x="13578" y="16162"/>
                    </a:cubicBezTo>
                    <a:cubicBezTo>
                      <a:pt x="13592" y="16087"/>
                      <a:pt x="13592" y="16027"/>
                      <a:pt x="13592" y="15952"/>
                    </a:cubicBezTo>
                    <a:cubicBezTo>
                      <a:pt x="13592" y="15893"/>
                      <a:pt x="13607" y="15818"/>
                      <a:pt x="13607" y="15758"/>
                    </a:cubicBezTo>
                    <a:cubicBezTo>
                      <a:pt x="13607" y="15684"/>
                      <a:pt x="13607" y="15624"/>
                      <a:pt x="13607" y="15549"/>
                    </a:cubicBezTo>
                    <a:cubicBezTo>
                      <a:pt x="13607" y="15489"/>
                      <a:pt x="13607" y="15415"/>
                      <a:pt x="13607" y="15355"/>
                    </a:cubicBezTo>
                    <a:cubicBezTo>
                      <a:pt x="13607" y="15280"/>
                      <a:pt x="13607" y="15206"/>
                      <a:pt x="13607" y="15146"/>
                    </a:cubicBezTo>
                    <a:cubicBezTo>
                      <a:pt x="13607" y="15071"/>
                      <a:pt x="13607" y="15012"/>
                      <a:pt x="13607" y="14937"/>
                    </a:cubicBezTo>
                    <a:cubicBezTo>
                      <a:pt x="13607" y="14862"/>
                      <a:pt x="13607" y="14802"/>
                      <a:pt x="13607" y="14728"/>
                    </a:cubicBezTo>
                    <a:cubicBezTo>
                      <a:pt x="13607" y="14668"/>
                      <a:pt x="13607" y="14593"/>
                      <a:pt x="13607" y="14519"/>
                    </a:cubicBezTo>
                    <a:cubicBezTo>
                      <a:pt x="13607" y="14459"/>
                      <a:pt x="13607" y="14384"/>
                      <a:pt x="13592" y="14310"/>
                    </a:cubicBezTo>
                    <a:cubicBezTo>
                      <a:pt x="13592" y="14250"/>
                      <a:pt x="13592" y="14175"/>
                      <a:pt x="13592" y="14115"/>
                    </a:cubicBezTo>
                    <a:cubicBezTo>
                      <a:pt x="13592" y="14041"/>
                      <a:pt x="13592" y="13966"/>
                      <a:pt x="13578" y="13906"/>
                    </a:cubicBezTo>
                    <a:cubicBezTo>
                      <a:pt x="13578" y="13832"/>
                      <a:pt x="13578" y="13772"/>
                      <a:pt x="13578" y="13697"/>
                    </a:cubicBezTo>
                    <a:cubicBezTo>
                      <a:pt x="13428" y="11233"/>
                      <a:pt x="12980" y="8962"/>
                      <a:pt x="12980" y="8962"/>
                    </a:cubicBezTo>
                    <a:lnTo>
                      <a:pt x="12547" y="9754"/>
                    </a:lnTo>
                    <a:cubicBezTo>
                      <a:pt x="11755" y="6737"/>
                      <a:pt x="8425" y="3138"/>
                      <a:pt x="8425" y="3138"/>
                    </a:cubicBezTo>
                    <a:lnTo>
                      <a:pt x="8425" y="3152"/>
                    </a:lnTo>
                    <a:lnTo>
                      <a:pt x="8440" y="4064"/>
                    </a:lnTo>
                    <a:cubicBezTo>
                      <a:pt x="7439" y="2630"/>
                      <a:pt x="5094" y="1285"/>
                      <a:pt x="5094" y="1285"/>
                    </a:cubicBezTo>
                    <a:lnTo>
                      <a:pt x="5094" y="1300"/>
                    </a:lnTo>
                    <a:lnTo>
                      <a:pt x="5109" y="1883"/>
                    </a:lnTo>
                    <a:cubicBezTo>
                      <a:pt x="4034" y="1002"/>
                      <a:pt x="1390" y="31"/>
                      <a:pt x="130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3" name="Google Shape;1293;p17"/>
              <p:cNvSpPr/>
              <p:nvPr/>
            </p:nvSpPr>
            <p:spPr>
              <a:xfrm>
                <a:off x="4137577" y="3199694"/>
                <a:ext cx="207445" cy="272059"/>
              </a:xfrm>
              <a:custGeom>
                <a:avLst/>
                <a:gdLst/>
                <a:ahLst/>
                <a:cxnLst/>
                <a:rect l="l" t="t" r="r" b="b"/>
                <a:pathLst>
                  <a:path w="6572" h="8619" extrusionOk="0">
                    <a:moveTo>
                      <a:pt x="6199" y="1"/>
                    </a:moveTo>
                    <a:lnTo>
                      <a:pt x="6199" y="1"/>
                    </a:lnTo>
                    <a:cubicBezTo>
                      <a:pt x="4630" y="300"/>
                      <a:pt x="3555" y="1420"/>
                      <a:pt x="3555" y="1420"/>
                    </a:cubicBezTo>
                    <a:lnTo>
                      <a:pt x="3316" y="807"/>
                    </a:lnTo>
                    <a:cubicBezTo>
                      <a:pt x="2241" y="1509"/>
                      <a:pt x="1583" y="4078"/>
                      <a:pt x="1583" y="4078"/>
                    </a:cubicBezTo>
                    <a:lnTo>
                      <a:pt x="1285" y="3660"/>
                    </a:lnTo>
                    <a:lnTo>
                      <a:pt x="1285" y="3660"/>
                    </a:lnTo>
                    <a:cubicBezTo>
                      <a:pt x="0" y="6020"/>
                      <a:pt x="1389" y="8619"/>
                      <a:pt x="1389" y="8619"/>
                    </a:cubicBezTo>
                    <a:cubicBezTo>
                      <a:pt x="3540" y="8365"/>
                      <a:pt x="5228" y="6408"/>
                      <a:pt x="5228" y="6408"/>
                    </a:cubicBezTo>
                    <a:lnTo>
                      <a:pt x="5228" y="6408"/>
                    </a:lnTo>
                    <a:lnTo>
                      <a:pt x="4436" y="6573"/>
                    </a:lnTo>
                    <a:cubicBezTo>
                      <a:pt x="5691" y="5736"/>
                      <a:pt x="6527" y="3302"/>
                      <a:pt x="6572" y="3197"/>
                    </a:cubicBezTo>
                    <a:lnTo>
                      <a:pt x="6572" y="3197"/>
                    </a:lnTo>
                    <a:lnTo>
                      <a:pt x="5945" y="3451"/>
                    </a:lnTo>
                    <a:cubicBezTo>
                      <a:pt x="6467" y="2286"/>
                      <a:pt x="6199" y="1"/>
                      <a:pt x="619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4" name="Google Shape;1294;p17"/>
              <p:cNvSpPr/>
              <p:nvPr/>
            </p:nvSpPr>
            <p:spPr>
              <a:xfrm>
                <a:off x="3255967" y="2989439"/>
                <a:ext cx="652512" cy="337619"/>
              </a:xfrm>
              <a:custGeom>
                <a:avLst/>
                <a:gdLst/>
                <a:ahLst/>
                <a:cxnLst/>
                <a:rect l="l" t="t" r="r" b="b"/>
                <a:pathLst>
                  <a:path w="20672" h="10696" extrusionOk="0">
                    <a:moveTo>
                      <a:pt x="12427" y="0"/>
                    </a:moveTo>
                    <a:lnTo>
                      <a:pt x="12427" y="15"/>
                    </a:lnTo>
                    <a:lnTo>
                      <a:pt x="12681" y="658"/>
                    </a:lnTo>
                    <a:cubicBezTo>
                      <a:pt x="12576" y="629"/>
                      <a:pt x="11042" y="273"/>
                      <a:pt x="9055" y="273"/>
                    </a:cubicBezTo>
                    <a:cubicBezTo>
                      <a:pt x="7921" y="273"/>
                      <a:pt x="6640" y="389"/>
                      <a:pt x="5392" y="747"/>
                    </a:cubicBezTo>
                    <a:lnTo>
                      <a:pt x="5407" y="762"/>
                    </a:lnTo>
                    <a:lnTo>
                      <a:pt x="5392" y="762"/>
                    </a:lnTo>
                    <a:lnTo>
                      <a:pt x="6109" y="1330"/>
                    </a:lnTo>
                    <a:cubicBezTo>
                      <a:pt x="5870" y="1434"/>
                      <a:pt x="2286" y="2943"/>
                      <a:pt x="0" y="5796"/>
                    </a:cubicBezTo>
                    <a:cubicBezTo>
                      <a:pt x="165" y="5945"/>
                      <a:pt x="1972" y="7588"/>
                      <a:pt x="4466" y="8155"/>
                    </a:cubicBezTo>
                    <a:lnTo>
                      <a:pt x="3689" y="8514"/>
                    </a:lnTo>
                    <a:cubicBezTo>
                      <a:pt x="3689" y="8514"/>
                      <a:pt x="7041" y="10001"/>
                      <a:pt x="10015" y="10001"/>
                    </a:cubicBezTo>
                    <a:cubicBezTo>
                      <a:pt x="10224" y="10001"/>
                      <a:pt x="10431" y="9993"/>
                      <a:pt x="10635" y="9978"/>
                    </a:cubicBezTo>
                    <a:lnTo>
                      <a:pt x="10635" y="9978"/>
                    </a:lnTo>
                    <a:lnTo>
                      <a:pt x="9604" y="10575"/>
                    </a:lnTo>
                    <a:cubicBezTo>
                      <a:pt x="9604" y="10575"/>
                      <a:pt x="10408" y="10695"/>
                      <a:pt x="11654" y="10695"/>
                    </a:cubicBezTo>
                    <a:cubicBezTo>
                      <a:pt x="13921" y="10695"/>
                      <a:pt x="17654" y="10297"/>
                      <a:pt x="20671" y="8051"/>
                    </a:cubicBezTo>
                    <a:lnTo>
                      <a:pt x="20671" y="8036"/>
                    </a:lnTo>
                    <a:lnTo>
                      <a:pt x="20657" y="8021"/>
                    </a:lnTo>
                    <a:lnTo>
                      <a:pt x="20642" y="7991"/>
                    </a:lnTo>
                    <a:lnTo>
                      <a:pt x="20627" y="7946"/>
                    </a:lnTo>
                    <a:lnTo>
                      <a:pt x="20612" y="7901"/>
                    </a:lnTo>
                    <a:lnTo>
                      <a:pt x="20582" y="7857"/>
                    </a:lnTo>
                    <a:lnTo>
                      <a:pt x="20567" y="7797"/>
                    </a:lnTo>
                    <a:lnTo>
                      <a:pt x="20537" y="7722"/>
                    </a:lnTo>
                    <a:lnTo>
                      <a:pt x="20507" y="7648"/>
                    </a:lnTo>
                    <a:lnTo>
                      <a:pt x="20462" y="7573"/>
                    </a:lnTo>
                    <a:lnTo>
                      <a:pt x="20418" y="7483"/>
                    </a:lnTo>
                    <a:lnTo>
                      <a:pt x="20373" y="7394"/>
                    </a:lnTo>
                    <a:lnTo>
                      <a:pt x="20328" y="7304"/>
                    </a:lnTo>
                    <a:cubicBezTo>
                      <a:pt x="20313" y="7274"/>
                      <a:pt x="20298" y="7229"/>
                      <a:pt x="20283" y="7200"/>
                    </a:cubicBezTo>
                    <a:cubicBezTo>
                      <a:pt x="19402" y="5467"/>
                      <a:pt x="17012" y="1613"/>
                      <a:pt x="12427"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5" name="Google Shape;1295;p17"/>
              <p:cNvSpPr/>
              <p:nvPr/>
            </p:nvSpPr>
            <p:spPr>
              <a:xfrm>
                <a:off x="3675560" y="3494669"/>
                <a:ext cx="490331" cy="341123"/>
              </a:xfrm>
              <a:custGeom>
                <a:avLst/>
                <a:gdLst/>
                <a:ahLst/>
                <a:cxnLst/>
                <a:rect l="l" t="t" r="r" b="b"/>
                <a:pathLst>
                  <a:path w="15534" h="10807" extrusionOk="0">
                    <a:moveTo>
                      <a:pt x="1855" y="1"/>
                    </a:moveTo>
                    <a:cubicBezTo>
                      <a:pt x="1234" y="1"/>
                      <a:pt x="602" y="57"/>
                      <a:pt x="0" y="200"/>
                    </a:cubicBezTo>
                    <a:cubicBezTo>
                      <a:pt x="0" y="200"/>
                      <a:pt x="553" y="2022"/>
                      <a:pt x="2569" y="3874"/>
                    </a:cubicBezTo>
                    <a:lnTo>
                      <a:pt x="1778" y="3874"/>
                    </a:lnTo>
                    <a:cubicBezTo>
                      <a:pt x="1778" y="3874"/>
                      <a:pt x="3898" y="6787"/>
                      <a:pt x="5855" y="8071"/>
                    </a:cubicBezTo>
                    <a:lnTo>
                      <a:pt x="4959" y="7952"/>
                    </a:lnTo>
                    <a:lnTo>
                      <a:pt x="4959" y="7952"/>
                    </a:lnTo>
                    <a:cubicBezTo>
                      <a:pt x="4959" y="7952"/>
                      <a:pt x="7764" y="10807"/>
                      <a:pt x="12135" y="10807"/>
                    </a:cubicBezTo>
                    <a:cubicBezTo>
                      <a:pt x="13101" y="10807"/>
                      <a:pt x="14144" y="10667"/>
                      <a:pt x="15250" y="10326"/>
                    </a:cubicBezTo>
                    <a:cubicBezTo>
                      <a:pt x="15250" y="10326"/>
                      <a:pt x="15533" y="7593"/>
                      <a:pt x="12935" y="3575"/>
                    </a:cubicBezTo>
                    <a:lnTo>
                      <a:pt x="12785" y="4083"/>
                    </a:lnTo>
                    <a:cubicBezTo>
                      <a:pt x="12785" y="4083"/>
                      <a:pt x="9529" y="1096"/>
                      <a:pt x="6004" y="36"/>
                    </a:cubicBezTo>
                    <a:lnTo>
                      <a:pt x="6004" y="36"/>
                    </a:lnTo>
                    <a:lnTo>
                      <a:pt x="6169" y="723"/>
                    </a:lnTo>
                    <a:cubicBezTo>
                      <a:pt x="6169" y="723"/>
                      <a:pt x="4085" y="1"/>
                      <a:pt x="1855"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6" name="Google Shape;1296;p17"/>
              <p:cNvSpPr/>
              <p:nvPr/>
            </p:nvSpPr>
            <p:spPr>
              <a:xfrm>
                <a:off x="3688281" y="2611322"/>
                <a:ext cx="602544" cy="1611456"/>
              </a:xfrm>
              <a:custGeom>
                <a:avLst/>
                <a:gdLst/>
                <a:ahLst/>
                <a:cxnLst/>
                <a:rect l="l" t="t" r="r" b="b"/>
                <a:pathLst>
                  <a:path w="19089" h="51052" extrusionOk="0">
                    <a:moveTo>
                      <a:pt x="120" y="1"/>
                    </a:moveTo>
                    <a:lnTo>
                      <a:pt x="0" y="76"/>
                    </a:lnTo>
                    <a:cubicBezTo>
                      <a:pt x="717" y="972"/>
                      <a:pt x="1375" y="1913"/>
                      <a:pt x="2017" y="2854"/>
                    </a:cubicBezTo>
                    <a:cubicBezTo>
                      <a:pt x="2674" y="3795"/>
                      <a:pt x="3286" y="4780"/>
                      <a:pt x="3869" y="5751"/>
                    </a:cubicBezTo>
                    <a:cubicBezTo>
                      <a:pt x="5064" y="7693"/>
                      <a:pt x="6184" y="9694"/>
                      <a:pt x="7229" y="11740"/>
                    </a:cubicBezTo>
                    <a:cubicBezTo>
                      <a:pt x="9291" y="15818"/>
                      <a:pt x="11098" y="20045"/>
                      <a:pt x="12636" y="24361"/>
                    </a:cubicBezTo>
                    <a:cubicBezTo>
                      <a:pt x="12830" y="24884"/>
                      <a:pt x="13010" y="25437"/>
                      <a:pt x="13204" y="25974"/>
                    </a:cubicBezTo>
                    <a:cubicBezTo>
                      <a:pt x="13398" y="26527"/>
                      <a:pt x="13592" y="27065"/>
                      <a:pt x="13756" y="27602"/>
                    </a:cubicBezTo>
                    <a:lnTo>
                      <a:pt x="14279" y="29245"/>
                    </a:lnTo>
                    <a:lnTo>
                      <a:pt x="14772" y="30888"/>
                    </a:lnTo>
                    <a:lnTo>
                      <a:pt x="15011" y="31710"/>
                    </a:lnTo>
                    <a:lnTo>
                      <a:pt x="15250" y="32531"/>
                    </a:lnTo>
                    <a:lnTo>
                      <a:pt x="15698" y="34189"/>
                    </a:lnTo>
                    <a:lnTo>
                      <a:pt x="16116" y="35847"/>
                    </a:lnTo>
                    <a:lnTo>
                      <a:pt x="16325" y="36683"/>
                    </a:lnTo>
                    <a:lnTo>
                      <a:pt x="16505" y="37520"/>
                    </a:lnTo>
                    <a:cubicBezTo>
                      <a:pt x="17535" y="41986"/>
                      <a:pt x="18342" y="46511"/>
                      <a:pt x="18879" y="51052"/>
                    </a:cubicBezTo>
                    <a:lnTo>
                      <a:pt x="19088" y="51022"/>
                    </a:lnTo>
                    <a:cubicBezTo>
                      <a:pt x="18536" y="46466"/>
                      <a:pt x="17729" y="41941"/>
                      <a:pt x="16684" y="37490"/>
                    </a:cubicBezTo>
                    <a:lnTo>
                      <a:pt x="16505" y="36653"/>
                    </a:lnTo>
                    <a:lnTo>
                      <a:pt x="16295" y="35817"/>
                    </a:lnTo>
                    <a:lnTo>
                      <a:pt x="15862" y="34144"/>
                    </a:lnTo>
                    <a:lnTo>
                      <a:pt x="15414" y="32471"/>
                    </a:lnTo>
                    <a:lnTo>
                      <a:pt x="15175" y="31650"/>
                    </a:lnTo>
                    <a:lnTo>
                      <a:pt x="14936" y="30828"/>
                    </a:lnTo>
                    <a:lnTo>
                      <a:pt x="14443" y="29186"/>
                    </a:lnTo>
                    <a:lnTo>
                      <a:pt x="13921" y="27558"/>
                    </a:lnTo>
                    <a:cubicBezTo>
                      <a:pt x="13741" y="27005"/>
                      <a:pt x="13562" y="26452"/>
                      <a:pt x="13368" y="25915"/>
                    </a:cubicBezTo>
                    <a:cubicBezTo>
                      <a:pt x="13189" y="25377"/>
                      <a:pt x="13010" y="24839"/>
                      <a:pt x="12800" y="24302"/>
                    </a:cubicBezTo>
                    <a:cubicBezTo>
                      <a:pt x="11247" y="19985"/>
                      <a:pt x="9425" y="15758"/>
                      <a:pt x="7349" y="11681"/>
                    </a:cubicBezTo>
                    <a:cubicBezTo>
                      <a:pt x="6303" y="9649"/>
                      <a:pt x="5183" y="7648"/>
                      <a:pt x="3988" y="5676"/>
                    </a:cubicBezTo>
                    <a:cubicBezTo>
                      <a:pt x="3391" y="4706"/>
                      <a:pt x="2779" y="3735"/>
                      <a:pt x="2136" y="2779"/>
                    </a:cubicBezTo>
                    <a:cubicBezTo>
                      <a:pt x="1494" y="1838"/>
                      <a:pt x="822" y="897"/>
                      <a:pt x="120" y="1"/>
                    </a:cubicBezTo>
                    <a:close/>
                  </a:path>
                </a:pathLst>
              </a:custGeom>
              <a:solidFill>
                <a:schemeClr val="dk1"/>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7" name="Google Shape;1297;p17"/>
              <p:cNvSpPr/>
              <p:nvPr/>
            </p:nvSpPr>
            <p:spPr>
              <a:xfrm>
                <a:off x="3347884" y="3087985"/>
                <a:ext cx="723722" cy="239515"/>
              </a:xfrm>
              <a:custGeom>
                <a:avLst/>
                <a:gdLst/>
                <a:ahLst/>
                <a:cxnLst/>
                <a:rect l="l" t="t" r="r" b="b"/>
                <a:pathLst>
                  <a:path w="22928" h="7588" fill="none" extrusionOk="0">
                    <a:moveTo>
                      <a:pt x="22927" y="7587"/>
                    </a:moveTo>
                    <a:cubicBezTo>
                      <a:pt x="22927" y="7587"/>
                      <a:pt x="11785" y="0"/>
                      <a:pt x="1" y="2270"/>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8" name="Google Shape;1298;p17"/>
              <p:cNvSpPr/>
              <p:nvPr/>
            </p:nvSpPr>
            <p:spPr>
              <a:xfrm>
                <a:off x="4023470" y="2831962"/>
                <a:ext cx="318270" cy="431430"/>
              </a:xfrm>
              <a:custGeom>
                <a:avLst/>
                <a:gdLst/>
                <a:ahLst/>
                <a:cxnLst/>
                <a:rect l="l" t="t" r="r" b="b"/>
                <a:pathLst>
                  <a:path w="10083" h="13668" extrusionOk="0">
                    <a:moveTo>
                      <a:pt x="9933" y="3376"/>
                    </a:moveTo>
                    <a:cubicBezTo>
                      <a:pt x="9933" y="3376"/>
                      <a:pt x="9933" y="3376"/>
                      <a:pt x="9933" y="3376"/>
                    </a:cubicBezTo>
                    <a:lnTo>
                      <a:pt x="9933" y="3376"/>
                    </a:lnTo>
                    <a:lnTo>
                      <a:pt x="9933" y="3376"/>
                    </a:lnTo>
                    <a:close/>
                    <a:moveTo>
                      <a:pt x="9739" y="1"/>
                    </a:moveTo>
                    <a:lnTo>
                      <a:pt x="9739" y="1"/>
                    </a:lnTo>
                    <a:cubicBezTo>
                      <a:pt x="6976" y="270"/>
                      <a:pt x="4526" y="1987"/>
                      <a:pt x="4526" y="1987"/>
                    </a:cubicBezTo>
                    <a:lnTo>
                      <a:pt x="4467" y="1300"/>
                    </a:lnTo>
                    <a:cubicBezTo>
                      <a:pt x="2420" y="3048"/>
                      <a:pt x="1450" y="5751"/>
                      <a:pt x="1450" y="5751"/>
                    </a:cubicBezTo>
                    <a:lnTo>
                      <a:pt x="1151" y="5333"/>
                    </a:lnTo>
                    <a:lnTo>
                      <a:pt x="1151" y="5333"/>
                    </a:lnTo>
                    <a:cubicBezTo>
                      <a:pt x="1" y="9859"/>
                      <a:pt x="2764" y="13667"/>
                      <a:pt x="2764" y="13667"/>
                    </a:cubicBezTo>
                    <a:cubicBezTo>
                      <a:pt x="6811" y="12174"/>
                      <a:pt x="8798" y="7858"/>
                      <a:pt x="8798" y="7857"/>
                    </a:cubicBezTo>
                    <a:lnTo>
                      <a:pt x="8798" y="7857"/>
                    </a:lnTo>
                    <a:lnTo>
                      <a:pt x="8006" y="8260"/>
                    </a:lnTo>
                    <a:cubicBezTo>
                      <a:pt x="9406" y="6444"/>
                      <a:pt x="9915" y="3397"/>
                      <a:pt x="9933" y="3376"/>
                    </a:cubicBezTo>
                    <a:lnTo>
                      <a:pt x="9933" y="3376"/>
                    </a:lnTo>
                    <a:lnTo>
                      <a:pt x="9395" y="3705"/>
                    </a:lnTo>
                    <a:cubicBezTo>
                      <a:pt x="10082" y="1853"/>
                      <a:pt x="9739" y="1"/>
                      <a:pt x="9739"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9" name="Google Shape;1299;p17"/>
              <p:cNvSpPr/>
              <p:nvPr/>
            </p:nvSpPr>
            <p:spPr>
              <a:xfrm>
                <a:off x="4090893" y="2884296"/>
                <a:ext cx="194756" cy="513436"/>
              </a:xfrm>
              <a:custGeom>
                <a:avLst/>
                <a:gdLst/>
                <a:ahLst/>
                <a:cxnLst/>
                <a:rect l="l" t="t" r="r" b="b"/>
                <a:pathLst>
                  <a:path w="6170" h="16266" fill="none" extrusionOk="0">
                    <a:moveTo>
                      <a:pt x="180" y="16266"/>
                    </a:moveTo>
                    <a:cubicBezTo>
                      <a:pt x="180" y="16266"/>
                      <a:pt x="1" y="6334"/>
                      <a:pt x="6169"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0" name="Google Shape;1300;p17"/>
              <p:cNvSpPr/>
              <p:nvPr/>
            </p:nvSpPr>
            <p:spPr>
              <a:xfrm>
                <a:off x="3751443" y="3534914"/>
                <a:ext cx="495065" cy="419625"/>
              </a:xfrm>
              <a:custGeom>
                <a:avLst/>
                <a:gdLst/>
                <a:ahLst/>
                <a:cxnLst/>
                <a:rect l="l" t="t" r="r" b="b"/>
                <a:pathLst>
                  <a:path w="15684" h="13294" fill="none" extrusionOk="0">
                    <a:moveTo>
                      <a:pt x="1" y="0"/>
                    </a:moveTo>
                    <a:cubicBezTo>
                      <a:pt x="1" y="0"/>
                      <a:pt x="13368" y="6781"/>
                      <a:pt x="15683" y="1329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1" name="Google Shape;1301;p17"/>
              <p:cNvSpPr/>
              <p:nvPr/>
            </p:nvSpPr>
            <p:spPr>
              <a:xfrm>
                <a:off x="4225265" y="3427404"/>
                <a:ext cx="260727" cy="608699"/>
              </a:xfrm>
              <a:custGeom>
                <a:avLst/>
                <a:gdLst/>
                <a:ahLst/>
                <a:cxnLst/>
                <a:rect l="l" t="t" r="r" b="b"/>
                <a:pathLst>
                  <a:path w="8260" h="19284" fill="none" extrusionOk="0">
                    <a:moveTo>
                      <a:pt x="8260" y="1"/>
                    </a:moveTo>
                    <a:cubicBezTo>
                      <a:pt x="8260" y="1"/>
                      <a:pt x="0" y="12502"/>
                      <a:pt x="1180" y="19283"/>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2" name="Google Shape;1302;p17"/>
              <p:cNvSpPr/>
              <p:nvPr/>
            </p:nvSpPr>
            <p:spPr>
              <a:xfrm>
                <a:off x="3786827" y="3358119"/>
                <a:ext cx="384714" cy="273479"/>
              </a:xfrm>
              <a:custGeom>
                <a:avLst/>
                <a:gdLst/>
                <a:ahLst/>
                <a:cxnLst/>
                <a:rect l="l" t="t" r="r" b="b"/>
                <a:pathLst>
                  <a:path w="12188" h="8664" fill="none" extrusionOk="0">
                    <a:moveTo>
                      <a:pt x="12188" y="8663"/>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3" name="Google Shape;1303;p17"/>
              <p:cNvSpPr/>
              <p:nvPr/>
            </p:nvSpPr>
            <p:spPr>
              <a:xfrm>
                <a:off x="3934835" y="3380751"/>
                <a:ext cx="22664" cy="98546"/>
              </a:xfrm>
              <a:custGeom>
                <a:avLst/>
                <a:gdLst/>
                <a:ahLst/>
                <a:cxnLst/>
                <a:rect l="l" t="t" r="r" b="b"/>
                <a:pathLst>
                  <a:path w="718" h="3122" fill="none" extrusionOk="0">
                    <a:moveTo>
                      <a:pt x="1" y="0"/>
                    </a:moveTo>
                    <a:lnTo>
                      <a:pt x="718" y="312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4" name="Google Shape;1304;p17"/>
              <p:cNvSpPr/>
              <p:nvPr/>
            </p:nvSpPr>
            <p:spPr>
              <a:xfrm>
                <a:off x="4149824" y="3259099"/>
                <a:ext cx="148545" cy="298479"/>
              </a:xfrm>
              <a:custGeom>
                <a:avLst/>
                <a:gdLst/>
                <a:ahLst/>
                <a:cxnLst/>
                <a:rect l="l" t="t" r="r" b="b"/>
                <a:pathLst>
                  <a:path w="4706" h="9456" fill="none" extrusionOk="0">
                    <a:moveTo>
                      <a:pt x="1" y="9455"/>
                    </a:moveTo>
                    <a:cubicBezTo>
                      <a:pt x="1" y="9455"/>
                      <a:pt x="2286" y="2420"/>
                      <a:pt x="4705"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5" name="Google Shape;1305;p17"/>
              <p:cNvSpPr/>
              <p:nvPr/>
            </p:nvSpPr>
            <p:spPr>
              <a:xfrm>
                <a:off x="4182841" y="3523582"/>
                <a:ext cx="68370" cy="149965"/>
              </a:xfrm>
              <a:custGeom>
                <a:avLst/>
                <a:gdLst/>
                <a:ahLst/>
                <a:cxnLst/>
                <a:rect l="l" t="t" r="r" b="b"/>
                <a:pathLst>
                  <a:path w="2166" h="4751" fill="none" extrusionOk="0">
                    <a:moveTo>
                      <a:pt x="0" y="4750"/>
                    </a:moveTo>
                    <a:lnTo>
                      <a:pt x="2166"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6" name="Google Shape;1306;p17"/>
              <p:cNvSpPr/>
              <p:nvPr/>
            </p:nvSpPr>
            <p:spPr>
              <a:xfrm>
                <a:off x="4212071" y="3533494"/>
                <a:ext cx="11805" cy="50472"/>
              </a:xfrm>
              <a:custGeom>
                <a:avLst/>
                <a:gdLst/>
                <a:ahLst/>
                <a:cxnLst/>
                <a:rect l="l" t="t" r="r" b="b"/>
                <a:pathLst>
                  <a:path w="374" h="1599" fill="none" extrusionOk="0">
                    <a:moveTo>
                      <a:pt x="0" y="0"/>
                    </a:moveTo>
                    <a:lnTo>
                      <a:pt x="374"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7" name="Google Shape;1307;p17"/>
              <p:cNvSpPr/>
              <p:nvPr/>
            </p:nvSpPr>
            <p:spPr>
              <a:xfrm>
                <a:off x="3668963" y="3201588"/>
                <a:ext cx="138160" cy="48137"/>
              </a:xfrm>
              <a:custGeom>
                <a:avLst/>
                <a:gdLst/>
                <a:ahLst/>
                <a:cxnLst/>
                <a:rect l="l" t="t" r="r" b="b"/>
                <a:pathLst>
                  <a:path w="4377" h="1525" fill="none" extrusionOk="0">
                    <a:moveTo>
                      <a:pt x="4376" y="1"/>
                    </a:moveTo>
                    <a:lnTo>
                      <a:pt x="0"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8" name="Google Shape;1308;p17"/>
              <p:cNvSpPr/>
              <p:nvPr/>
            </p:nvSpPr>
            <p:spPr>
              <a:xfrm>
                <a:off x="4101751" y="3068636"/>
                <a:ext cx="28314" cy="98577"/>
              </a:xfrm>
              <a:custGeom>
                <a:avLst/>
                <a:gdLst/>
                <a:ahLst/>
                <a:cxnLst/>
                <a:rect l="l" t="t" r="r" b="b"/>
                <a:pathLst>
                  <a:path w="897" h="3123" fill="none" extrusionOk="0">
                    <a:moveTo>
                      <a:pt x="896" y="312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9" name="Google Shape;1309;p17"/>
              <p:cNvSpPr/>
              <p:nvPr/>
            </p:nvSpPr>
            <p:spPr>
              <a:xfrm>
                <a:off x="4178580" y="3003107"/>
                <a:ext cx="91033" cy="35384"/>
              </a:xfrm>
              <a:custGeom>
                <a:avLst/>
                <a:gdLst/>
                <a:ahLst/>
                <a:cxnLst/>
                <a:rect l="l" t="t" r="r" b="b"/>
                <a:pathLst>
                  <a:path w="2884" h="1121" fill="none" extrusionOk="0">
                    <a:moveTo>
                      <a:pt x="2883" y="1"/>
                    </a:moveTo>
                    <a:lnTo>
                      <a:pt x="1" y="112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0" name="Google Shape;1310;p17"/>
              <p:cNvSpPr/>
              <p:nvPr/>
            </p:nvSpPr>
            <p:spPr>
              <a:xfrm>
                <a:off x="4309638" y="3719727"/>
                <a:ext cx="96210" cy="48105"/>
              </a:xfrm>
              <a:custGeom>
                <a:avLst/>
                <a:gdLst/>
                <a:ahLst/>
                <a:cxnLst/>
                <a:rect l="l" t="t" r="r" b="b"/>
                <a:pathLst>
                  <a:path w="3048" h="1524" fill="none" extrusionOk="0">
                    <a:moveTo>
                      <a:pt x="3048" y="0"/>
                    </a:moveTo>
                    <a:lnTo>
                      <a:pt x="1" y="152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1" name="Google Shape;1311;p17"/>
              <p:cNvSpPr/>
              <p:nvPr/>
            </p:nvSpPr>
            <p:spPr>
              <a:xfrm>
                <a:off x="4368570" y="3540091"/>
                <a:ext cx="14173" cy="66034"/>
              </a:xfrm>
              <a:custGeom>
                <a:avLst/>
                <a:gdLst/>
                <a:ahLst/>
                <a:cxnLst/>
                <a:rect l="l" t="t" r="r" b="b"/>
                <a:pathLst>
                  <a:path w="449" h="2092" fill="none" extrusionOk="0">
                    <a:moveTo>
                      <a:pt x="1" y="1"/>
                    </a:moveTo>
                    <a:lnTo>
                      <a:pt x="449" y="209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2" name="Google Shape;1312;p17"/>
              <p:cNvSpPr/>
              <p:nvPr/>
            </p:nvSpPr>
            <p:spPr>
              <a:xfrm>
                <a:off x="3969746" y="3756500"/>
                <a:ext cx="130616" cy="10385"/>
              </a:xfrm>
              <a:custGeom>
                <a:avLst/>
                <a:gdLst/>
                <a:ahLst/>
                <a:cxnLst/>
                <a:rect l="l" t="t" r="r" b="b"/>
                <a:pathLst>
                  <a:path w="4138" h="329" fill="none" extrusionOk="0">
                    <a:moveTo>
                      <a:pt x="4137" y="329"/>
                    </a:moveTo>
                    <a:lnTo>
                      <a:pt x="0"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p17"/>
              <p:cNvSpPr/>
              <p:nvPr/>
            </p:nvSpPr>
            <p:spPr>
              <a:xfrm>
                <a:off x="3956994" y="3585355"/>
                <a:ext cx="19854" cy="86299"/>
              </a:xfrm>
              <a:custGeom>
                <a:avLst/>
                <a:gdLst/>
                <a:ahLst/>
                <a:cxnLst/>
                <a:rect l="l" t="t" r="r" b="b"/>
                <a:pathLst>
                  <a:path w="629" h="2734" fill="none" extrusionOk="0">
                    <a:moveTo>
                      <a:pt x="1" y="0"/>
                    </a:moveTo>
                    <a:lnTo>
                      <a:pt x="628" y="2734"/>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p17"/>
              <p:cNvSpPr/>
              <p:nvPr/>
            </p:nvSpPr>
            <p:spPr>
              <a:xfrm>
                <a:off x="3783513" y="2922490"/>
                <a:ext cx="124966" cy="38225"/>
              </a:xfrm>
              <a:custGeom>
                <a:avLst/>
                <a:gdLst/>
                <a:ahLst/>
                <a:cxnLst/>
                <a:rect l="l" t="t" r="r" b="b"/>
                <a:pathLst>
                  <a:path w="3959" h="1211" fill="none" extrusionOk="0">
                    <a:moveTo>
                      <a:pt x="3958" y="1210"/>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p17"/>
              <p:cNvSpPr/>
              <p:nvPr/>
            </p:nvSpPr>
            <p:spPr>
              <a:xfrm>
                <a:off x="3824042" y="2697621"/>
                <a:ext cx="32102" cy="111740"/>
              </a:xfrm>
              <a:custGeom>
                <a:avLst/>
                <a:gdLst/>
                <a:ahLst/>
                <a:cxnLst/>
                <a:rect l="l" t="t" r="r" b="b"/>
                <a:pathLst>
                  <a:path w="1017" h="3540" fill="none" extrusionOk="0">
                    <a:moveTo>
                      <a:pt x="1017" y="0"/>
                    </a:moveTo>
                    <a:lnTo>
                      <a:pt x="1" y="354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18" name="Google Shape;1318;p17"/>
            <p:cNvSpPr/>
            <p:nvPr/>
          </p:nvSpPr>
          <p:spPr>
            <a:xfrm>
              <a:off x="5114402" y="425033"/>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19" name="Google Shape;1319;p17"/>
            <p:cNvGrpSpPr/>
            <p:nvPr/>
          </p:nvGrpSpPr>
          <p:grpSpPr>
            <a:xfrm rot="-5400000">
              <a:off x="7497983" y="2688273"/>
              <a:ext cx="280103" cy="333022"/>
              <a:chOff x="5532358" y="120998"/>
              <a:chExt cx="280103" cy="333022"/>
            </a:xfrm>
          </p:grpSpPr>
          <p:sp>
            <p:nvSpPr>
              <p:cNvPr id="1320" name="Google Shape;1320;p17"/>
              <p:cNvSpPr/>
              <p:nvPr/>
            </p:nvSpPr>
            <p:spPr>
              <a:xfrm>
                <a:off x="5629561" y="33851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1321;p17"/>
              <p:cNvSpPr/>
              <p:nvPr/>
            </p:nvSpPr>
            <p:spPr>
              <a:xfrm rot="5400000">
                <a:off x="5663269" y="15468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1322;p17"/>
              <p:cNvSpPr/>
              <p:nvPr/>
            </p:nvSpPr>
            <p:spPr>
              <a:xfrm rot="2700000">
                <a:off x="5546413" y="22511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3" name="Google Shape;1323;p17"/>
            <p:cNvGrpSpPr/>
            <p:nvPr/>
          </p:nvGrpSpPr>
          <p:grpSpPr>
            <a:xfrm rot="10800000" flipH="1">
              <a:off x="4536823" y="-433157"/>
              <a:ext cx="1348137" cy="1154607"/>
              <a:chOff x="11984000" y="5719225"/>
              <a:chExt cx="796818" cy="685512"/>
            </a:xfrm>
          </p:grpSpPr>
          <p:grpSp>
            <p:nvGrpSpPr>
              <p:cNvPr id="1324" name="Google Shape;1324;p17"/>
              <p:cNvGrpSpPr/>
              <p:nvPr/>
            </p:nvGrpSpPr>
            <p:grpSpPr>
              <a:xfrm>
                <a:off x="11984000" y="5749206"/>
                <a:ext cx="796818" cy="655531"/>
                <a:chOff x="11984000" y="5749206"/>
                <a:chExt cx="796818" cy="655531"/>
              </a:xfrm>
            </p:grpSpPr>
            <p:sp>
              <p:nvSpPr>
                <p:cNvPr id="1325" name="Google Shape;1325;p17"/>
                <p:cNvSpPr/>
                <p:nvPr/>
              </p:nvSpPr>
              <p:spPr>
                <a:xfrm>
                  <a:off x="11984000" y="5749206"/>
                  <a:ext cx="587750" cy="461350"/>
                </a:xfrm>
                <a:custGeom>
                  <a:avLst/>
                  <a:gdLst/>
                  <a:ahLst/>
                  <a:cxnLst/>
                  <a:rect l="l" t="t" r="r" b="b"/>
                  <a:pathLst>
                    <a:path w="23510" h="18454" extrusionOk="0">
                      <a:moveTo>
                        <a:pt x="23510" y="1"/>
                      </a:moveTo>
                      <a:cubicBezTo>
                        <a:pt x="23092" y="598"/>
                        <a:pt x="20702" y="3077"/>
                        <a:pt x="20702" y="3077"/>
                      </a:cubicBezTo>
                      <a:lnTo>
                        <a:pt x="20478" y="2599"/>
                      </a:lnTo>
                      <a:cubicBezTo>
                        <a:pt x="19880" y="3481"/>
                        <a:pt x="18521" y="4810"/>
                        <a:pt x="18521" y="4810"/>
                      </a:cubicBezTo>
                      <a:lnTo>
                        <a:pt x="18222" y="4332"/>
                      </a:lnTo>
                      <a:cubicBezTo>
                        <a:pt x="17595" y="4840"/>
                        <a:pt x="16565" y="6647"/>
                        <a:pt x="16565" y="6647"/>
                      </a:cubicBezTo>
                      <a:lnTo>
                        <a:pt x="16176" y="6124"/>
                      </a:lnTo>
                      <a:cubicBezTo>
                        <a:pt x="15566" y="7129"/>
                        <a:pt x="15497" y="8268"/>
                        <a:pt x="15490" y="8468"/>
                      </a:cubicBezTo>
                      <a:lnTo>
                        <a:pt x="15490" y="8468"/>
                      </a:lnTo>
                      <a:cubicBezTo>
                        <a:pt x="15519" y="7158"/>
                        <a:pt x="14578" y="5452"/>
                        <a:pt x="14578" y="5452"/>
                      </a:cubicBezTo>
                      <a:lnTo>
                        <a:pt x="14399" y="6020"/>
                      </a:lnTo>
                      <a:cubicBezTo>
                        <a:pt x="13936" y="4974"/>
                        <a:pt x="12562" y="3690"/>
                        <a:pt x="12562" y="3690"/>
                      </a:cubicBezTo>
                      <a:lnTo>
                        <a:pt x="12383" y="4123"/>
                      </a:lnTo>
                      <a:cubicBezTo>
                        <a:pt x="11979" y="3481"/>
                        <a:pt x="10560" y="1957"/>
                        <a:pt x="10560" y="1957"/>
                      </a:cubicBezTo>
                      <a:lnTo>
                        <a:pt x="10531" y="2495"/>
                      </a:lnTo>
                      <a:cubicBezTo>
                        <a:pt x="9709" y="1763"/>
                        <a:pt x="7424" y="61"/>
                        <a:pt x="7424" y="60"/>
                      </a:cubicBezTo>
                      <a:lnTo>
                        <a:pt x="7424" y="60"/>
                      </a:lnTo>
                      <a:cubicBezTo>
                        <a:pt x="7767" y="777"/>
                        <a:pt x="7917" y="3062"/>
                        <a:pt x="7917" y="3062"/>
                      </a:cubicBezTo>
                      <a:lnTo>
                        <a:pt x="7469" y="3062"/>
                      </a:lnTo>
                      <a:cubicBezTo>
                        <a:pt x="7842" y="3944"/>
                        <a:pt x="8260" y="5721"/>
                        <a:pt x="8260" y="5721"/>
                      </a:cubicBezTo>
                      <a:lnTo>
                        <a:pt x="7723" y="5661"/>
                      </a:lnTo>
                      <a:lnTo>
                        <a:pt x="7723" y="5661"/>
                      </a:lnTo>
                      <a:cubicBezTo>
                        <a:pt x="7887" y="6617"/>
                        <a:pt x="8768" y="8141"/>
                        <a:pt x="8768" y="8141"/>
                      </a:cubicBezTo>
                      <a:lnTo>
                        <a:pt x="8051" y="8141"/>
                      </a:lnTo>
                      <a:cubicBezTo>
                        <a:pt x="8678" y="9365"/>
                        <a:pt x="10112" y="10500"/>
                        <a:pt x="10112" y="10500"/>
                      </a:cubicBezTo>
                      <a:cubicBezTo>
                        <a:pt x="9052" y="9813"/>
                        <a:pt x="6752" y="9679"/>
                        <a:pt x="6752" y="9679"/>
                      </a:cubicBezTo>
                      <a:lnTo>
                        <a:pt x="6752" y="9679"/>
                      </a:lnTo>
                      <a:lnTo>
                        <a:pt x="6841" y="10187"/>
                      </a:lnTo>
                      <a:cubicBezTo>
                        <a:pt x="6162" y="10086"/>
                        <a:pt x="5549" y="10057"/>
                        <a:pt x="5067" y="10057"/>
                      </a:cubicBezTo>
                      <a:cubicBezTo>
                        <a:pt x="4404" y="10057"/>
                        <a:pt x="3989" y="10112"/>
                        <a:pt x="3989" y="10112"/>
                      </a:cubicBezTo>
                      <a:lnTo>
                        <a:pt x="4317" y="10485"/>
                      </a:lnTo>
                      <a:cubicBezTo>
                        <a:pt x="3033" y="10530"/>
                        <a:pt x="1" y="11307"/>
                        <a:pt x="1" y="11307"/>
                      </a:cubicBezTo>
                      <a:cubicBezTo>
                        <a:pt x="1793" y="12756"/>
                        <a:pt x="3839" y="13921"/>
                        <a:pt x="3839" y="13921"/>
                      </a:cubicBezTo>
                      <a:lnTo>
                        <a:pt x="3436" y="14175"/>
                      </a:lnTo>
                      <a:cubicBezTo>
                        <a:pt x="4482" y="14712"/>
                        <a:pt x="6767" y="16505"/>
                        <a:pt x="6767" y="16505"/>
                      </a:cubicBezTo>
                      <a:lnTo>
                        <a:pt x="6423" y="16788"/>
                      </a:lnTo>
                      <a:cubicBezTo>
                        <a:pt x="7648" y="17640"/>
                        <a:pt x="10277" y="17983"/>
                        <a:pt x="10277" y="17983"/>
                      </a:cubicBezTo>
                      <a:lnTo>
                        <a:pt x="10067" y="18431"/>
                      </a:lnTo>
                      <a:cubicBezTo>
                        <a:pt x="10308" y="18447"/>
                        <a:pt x="10537" y="18454"/>
                        <a:pt x="10755" y="18454"/>
                      </a:cubicBezTo>
                      <a:cubicBezTo>
                        <a:pt x="13074" y="18454"/>
                        <a:pt x="14085" y="17655"/>
                        <a:pt x="14085" y="17655"/>
                      </a:cubicBezTo>
                      <a:lnTo>
                        <a:pt x="23510" y="1"/>
                      </a:ln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26" name="Google Shape;1326;p17"/>
                <p:cNvSpPr/>
                <p:nvPr/>
              </p:nvSpPr>
              <p:spPr>
                <a:xfrm>
                  <a:off x="12319643" y="5758362"/>
                  <a:ext cx="461175" cy="646375"/>
                </a:xfrm>
                <a:custGeom>
                  <a:avLst/>
                  <a:gdLst/>
                  <a:ahLst/>
                  <a:cxnLst/>
                  <a:rect l="l" t="t" r="r" b="b"/>
                  <a:pathLst>
                    <a:path w="18447" h="25855" extrusionOk="0">
                      <a:moveTo>
                        <a:pt x="9545" y="1"/>
                      </a:moveTo>
                      <a:lnTo>
                        <a:pt x="105" y="17670"/>
                      </a:lnTo>
                      <a:cubicBezTo>
                        <a:pt x="105" y="17670"/>
                        <a:pt x="1" y="19208"/>
                        <a:pt x="1688" y="21434"/>
                      </a:cubicBezTo>
                      <a:lnTo>
                        <a:pt x="1957" y="21015"/>
                      </a:lnTo>
                      <a:cubicBezTo>
                        <a:pt x="1957" y="21015"/>
                        <a:pt x="3705" y="23017"/>
                        <a:pt x="5079" y="23554"/>
                      </a:cubicBezTo>
                      <a:lnTo>
                        <a:pt x="5124" y="23106"/>
                      </a:lnTo>
                      <a:cubicBezTo>
                        <a:pt x="5124" y="23106"/>
                        <a:pt x="7872" y="24017"/>
                        <a:pt x="8917" y="24585"/>
                      </a:cubicBezTo>
                      <a:lnTo>
                        <a:pt x="8902" y="24107"/>
                      </a:lnTo>
                      <a:lnTo>
                        <a:pt x="8902" y="24107"/>
                      </a:lnTo>
                      <a:cubicBezTo>
                        <a:pt x="8903" y="24107"/>
                        <a:pt x="11023" y="25153"/>
                        <a:pt x="13219" y="25855"/>
                      </a:cubicBezTo>
                      <a:cubicBezTo>
                        <a:pt x="13219" y="25855"/>
                        <a:pt x="12173" y="22897"/>
                        <a:pt x="11501" y="21792"/>
                      </a:cubicBezTo>
                      <a:lnTo>
                        <a:pt x="11501" y="21792"/>
                      </a:lnTo>
                      <a:lnTo>
                        <a:pt x="11994" y="21852"/>
                      </a:lnTo>
                      <a:cubicBezTo>
                        <a:pt x="11994" y="21852"/>
                        <a:pt x="11441" y="20717"/>
                        <a:pt x="10351" y="19522"/>
                      </a:cubicBezTo>
                      <a:lnTo>
                        <a:pt x="10814" y="19313"/>
                      </a:lnTo>
                      <a:cubicBezTo>
                        <a:pt x="10814" y="19313"/>
                        <a:pt x="9410" y="17461"/>
                        <a:pt x="8260" y="16983"/>
                      </a:cubicBezTo>
                      <a:lnTo>
                        <a:pt x="8260" y="16983"/>
                      </a:lnTo>
                      <a:cubicBezTo>
                        <a:pt x="8261" y="16983"/>
                        <a:pt x="9641" y="17407"/>
                        <a:pt x="10902" y="17407"/>
                      </a:cubicBezTo>
                      <a:cubicBezTo>
                        <a:pt x="11060" y="17407"/>
                        <a:pt x="11216" y="17401"/>
                        <a:pt x="11367" y="17386"/>
                      </a:cubicBezTo>
                      <a:lnTo>
                        <a:pt x="10964" y="16803"/>
                      </a:lnTo>
                      <a:cubicBezTo>
                        <a:pt x="10964" y="16803"/>
                        <a:pt x="12726" y="16669"/>
                        <a:pt x="13607" y="16296"/>
                      </a:cubicBezTo>
                      <a:lnTo>
                        <a:pt x="13249" y="15892"/>
                      </a:lnTo>
                      <a:cubicBezTo>
                        <a:pt x="13249" y="15892"/>
                        <a:pt x="14966" y="15250"/>
                        <a:pt x="15922" y="15071"/>
                      </a:cubicBezTo>
                      <a:lnTo>
                        <a:pt x="15668" y="14683"/>
                      </a:lnTo>
                      <a:cubicBezTo>
                        <a:pt x="15668" y="14683"/>
                        <a:pt x="17655" y="13532"/>
                        <a:pt x="18446" y="13428"/>
                      </a:cubicBezTo>
                      <a:cubicBezTo>
                        <a:pt x="18446" y="13428"/>
                        <a:pt x="15758" y="12457"/>
                        <a:pt x="14683" y="12218"/>
                      </a:cubicBezTo>
                      <a:lnTo>
                        <a:pt x="15116" y="11875"/>
                      </a:lnTo>
                      <a:cubicBezTo>
                        <a:pt x="15116" y="11875"/>
                        <a:pt x="13335" y="11587"/>
                        <a:pt x="12471" y="11587"/>
                      </a:cubicBezTo>
                      <a:cubicBezTo>
                        <a:pt x="12412" y="11587"/>
                        <a:pt x="12357" y="11588"/>
                        <a:pt x="12308" y="11591"/>
                      </a:cubicBezTo>
                      <a:lnTo>
                        <a:pt x="12577" y="11202"/>
                      </a:lnTo>
                      <a:cubicBezTo>
                        <a:pt x="12577" y="11202"/>
                        <a:pt x="11336" y="10900"/>
                        <a:pt x="10272" y="10900"/>
                      </a:cubicBezTo>
                      <a:cubicBezTo>
                        <a:pt x="10041" y="10900"/>
                        <a:pt x="9819" y="10914"/>
                        <a:pt x="9619" y="10949"/>
                      </a:cubicBezTo>
                      <a:lnTo>
                        <a:pt x="9978" y="10471"/>
                      </a:lnTo>
                      <a:lnTo>
                        <a:pt x="9978" y="10471"/>
                      </a:lnTo>
                      <a:cubicBezTo>
                        <a:pt x="9977" y="10471"/>
                        <a:pt x="8024" y="10650"/>
                        <a:pt x="6948" y="11410"/>
                      </a:cubicBezTo>
                      <a:lnTo>
                        <a:pt x="6948" y="11410"/>
                      </a:lnTo>
                      <a:cubicBezTo>
                        <a:pt x="7006" y="11369"/>
                        <a:pt x="8007" y="10646"/>
                        <a:pt x="8529" y="9515"/>
                      </a:cubicBezTo>
                      <a:lnTo>
                        <a:pt x="7887" y="9470"/>
                      </a:lnTo>
                      <a:cubicBezTo>
                        <a:pt x="7887" y="9470"/>
                        <a:pt x="8813" y="7603"/>
                        <a:pt x="8873" y="6811"/>
                      </a:cubicBezTo>
                      <a:lnTo>
                        <a:pt x="8873" y="6811"/>
                      </a:lnTo>
                      <a:lnTo>
                        <a:pt x="8320" y="6826"/>
                      </a:lnTo>
                      <a:cubicBezTo>
                        <a:pt x="8320" y="6826"/>
                        <a:pt x="8678" y="4944"/>
                        <a:pt x="9052" y="3974"/>
                      </a:cubicBezTo>
                      <a:lnTo>
                        <a:pt x="9052" y="3974"/>
                      </a:lnTo>
                      <a:lnTo>
                        <a:pt x="8529" y="4033"/>
                      </a:lnTo>
                      <a:cubicBezTo>
                        <a:pt x="8529" y="4033"/>
                        <a:pt x="9276" y="658"/>
                        <a:pt x="9545"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27" name="Google Shape;1327;p17"/>
              <p:cNvGrpSpPr/>
              <p:nvPr/>
            </p:nvGrpSpPr>
            <p:grpSpPr>
              <a:xfrm>
                <a:off x="12117950" y="5719225"/>
                <a:ext cx="604550" cy="543325"/>
                <a:chOff x="12117950" y="5719225"/>
                <a:chExt cx="604550" cy="543325"/>
              </a:xfrm>
            </p:grpSpPr>
            <p:sp>
              <p:nvSpPr>
                <p:cNvPr id="1328" name="Google Shape;1328;p17"/>
                <p:cNvSpPr/>
                <p:nvPr/>
              </p:nvSpPr>
              <p:spPr>
                <a:xfrm>
                  <a:off x="12263575" y="5772250"/>
                  <a:ext cx="258025" cy="490300"/>
                </a:xfrm>
                <a:custGeom>
                  <a:avLst/>
                  <a:gdLst/>
                  <a:ahLst/>
                  <a:cxnLst/>
                  <a:rect l="l" t="t" r="r" b="b"/>
                  <a:pathLst>
                    <a:path w="10321" h="19612" extrusionOk="0">
                      <a:moveTo>
                        <a:pt x="10276" y="1"/>
                      </a:moveTo>
                      <a:cubicBezTo>
                        <a:pt x="9410" y="1599"/>
                        <a:pt x="8558" y="3212"/>
                        <a:pt x="7677" y="4795"/>
                      </a:cubicBezTo>
                      <a:cubicBezTo>
                        <a:pt x="6453" y="7006"/>
                        <a:pt x="4287" y="10993"/>
                        <a:pt x="3062" y="13174"/>
                      </a:cubicBezTo>
                      <a:cubicBezTo>
                        <a:pt x="2091" y="14981"/>
                        <a:pt x="1016" y="16803"/>
                        <a:pt x="239" y="18715"/>
                      </a:cubicBezTo>
                      <a:cubicBezTo>
                        <a:pt x="150" y="18924"/>
                        <a:pt x="75" y="19178"/>
                        <a:pt x="0" y="19417"/>
                      </a:cubicBezTo>
                      <a:lnTo>
                        <a:pt x="1135" y="19611"/>
                      </a:lnTo>
                      <a:cubicBezTo>
                        <a:pt x="1195" y="18790"/>
                        <a:pt x="1494" y="17894"/>
                        <a:pt x="1778" y="17087"/>
                      </a:cubicBezTo>
                      <a:cubicBezTo>
                        <a:pt x="2644" y="14608"/>
                        <a:pt x="4063" y="12054"/>
                        <a:pt x="5258" y="9709"/>
                      </a:cubicBezTo>
                      <a:cubicBezTo>
                        <a:pt x="6736" y="6886"/>
                        <a:pt x="8827" y="2809"/>
                        <a:pt x="10321" y="30"/>
                      </a:cubicBezTo>
                      <a:cubicBezTo>
                        <a:pt x="10321" y="30"/>
                        <a:pt x="10276" y="16"/>
                        <a:pt x="10276"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9" name="Google Shape;1329;p17"/>
                <p:cNvSpPr/>
                <p:nvPr/>
              </p:nvSpPr>
              <p:spPr>
                <a:xfrm>
                  <a:off x="12383800" y="6029900"/>
                  <a:ext cx="217725" cy="173650"/>
                </a:xfrm>
                <a:custGeom>
                  <a:avLst/>
                  <a:gdLst/>
                  <a:ahLst/>
                  <a:cxnLst/>
                  <a:rect l="l" t="t" r="r" b="b"/>
                  <a:pathLst>
                    <a:path w="8709" h="6946" fill="none" extrusionOk="0">
                      <a:moveTo>
                        <a:pt x="1" y="0"/>
                      </a:moveTo>
                      <a:cubicBezTo>
                        <a:pt x="1" y="0"/>
                        <a:pt x="5497" y="2928"/>
                        <a:pt x="8708" y="6946"/>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0" name="Google Shape;1330;p17"/>
                <p:cNvSpPr/>
                <p:nvPr/>
              </p:nvSpPr>
              <p:spPr>
                <a:xfrm>
                  <a:off x="12538025" y="6137800"/>
                  <a:ext cx="6000" cy="39975"/>
                </a:xfrm>
                <a:custGeom>
                  <a:avLst/>
                  <a:gdLst/>
                  <a:ahLst/>
                  <a:cxnLst/>
                  <a:rect l="l" t="t" r="r" b="b"/>
                  <a:pathLst>
                    <a:path w="240" h="1599" fill="none" extrusionOk="0">
                      <a:moveTo>
                        <a:pt x="0" y="1"/>
                      </a:moveTo>
                      <a:lnTo>
                        <a:pt x="239" y="1599"/>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1" name="Google Shape;1331;p17"/>
                <p:cNvSpPr/>
                <p:nvPr/>
              </p:nvSpPr>
              <p:spPr>
                <a:xfrm>
                  <a:off x="12472300" y="6085525"/>
                  <a:ext cx="66100" cy="5625"/>
                </a:xfrm>
                <a:custGeom>
                  <a:avLst/>
                  <a:gdLst/>
                  <a:ahLst/>
                  <a:cxnLst/>
                  <a:rect l="l" t="t" r="r" b="b"/>
                  <a:pathLst>
                    <a:path w="2644" h="225" fill="none" extrusionOk="0">
                      <a:moveTo>
                        <a:pt x="0" y="1"/>
                      </a:moveTo>
                      <a:lnTo>
                        <a:pt x="2644" y="22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2" name="Google Shape;1332;p17"/>
                <p:cNvSpPr/>
                <p:nvPr/>
              </p:nvSpPr>
              <p:spPr>
                <a:xfrm>
                  <a:off x="12400600" y="5975375"/>
                  <a:ext cx="321900" cy="22800"/>
                </a:xfrm>
                <a:custGeom>
                  <a:avLst/>
                  <a:gdLst/>
                  <a:ahLst/>
                  <a:cxnLst/>
                  <a:rect l="l" t="t" r="r" b="b"/>
                  <a:pathLst>
                    <a:path w="12876" h="912" fill="none" extrusionOk="0">
                      <a:moveTo>
                        <a:pt x="1" y="912"/>
                      </a:moveTo>
                      <a:cubicBezTo>
                        <a:pt x="1" y="912"/>
                        <a:pt x="7484" y="1"/>
                        <a:pt x="12875" y="105"/>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3" name="Google Shape;1333;p17"/>
                <p:cNvSpPr/>
                <p:nvPr/>
              </p:nvSpPr>
              <p:spPr>
                <a:xfrm>
                  <a:off x="12617175" y="5979500"/>
                  <a:ext cx="67975" cy="23525"/>
                </a:xfrm>
                <a:custGeom>
                  <a:avLst/>
                  <a:gdLst/>
                  <a:ahLst/>
                  <a:cxnLst/>
                  <a:rect l="l" t="t" r="r" b="b"/>
                  <a:pathLst>
                    <a:path w="2719" h="941" fill="none" extrusionOk="0">
                      <a:moveTo>
                        <a:pt x="0" y="0"/>
                      </a:moveTo>
                      <a:lnTo>
                        <a:pt x="2719" y="94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4" name="Google Shape;1334;p17"/>
                <p:cNvSpPr/>
                <p:nvPr/>
              </p:nvSpPr>
              <p:spPr>
                <a:xfrm>
                  <a:off x="12525700" y="5955600"/>
                  <a:ext cx="22800" cy="30250"/>
                </a:xfrm>
                <a:custGeom>
                  <a:avLst/>
                  <a:gdLst/>
                  <a:ahLst/>
                  <a:cxnLst/>
                  <a:rect l="l" t="t" r="r" b="b"/>
                  <a:pathLst>
                    <a:path w="912" h="1210" fill="none" extrusionOk="0">
                      <a:moveTo>
                        <a:pt x="0" y="1210"/>
                      </a:moveTo>
                      <a:lnTo>
                        <a:pt x="911" y="0"/>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5" name="Google Shape;1335;p17"/>
                <p:cNvSpPr/>
                <p:nvPr/>
              </p:nvSpPr>
              <p:spPr>
                <a:xfrm>
                  <a:off x="12117950" y="5945500"/>
                  <a:ext cx="265875" cy="84425"/>
                </a:xfrm>
                <a:custGeom>
                  <a:avLst/>
                  <a:gdLst/>
                  <a:ahLst/>
                  <a:cxnLst/>
                  <a:rect l="l" t="t" r="r" b="b"/>
                  <a:pathLst>
                    <a:path w="10635" h="3377" fill="none" extrusionOk="0">
                      <a:moveTo>
                        <a:pt x="10635" y="3376"/>
                      </a:moveTo>
                      <a:cubicBezTo>
                        <a:pt x="10635" y="3376"/>
                        <a:pt x="5138" y="434"/>
                        <a:pt x="0"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6" name="Google Shape;1336;p17"/>
                <p:cNvSpPr/>
                <p:nvPr/>
              </p:nvSpPr>
              <p:spPr>
                <a:xfrm>
                  <a:off x="12171350" y="5961575"/>
                  <a:ext cx="36975" cy="17575"/>
                </a:xfrm>
                <a:custGeom>
                  <a:avLst/>
                  <a:gdLst/>
                  <a:ahLst/>
                  <a:cxnLst/>
                  <a:rect l="l" t="t" r="r" b="b"/>
                  <a:pathLst>
                    <a:path w="1479" h="703" fill="none" extrusionOk="0">
                      <a:moveTo>
                        <a:pt x="1479" y="0"/>
                      </a:moveTo>
                      <a:lnTo>
                        <a:pt x="0" y="702"/>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7" name="Google Shape;1337;p17"/>
                <p:cNvSpPr/>
                <p:nvPr/>
              </p:nvSpPr>
              <p:spPr>
                <a:xfrm>
                  <a:off x="12246775" y="5935050"/>
                  <a:ext cx="41475" cy="52300"/>
                </a:xfrm>
                <a:custGeom>
                  <a:avLst/>
                  <a:gdLst/>
                  <a:ahLst/>
                  <a:cxnLst/>
                  <a:rect l="l" t="t" r="r" b="b"/>
                  <a:pathLst>
                    <a:path w="1659" h="2092" fill="none" extrusionOk="0">
                      <a:moveTo>
                        <a:pt x="1658" y="2092"/>
                      </a:moveTo>
                      <a:lnTo>
                        <a:pt x="0"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8" name="Google Shape;1338;p17"/>
                <p:cNvSpPr/>
                <p:nvPr/>
              </p:nvSpPr>
              <p:spPr>
                <a:xfrm>
                  <a:off x="12238550" y="5719225"/>
                  <a:ext cx="162075" cy="278950"/>
                </a:xfrm>
                <a:custGeom>
                  <a:avLst/>
                  <a:gdLst/>
                  <a:ahLst/>
                  <a:cxnLst/>
                  <a:rect l="l" t="t" r="r" b="b"/>
                  <a:pathLst>
                    <a:path w="6483" h="11158" fill="none" extrusionOk="0">
                      <a:moveTo>
                        <a:pt x="6483" y="11158"/>
                      </a:moveTo>
                      <a:cubicBezTo>
                        <a:pt x="6483" y="11158"/>
                        <a:pt x="3077" y="4452"/>
                        <a:pt x="1" y="1"/>
                      </a:cubicBez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9" name="Google Shape;1339;p17"/>
                <p:cNvSpPr/>
                <p:nvPr/>
              </p:nvSpPr>
              <p:spPr>
                <a:xfrm>
                  <a:off x="12238550" y="5764400"/>
                  <a:ext cx="57150" cy="43725"/>
                </a:xfrm>
                <a:custGeom>
                  <a:avLst/>
                  <a:gdLst/>
                  <a:ahLst/>
                  <a:cxnLst/>
                  <a:rect l="l" t="t" r="r" b="b"/>
                  <a:pathLst>
                    <a:path w="2286" h="1749" fill="none" extrusionOk="0">
                      <a:moveTo>
                        <a:pt x="2286" y="1748"/>
                      </a:moveTo>
                      <a:lnTo>
                        <a:pt x="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0" name="Google Shape;1340;p17"/>
                <p:cNvSpPr/>
                <p:nvPr/>
              </p:nvSpPr>
              <p:spPr>
                <a:xfrm>
                  <a:off x="12341225" y="5851775"/>
                  <a:ext cx="12725" cy="35500"/>
                </a:xfrm>
                <a:custGeom>
                  <a:avLst/>
                  <a:gdLst/>
                  <a:ahLst/>
                  <a:cxnLst/>
                  <a:rect l="l" t="t" r="r" b="b"/>
                  <a:pathLst>
                    <a:path w="509" h="1420" fill="none" extrusionOk="0">
                      <a:moveTo>
                        <a:pt x="1" y="1420"/>
                      </a:moveTo>
                      <a:lnTo>
                        <a:pt x="509"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1" name="Google Shape;1341;p17"/>
                <p:cNvSpPr/>
                <p:nvPr/>
              </p:nvSpPr>
              <p:spPr>
                <a:xfrm>
                  <a:off x="12474525" y="5840200"/>
                  <a:ext cx="56800" cy="19825"/>
                </a:xfrm>
                <a:custGeom>
                  <a:avLst/>
                  <a:gdLst/>
                  <a:ahLst/>
                  <a:cxnLst/>
                  <a:rect l="l" t="t" r="r" b="b"/>
                  <a:pathLst>
                    <a:path w="2272" h="793" fill="none" extrusionOk="0">
                      <a:moveTo>
                        <a:pt x="1" y="793"/>
                      </a:moveTo>
                      <a:lnTo>
                        <a:pt x="2271" y="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2" name="Google Shape;1342;p17"/>
                <p:cNvSpPr/>
                <p:nvPr/>
              </p:nvSpPr>
              <p:spPr>
                <a:xfrm>
                  <a:off x="12483875" y="5783075"/>
                  <a:ext cx="12725" cy="35125"/>
                </a:xfrm>
                <a:custGeom>
                  <a:avLst/>
                  <a:gdLst/>
                  <a:ahLst/>
                  <a:cxnLst/>
                  <a:rect l="l" t="t" r="r" b="b"/>
                  <a:pathLst>
                    <a:path w="509" h="1405" fill="none" extrusionOk="0">
                      <a:moveTo>
                        <a:pt x="0" y="1"/>
                      </a:moveTo>
                      <a:lnTo>
                        <a:pt x="508" y="1405"/>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343" name="Google Shape;1343;p17"/>
            <p:cNvSpPr/>
            <p:nvPr/>
          </p:nvSpPr>
          <p:spPr>
            <a:xfrm rot="10800000">
              <a:off x="4291300" y="265164"/>
              <a:ext cx="179313" cy="389284"/>
            </a:xfrm>
            <a:custGeom>
              <a:avLst/>
              <a:gdLst/>
              <a:ahLst/>
              <a:cxnLst/>
              <a:rect l="l" t="t" r="r" b="b"/>
              <a:pathLst>
                <a:path w="4720" h="10247" fill="none" extrusionOk="0">
                  <a:moveTo>
                    <a:pt x="0" y="10247"/>
                  </a:moveTo>
                  <a:cubicBezTo>
                    <a:pt x="0" y="10247"/>
                    <a:pt x="3928" y="6020"/>
                    <a:pt x="4720" y="5647"/>
                  </a:cubicBezTo>
                  <a:moveTo>
                    <a:pt x="2763" y="2615"/>
                  </a:moveTo>
                  <a:cubicBezTo>
                    <a:pt x="2763" y="2615"/>
                    <a:pt x="3689" y="1390"/>
                    <a:pt x="4436" y="1226"/>
                  </a:cubicBezTo>
                  <a:moveTo>
                    <a:pt x="1359" y="8813"/>
                  </a:moveTo>
                  <a:cubicBezTo>
                    <a:pt x="1359" y="8813"/>
                    <a:pt x="3361" y="3735"/>
                    <a:pt x="2629" y="1"/>
                  </a:cubicBezTo>
                </a:path>
              </a:pathLst>
            </a:custGeom>
            <a:noFill/>
            <a:ln w="19050"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344" name="Google Shape;1344;p17"/>
            <p:cNvGrpSpPr/>
            <p:nvPr/>
          </p:nvGrpSpPr>
          <p:grpSpPr>
            <a:xfrm rot="-10799902" flipH="1">
              <a:off x="3611880" y="95958"/>
              <a:ext cx="592671" cy="513921"/>
              <a:chOff x="6855700" y="5304375"/>
              <a:chExt cx="168425" cy="146050"/>
            </a:xfrm>
          </p:grpSpPr>
          <p:sp>
            <p:nvSpPr>
              <p:cNvPr id="1345" name="Google Shape;1345;p17"/>
              <p:cNvSpPr/>
              <p:nvPr/>
            </p:nvSpPr>
            <p:spPr>
              <a:xfrm>
                <a:off x="6933725" y="5304375"/>
                <a:ext cx="90400" cy="127375"/>
              </a:xfrm>
              <a:custGeom>
                <a:avLst/>
                <a:gdLst/>
                <a:ahLst/>
                <a:cxnLst/>
                <a:rect l="l" t="t" r="r" b="b"/>
                <a:pathLst>
                  <a:path w="3616" h="5095" extrusionOk="0">
                    <a:moveTo>
                      <a:pt x="703" y="1539"/>
                    </a:moveTo>
                    <a:cubicBezTo>
                      <a:pt x="762" y="1539"/>
                      <a:pt x="852" y="1599"/>
                      <a:pt x="852" y="1689"/>
                    </a:cubicBezTo>
                    <a:lnTo>
                      <a:pt x="852" y="1883"/>
                    </a:lnTo>
                    <a:cubicBezTo>
                      <a:pt x="852" y="1980"/>
                      <a:pt x="777" y="2029"/>
                      <a:pt x="703" y="2029"/>
                    </a:cubicBezTo>
                    <a:cubicBezTo>
                      <a:pt x="628" y="2029"/>
                      <a:pt x="553" y="1980"/>
                      <a:pt x="553" y="1883"/>
                    </a:cubicBezTo>
                    <a:lnTo>
                      <a:pt x="553" y="1689"/>
                    </a:lnTo>
                    <a:cubicBezTo>
                      <a:pt x="568" y="1599"/>
                      <a:pt x="613" y="1539"/>
                      <a:pt x="703" y="1539"/>
                    </a:cubicBezTo>
                    <a:close/>
                    <a:moveTo>
                      <a:pt x="2071" y="2155"/>
                    </a:moveTo>
                    <a:cubicBezTo>
                      <a:pt x="2144" y="2155"/>
                      <a:pt x="2219" y="2204"/>
                      <a:pt x="2226" y="2301"/>
                    </a:cubicBezTo>
                    <a:cubicBezTo>
                      <a:pt x="2226" y="2376"/>
                      <a:pt x="2226" y="2436"/>
                      <a:pt x="2241" y="2495"/>
                    </a:cubicBezTo>
                    <a:cubicBezTo>
                      <a:pt x="2241" y="2570"/>
                      <a:pt x="2151" y="2645"/>
                      <a:pt x="2092" y="2645"/>
                    </a:cubicBezTo>
                    <a:cubicBezTo>
                      <a:pt x="2002" y="2645"/>
                      <a:pt x="1942" y="2570"/>
                      <a:pt x="1927" y="2495"/>
                    </a:cubicBezTo>
                    <a:cubicBezTo>
                      <a:pt x="1927" y="2421"/>
                      <a:pt x="1927" y="2376"/>
                      <a:pt x="1927" y="2301"/>
                    </a:cubicBezTo>
                    <a:cubicBezTo>
                      <a:pt x="1927" y="2204"/>
                      <a:pt x="1998" y="2155"/>
                      <a:pt x="2071" y="2155"/>
                    </a:cubicBezTo>
                    <a:close/>
                    <a:moveTo>
                      <a:pt x="538" y="1"/>
                    </a:moveTo>
                    <a:lnTo>
                      <a:pt x="538" y="1"/>
                    </a:lnTo>
                    <a:cubicBezTo>
                      <a:pt x="538" y="1"/>
                      <a:pt x="1" y="1988"/>
                      <a:pt x="807" y="3526"/>
                    </a:cubicBezTo>
                    <a:cubicBezTo>
                      <a:pt x="852" y="3496"/>
                      <a:pt x="912" y="3466"/>
                      <a:pt x="986" y="3466"/>
                    </a:cubicBezTo>
                    <a:cubicBezTo>
                      <a:pt x="1315" y="3466"/>
                      <a:pt x="1375" y="3899"/>
                      <a:pt x="1151" y="4049"/>
                    </a:cubicBezTo>
                    <a:cubicBezTo>
                      <a:pt x="1524" y="4497"/>
                      <a:pt x="2077" y="4885"/>
                      <a:pt x="2853" y="5094"/>
                    </a:cubicBezTo>
                    <a:cubicBezTo>
                      <a:pt x="2853" y="5079"/>
                      <a:pt x="3615" y="3123"/>
                      <a:pt x="2271" y="1375"/>
                    </a:cubicBezTo>
                    <a:cubicBezTo>
                      <a:pt x="2226" y="1420"/>
                      <a:pt x="2151" y="1465"/>
                      <a:pt x="2077" y="1465"/>
                    </a:cubicBezTo>
                    <a:cubicBezTo>
                      <a:pt x="1748" y="1465"/>
                      <a:pt x="1703" y="1091"/>
                      <a:pt x="1868" y="927"/>
                    </a:cubicBezTo>
                    <a:cubicBezTo>
                      <a:pt x="1524" y="598"/>
                      <a:pt x="1076" y="270"/>
                      <a:pt x="538"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6" name="Google Shape;1346;p17"/>
              <p:cNvSpPr/>
              <p:nvPr/>
            </p:nvSpPr>
            <p:spPr>
              <a:xfrm>
                <a:off x="6855700" y="5397900"/>
                <a:ext cx="118375" cy="52525"/>
              </a:xfrm>
              <a:custGeom>
                <a:avLst/>
                <a:gdLst/>
                <a:ahLst/>
                <a:cxnLst/>
                <a:rect l="l" t="t" r="r" b="b"/>
                <a:pathLst>
                  <a:path w="4735" h="2101" extrusionOk="0">
                    <a:moveTo>
                      <a:pt x="2267" y="212"/>
                    </a:moveTo>
                    <a:cubicBezTo>
                      <a:pt x="2317" y="212"/>
                      <a:pt x="2364" y="242"/>
                      <a:pt x="2405" y="293"/>
                    </a:cubicBezTo>
                    <a:cubicBezTo>
                      <a:pt x="2435" y="323"/>
                      <a:pt x="2494" y="367"/>
                      <a:pt x="2524" y="412"/>
                    </a:cubicBezTo>
                    <a:cubicBezTo>
                      <a:pt x="2628" y="528"/>
                      <a:pt x="2526" y="679"/>
                      <a:pt x="2413" y="679"/>
                    </a:cubicBezTo>
                    <a:cubicBezTo>
                      <a:pt x="2380" y="679"/>
                      <a:pt x="2346" y="667"/>
                      <a:pt x="2315" y="636"/>
                    </a:cubicBezTo>
                    <a:cubicBezTo>
                      <a:pt x="2255" y="576"/>
                      <a:pt x="2181" y="502"/>
                      <a:pt x="2151" y="442"/>
                    </a:cubicBezTo>
                    <a:cubicBezTo>
                      <a:pt x="2106" y="367"/>
                      <a:pt x="2136" y="278"/>
                      <a:pt x="2196" y="233"/>
                    </a:cubicBezTo>
                    <a:cubicBezTo>
                      <a:pt x="2220" y="219"/>
                      <a:pt x="2244" y="212"/>
                      <a:pt x="2267" y="212"/>
                    </a:cubicBezTo>
                    <a:close/>
                    <a:moveTo>
                      <a:pt x="2069" y="1"/>
                    </a:moveTo>
                    <a:cubicBezTo>
                      <a:pt x="1464" y="1"/>
                      <a:pt x="769" y="175"/>
                      <a:pt x="0" y="651"/>
                    </a:cubicBezTo>
                    <a:cubicBezTo>
                      <a:pt x="0" y="651"/>
                      <a:pt x="1061" y="1712"/>
                      <a:pt x="2345" y="2010"/>
                    </a:cubicBezTo>
                    <a:cubicBezTo>
                      <a:pt x="2360" y="1876"/>
                      <a:pt x="2465" y="1771"/>
                      <a:pt x="2629" y="1771"/>
                    </a:cubicBezTo>
                    <a:cubicBezTo>
                      <a:pt x="2838" y="1771"/>
                      <a:pt x="2928" y="1936"/>
                      <a:pt x="2928" y="2100"/>
                    </a:cubicBezTo>
                    <a:cubicBezTo>
                      <a:pt x="2949" y="2100"/>
                      <a:pt x="2970" y="2101"/>
                      <a:pt x="2991" y="2101"/>
                    </a:cubicBezTo>
                    <a:cubicBezTo>
                      <a:pt x="3570" y="2101"/>
                      <a:pt x="4187" y="1900"/>
                      <a:pt x="4735" y="1338"/>
                    </a:cubicBezTo>
                    <a:cubicBezTo>
                      <a:pt x="4735" y="1338"/>
                      <a:pt x="3744" y="1"/>
                      <a:pt x="2069" y="1"/>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7" name="Google Shape;1347;p17"/>
              <p:cNvSpPr/>
              <p:nvPr/>
            </p:nvSpPr>
            <p:spPr>
              <a:xfrm>
                <a:off x="6881450" y="5340975"/>
                <a:ext cx="135575" cy="109050"/>
              </a:xfrm>
              <a:custGeom>
                <a:avLst/>
                <a:gdLst/>
                <a:ahLst/>
                <a:cxnLst/>
                <a:rect l="l" t="t" r="r" b="b"/>
                <a:pathLst>
                  <a:path w="5423" h="4362" fill="none" extrusionOk="0">
                    <a:moveTo>
                      <a:pt x="1" y="3033"/>
                    </a:moveTo>
                    <a:cubicBezTo>
                      <a:pt x="1" y="3033"/>
                      <a:pt x="4840" y="3854"/>
                      <a:pt x="5169" y="3839"/>
                    </a:cubicBezTo>
                    <a:moveTo>
                      <a:pt x="5422" y="4362"/>
                    </a:moveTo>
                    <a:cubicBezTo>
                      <a:pt x="5422" y="4362"/>
                      <a:pt x="3570" y="1196"/>
                      <a:pt x="3197" y="1"/>
                    </a:cubicBezTo>
                    <a:moveTo>
                      <a:pt x="2883" y="942"/>
                    </a:moveTo>
                    <a:lnTo>
                      <a:pt x="3779" y="1315"/>
                    </a:lnTo>
                    <a:moveTo>
                      <a:pt x="4556" y="1166"/>
                    </a:moveTo>
                    <a:lnTo>
                      <a:pt x="4467" y="2644"/>
                    </a:lnTo>
                    <a:moveTo>
                      <a:pt x="1106" y="3212"/>
                    </a:moveTo>
                    <a:lnTo>
                      <a:pt x="494" y="3436"/>
                    </a:lnTo>
                    <a:moveTo>
                      <a:pt x="1898" y="2988"/>
                    </a:moveTo>
                    <a:lnTo>
                      <a:pt x="2211" y="3033"/>
                    </a:lnTo>
                    <a:moveTo>
                      <a:pt x="2092" y="2809"/>
                    </a:moveTo>
                    <a:lnTo>
                      <a:pt x="2465" y="3451"/>
                    </a:lnTo>
                  </a:path>
                </a:pathLst>
              </a:custGeom>
              <a:noFill/>
              <a:ln w="9525" cap="flat" cmpd="sng">
                <a:solidFill>
                  <a:schemeClr val="dk1"/>
                </a:solidFill>
                <a:prstDash val="solid"/>
                <a:miter lim="14935"/>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48" name="Google Shape;1348;p17"/>
            <p:cNvGrpSpPr/>
            <p:nvPr/>
          </p:nvGrpSpPr>
          <p:grpSpPr>
            <a:xfrm rot="-5400000">
              <a:off x="8175986" y="3844324"/>
              <a:ext cx="182900" cy="333022"/>
              <a:chOff x="3426361" y="367748"/>
              <a:chExt cx="182900" cy="333022"/>
            </a:xfrm>
          </p:grpSpPr>
          <p:sp>
            <p:nvSpPr>
              <p:cNvPr id="1349" name="Google Shape;1349;p17"/>
              <p:cNvSpPr/>
              <p:nvPr/>
            </p:nvSpPr>
            <p:spPr>
              <a:xfrm>
                <a:off x="3426361" y="58526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0" name="Google Shape;1350;p17"/>
              <p:cNvSpPr/>
              <p:nvPr/>
            </p:nvSpPr>
            <p:spPr>
              <a:xfrm rot="5400000">
                <a:off x="3460069" y="401436"/>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1" name="Google Shape;1351;p17"/>
            <p:cNvSpPr/>
            <p:nvPr/>
          </p:nvSpPr>
          <p:spPr>
            <a:xfrm rot="8100000">
              <a:off x="4571424" y="590249"/>
              <a:ext cx="182879" cy="115504"/>
            </a:xfrm>
            <a:custGeom>
              <a:avLst/>
              <a:gdLst/>
              <a:ahLst/>
              <a:cxnLst/>
              <a:rect l="l" t="t" r="r" b="b"/>
              <a:pathLst>
                <a:path w="1508" h="968" extrusionOk="0">
                  <a:moveTo>
                    <a:pt x="1160" y="1"/>
                  </a:moveTo>
                  <a:cubicBezTo>
                    <a:pt x="359" y="1"/>
                    <a:pt x="0" y="953"/>
                    <a:pt x="14" y="953"/>
                  </a:cubicBezTo>
                  <a:cubicBezTo>
                    <a:pt x="102" y="963"/>
                    <a:pt x="186" y="968"/>
                    <a:pt x="264" y="968"/>
                  </a:cubicBezTo>
                  <a:cubicBezTo>
                    <a:pt x="1364" y="968"/>
                    <a:pt x="1507" y="57"/>
                    <a:pt x="1507" y="57"/>
                  </a:cubicBezTo>
                  <a:cubicBezTo>
                    <a:pt x="1384" y="18"/>
                    <a:pt x="1268" y="1"/>
                    <a:pt x="1160"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52" name="Google Shape;1352;p17"/>
          <p:cNvSpPr txBox="1">
            <a:spLocks noGrp="1"/>
          </p:cNvSpPr>
          <p:nvPr>
            <p:ph type="subTitle" idx="1"/>
          </p:nvPr>
        </p:nvSpPr>
        <p:spPr>
          <a:xfrm>
            <a:off x="667008" y="2355025"/>
            <a:ext cx="6664998" cy="461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sz="3600" b="1" u="sng" dirty="0" err="1">
                <a:solidFill>
                  <a:schemeClr val="bg1">
                    <a:lumMod val="25000"/>
                  </a:schemeClr>
                </a:solidFill>
                <a:latin typeface="Arial Rounded MT Bold" panose="020F0704030504030204" pitchFamily="34" charset="0"/>
              </a:rPr>
              <a:t>Bài</a:t>
            </a:r>
            <a:r>
              <a:rPr lang="en-US" sz="3600" b="1" u="sng" dirty="0">
                <a:solidFill>
                  <a:schemeClr val="bg1">
                    <a:lumMod val="25000"/>
                  </a:schemeClr>
                </a:solidFill>
                <a:latin typeface="Arial Rounded MT Bold" panose="020F0704030504030204" pitchFamily="34" charset="0"/>
              </a:rPr>
              <a:t> 13 </a:t>
            </a:r>
            <a:r>
              <a:rPr lang="en-US" sz="3600" b="1" dirty="0">
                <a:solidFill>
                  <a:schemeClr val="bg1">
                    <a:lumMod val="25000"/>
                  </a:schemeClr>
                </a:solidFill>
                <a:latin typeface="Arial Rounded MT Bold" panose="020F0704030504030204" pitchFamily="34" charset="0"/>
              </a:rPr>
              <a:t>: </a:t>
            </a:r>
            <a:r>
              <a:rPr lang="en-US" sz="3600" b="1" dirty="0" err="1">
                <a:solidFill>
                  <a:schemeClr val="bg1">
                    <a:lumMod val="25000"/>
                  </a:schemeClr>
                </a:solidFill>
                <a:latin typeface="Arial Rounded MT Bold" panose="020F0704030504030204" pitchFamily="34" charset="0"/>
              </a:rPr>
              <a:t>Cơ</a:t>
            </a:r>
            <a:r>
              <a:rPr lang="en-US" sz="3600" b="1" dirty="0">
                <a:solidFill>
                  <a:schemeClr val="bg1">
                    <a:lumMod val="25000"/>
                  </a:schemeClr>
                </a:solidFill>
                <a:latin typeface="Arial Rounded MT Bold" panose="020F0704030504030204" pitchFamily="34" charset="0"/>
              </a:rPr>
              <a:t> </a:t>
            </a:r>
            <a:r>
              <a:rPr lang="en-US" sz="3600" b="1" dirty="0" err="1">
                <a:solidFill>
                  <a:schemeClr val="bg1">
                    <a:lumMod val="25000"/>
                  </a:schemeClr>
                </a:solidFill>
                <a:latin typeface="Arial Rounded MT Bold" panose="020F0704030504030204" pitchFamily="34" charset="0"/>
              </a:rPr>
              <a:t>sở</a:t>
            </a:r>
            <a:r>
              <a:rPr lang="en-US" sz="3600" b="1" dirty="0">
                <a:solidFill>
                  <a:schemeClr val="bg1">
                    <a:lumMod val="25000"/>
                  </a:schemeClr>
                </a:solidFill>
                <a:latin typeface="Arial Rounded MT Bold" panose="020F0704030504030204" pitchFamily="34" charset="0"/>
              </a:rPr>
              <a:t> </a:t>
            </a:r>
            <a:r>
              <a:rPr lang="en-US" sz="3600" b="1" dirty="0" err="1">
                <a:solidFill>
                  <a:schemeClr val="bg1">
                    <a:lumMod val="25000"/>
                  </a:schemeClr>
                </a:solidFill>
                <a:latin typeface="Arial Rounded MT Bold" panose="020F0704030504030204" pitchFamily="34" charset="0"/>
              </a:rPr>
              <a:t>dữ</a:t>
            </a:r>
            <a:r>
              <a:rPr lang="en-US" sz="3600" b="1" dirty="0">
                <a:solidFill>
                  <a:schemeClr val="bg1">
                    <a:lumMod val="25000"/>
                  </a:schemeClr>
                </a:solidFill>
                <a:latin typeface="Arial Rounded MT Bold" panose="020F0704030504030204" pitchFamily="34" charset="0"/>
              </a:rPr>
              <a:t> </a:t>
            </a:r>
            <a:r>
              <a:rPr lang="en-US" sz="3600" b="1" dirty="0" err="1">
                <a:solidFill>
                  <a:schemeClr val="bg1">
                    <a:lumMod val="25000"/>
                  </a:schemeClr>
                </a:solidFill>
                <a:latin typeface="Arial Rounded MT Bold" panose="020F0704030504030204" pitchFamily="34" charset="0"/>
              </a:rPr>
              <a:t>liệu</a:t>
            </a:r>
            <a:r>
              <a:rPr lang="en-US" sz="3600" b="1" dirty="0">
                <a:solidFill>
                  <a:schemeClr val="bg1">
                    <a:lumMod val="25000"/>
                  </a:schemeClr>
                </a:solidFill>
                <a:latin typeface="Arial Rounded MT Bold" panose="020F0704030504030204" pitchFamily="34" charset="0"/>
              </a:rPr>
              <a:t> </a:t>
            </a:r>
            <a:r>
              <a:rPr lang="en-US" sz="3600" b="1" dirty="0" err="1">
                <a:solidFill>
                  <a:schemeClr val="bg1">
                    <a:lumMod val="25000"/>
                  </a:schemeClr>
                </a:solidFill>
                <a:latin typeface="Arial Rounded MT Bold" panose="020F0704030504030204" pitchFamily="34" charset="0"/>
              </a:rPr>
              <a:t>quan</a:t>
            </a:r>
            <a:r>
              <a:rPr lang="en-US" sz="3600" b="1" dirty="0">
                <a:solidFill>
                  <a:schemeClr val="bg1">
                    <a:lumMod val="25000"/>
                  </a:schemeClr>
                </a:solidFill>
                <a:latin typeface="Arial Rounded MT Bold" panose="020F0704030504030204" pitchFamily="34" charset="0"/>
              </a:rPr>
              <a:t> </a:t>
            </a:r>
            <a:r>
              <a:rPr lang="en-US" sz="3600" b="1" dirty="0" err="1">
                <a:solidFill>
                  <a:schemeClr val="bg1">
                    <a:lumMod val="25000"/>
                  </a:schemeClr>
                </a:solidFill>
                <a:latin typeface="Arial Rounded MT Bold" panose="020F0704030504030204" pitchFamily="34" charset="0"/>
              </a:rPr>
              <a:t>hệ</a:t>
            </a:r>
            <a:r>
              <a:rPr lang="en-US" sz="3600" b="1" dirty="0">
                <a:solidFill>
                  <a:schemeClr val="bg1">
                    <a:lumMod val="25000"/>
                  </a:schemeClr>
                </a:solidFill>
                <a:latin typeface="Arial Rounded MT Bold" panose="020F0704030504030204" pitchFamily="34" charset="0"/>
              </a:rPr>
              <a:t> </a:t>
            </a:r>
            <a:endParaRPr sz="3600" b="1" dirty="0">
              <a:solidFill>
                <a:schemeClr val="bg1">
                  <a:lumMod val="25000"/>
                </a:schemeClr>
              </a:solidFill>
              <a:latin typeface="Arial Rounded MT Bold" panose="020F0704030504030204" pitchFamily="34" charset="0"/>
            </a:endParaRPr>
          </a:p>
        </p:txBody>
      </p:sp>
      <p:sp>
        <p:nvSpPr>
          <p:cNvPr id="1353" name="Google Shape;1353;p17"/>
          <p:cNvSpPr txBox="1">
            <a:spLocks noGrp="1"/>
          </p:cNvSpPr>
          <p:nvPr>
            <p:ph type="ctrTitle"/>
          </p:nvPr>
        </p:nvSpPr>
        <p:spPr>
          <a:xfrm>
            <a:off x="799900" y="690754"/>
            <a:ext cx="5270447" cy="17373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US" sz="4400" dirty="0" err="1"/>
              <a:t>Chủ</a:t>
            </a:r>
            <a:r>
              <a:rPr lang="en-US" sz="4400" dirty="0"/>
              <a:t> </a:t>
            </a:r>
            <a:r>
              <a:rPr lang="en-US" sz="4400" dirty="0" err="1"/>
              <a:t>đề</a:t>
            </a:r>
            <a:r>
              <a:rPr lang="en-US" sz="4400" dirty="0"/>
              <a:t> 4 : </a:t>
            </a:r>
            <a:r>
              <a:rPr lang="en-US" sz="4400" dirty="0" err="1"/>
              <a:t>Giới</a:t>
            </a:r>
            <a:r>
              <a:rPr lang="en-US" sz="4400" dirty="0"/>
              <a:t> </a:t>
            </a:r>
            <a:r>
              <a:rPr lang="en-US" sz="4400" dirty="0" err="1"/>
              <a:t>thiệu</a:t>
            </a:r>
            <a:r>
              <a:rPr lang="en-US" sz="4400" dirty="0"/>
              <a:t> </a:t>
            </a:r>
            <a:r>
              <a:rPr lang="en-US" sz="4400" dirty="0" err="1"/>
              <a:t>các</a:t>
            </a:r>
            <a:r>
              <a:rPr lang="en-US" sz="4400" dirty="0"/>
              <a:t> </a:t>
            </a:r>
            <a:r>
              <a:rPr lang="en-US" sz="4400" dirty="0" err="1"/>
              <a:t>hệ</a:t>
            </a:r>
            <a:r>
              <a:rPr lang="en-US" sz="4400" dirty="0"/>
              <a:t> </a:t>
            </a:r>
            <a:r>
              <a:rPr lang="en-US" sz="4400" dirty="0" err="1"/>
              <a:t>cơ</a:t>
            </a:r>
            <a:r>
              <a:rPr lang="en-US" sz="4400" dirty="0"/>
              <a:t> </a:t>
            </a:r>
            <a:r>
              <a:rPr lang="en-US" sz="4400" dirty="0" err="1"/>
              <a:t>sở</a:t>
            </a:r>
            <a:r>
              <a:rPr lang="en-US" sz="4400" dirty="0"/>
              <a:t> </a:t>
            </a:r>
            <a:r>
              <a:rPr lang="en-US" sz="4400" dirty="0" err="1"/>
              <a:t>dữ</a:t>
            </a:r>
            <a:r>
              <a:rPr lang="en-US" sz="4400" dirty="0"/>
              <a:t> </a:t>
            </a:r>
            <a:r>
              <a:rPr lang="en-US" sz="4400" dirty="0" err="1"/>
              <a:t>liệu</a:t>
            </a:r>
            <a:endParaRPr sz="4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53"/>
                                        </p:tgtEl>
                                        <p:attrNameLst>
                                          <p:attrName>style.visibility</p:attrName>
                                        </p:attrNameLst>
                                      </p:cBhvr>
                                      <p:to>
                                        <p:strVal val="visible"/>
                                      </p:to>
                                    </p:set>
                                    <p:animEffect transition="in" filter="fade">
                                      <p:cBhvr>
                                        <p:cTn id="7" dur="1000"/>
                                        <p:tgtEl>
                                          <p:spTgt spid="1353"/>
                                        </p:tgtEl>
                                      </p:cBhvr>
                                    </p:animEffect>
                                    <p:anim calcmode="lin" valueType="num">
                                      <p:cBhvr>
                                        <p:cTn id="8" dur="1000" fill="hold"/>
                                        <p:tgtEl>
                                          <p:spTgt spid="1353"/>
                                        </p:tgtEl>
                                        <p:attrNameLst>
                                          <p:attrName>ppt_x</p:attrName>
                                        </p:attrNameLst>
                                      </p:cBhvr>
                                      <p:tavLst>
                                        <p:tav tm="0">
                                          <p:val>
                                            <p:strVal val="#ppt_x"/>
                                          </p:val>
                                        </p:tav>
                                        <p:tav tm="100000">
                                          <p:val>
                                            <p:strVal val="#ppt_x"/>
                                          </p:val>
                                        </p:tav>
                                      </p:tavLst>
                                    </p:anim>
                                    <p:anim calcmode="lin" valueType="num">
                                      <p:cBhvr>
                                        <p:cTn id="9" dur="1000" fill="hold"/>
                                        <p:tgtEl>
                                          <p:spTgt spid="135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1352">
                                            <p:txEl>
                                              <p:pRg st="0" end="0"/>
                                            </p:txEl>
                                          </p:spTgt>
                                        </p:tgtEl>
                                        <p:attrNameLst>
                                          <p:attrName>style.visibility</p:attrName>
                                        </p:attrNameLst>
                                      </p:cBhvr>
                                      <p:to>
                                        <p:strVal val="visible"/>
                                      </p:to>
                                    </p:set>
                                    <p:animEffect transition="in" filter="barn(inVertical)">
                                      <p:cBhvr>
                                        <p:cTn id="14" dur="500"/>
                                        <p:tgtEl>
                                          <p:spTgt spid="135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2" grpId="0" build="p"/>
      <p:bldP spid="135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15"/>
        <p:cNvGrpSpPr/>
        <p:nvPr/>
      </p:nvGrpSpPr>
      <p:grpSpPr>
        <a:xfrm>
          <a:off x="0" y="0"/>
          <a:ext cx="0" cy="0"/>
          <a:chOff x="0" y="0"/>
          <a:chExt cx="0" cy="0"/>
        </a:xfrm>
      </p:grpSpPr>
      <p:sp>
        <p:nvSpPr>
          <p:cNvPr id="2" name="Parallelogram 1">
            <a:extLst>
              <a:ext uri="{FF2B5EF4-FFF2-40B4-BE49-F238E27FC236}">
                <a16:creationId xmlns:a16="http://schemas.microsoft.com/office/drawing/2014/main" id="{F58EAAD3-617D-4153-B9EB-66F983B4D9EC}"/>
              </a:ext>
            </a:extLst>
          </p:cNvPr>
          <p:cNvSpPr/>
          <p:nvPr/>
        </p:nvSpPr>
        <p:spPr>
          <a:xfrm>
            <a:off x="-1528252" y="-504964"/>
            <a:ext cx="2619214" cy="1255362"/>
          </a:xfrm>
          <a:prstGeom prst="parallelogram">
            <a:avLst/>
          </a:prstGeom>
          <a:solidFill>
            <a:srgbClr val="CF75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3" name="Parallelogram 2">
            <a:extLst>
              <a:ext uri="{FF2B5EF4-FFF2-40B4-BE49-F238E27FC236}">
                <a16:creationId xmlns:a16="http://schemas.microsoft.com/office/drawing/2014/main" id="{CA3C145B-9EDF-497C-AAE4-41EFA3B7DB93}"/>
              </a:ext>
            </a:extLst>
          </p:cNvPr>
          <p:cNvSpPr/>
          <p:nvPr/>
        </p:nvSpPr>
        <p:spPr>
          <a:xfrm>
            <a:off x="829162" y="161738"/>
            <a:ext cx="8679050" cy="627681"/>
          </a:xfrm>
          <a:prstGeom prst="parallelogram">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sp>
        <p:nvSpPr>
          <p:cNvPr id="4" name="Parallelogram 3">
            <a:extLst>
              <a:ext uri="{FF2B5EF4-FFF2-40B4-BE49-F238E27FC236}">
                <a16:creationId xmlns:a16="http://schemas.microsoft.com/office/drawing/2014/main" id="{AD6F3E77-1162-4043-8D03-512930B68FBD}"/>
              </a:ext>
            </a:extLst>
          </p:cNvPr>
          <p:cNvSpPr/>
          <p:nvPr/>
        </p:nvSpPr>
        <p:spPr>
          <a:xfrm>
            <a:off x="-1999280" y="-504964"/>
            <a:ext cx="3006672" cy="1255362"/>
          </a:xfrm>
          <a:prstGeom prst="parallelogram">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5" name="Parallelogram 4">
            <a:extLst>
              <a:ext uri="{FF2B5EF4-FFF2-40B4-BE49-F238E27FC236}">
                <a16:creationId xmlns:a16="http://schemas.microsoft.com/office/drawing/2014/main" id="{14BF0F4B-B8F9-4A82-BCF0-B741F97DE2A7}"/>
              </a:ext>
            </a:extLst>
          </p:cNvPr>
          <p:cNvSpPr/>
          <p:nvPr/>
        </p:nvSpPr>
        <p:spPr>
          <a:xfrm>
            <a:off x="6827005" y="175300"/>
            <a:ext cx="2681207" cy="604434"/>
          </a:xfrm>
          <a:prstGeom prst="parallelogram">
            <a:avLst/>
          </a:prstGeom>
          <a:solidFill>
            <a:srgbClr val="CF75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C137C117-E0EB-4DEB-AA54-908391E272F9}"/>
              </a:ext>
            </a:extLst>
          </p:cNvPr>
          <p:cNvSpPr txBox="1"/>
          <p:nvPr/>
        </p:nvSpPr>
        <p:spPr>
          <a:xfrm>
            <a:off x="1007392" y="230217"/>
            <a:ext cx="6013344" cy="461665"/>
          </a:xfrm>
          <a:prstGeom prst="rect">
            <a:avLst/>
          </a:prstGeom>
          <a:noFill/>
        </p:spPr>
        <p:txBody>
          <a:bodyPr wrap="square" rtlCol="0">
            <a:spAutoFit/>
          </a:bodyPr>
          <a:lstStyle/>
          <a:p>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Bản</a:t>
            </a:r>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Ghi</a:t>
            </a:r>
            <a:r>
              <a:rPr lang="en-US" sz="2400" dirty="0">
                <a:solidFill>
                  <a:schemeClr val="bg1"/>
                </a:solidFill>
                <a:latin typeface="Times New Roman" panose="02020603050405020304" pitchFamily="18" charset="0"/>
                <a:cs typeface="Times New Roman" panose="02020603050405020304" pitchFamily="18" charset="0"/>
              </a:rPr>
              <a:t> , </a:t>
            </a:r>
            <a:r>
              <a:rPr lang="en-US" sz="2400" dirty="0" err="1">
                <a:solidFill>
                  <a:schemeClr val="bg1"/>
                </a:solidFill>
                <a:latin typeface="Times New Roman" panose="02020603050405020304" pitchFamily="18" charset="0"/>
                <a:cs typeface="Times New Roman" panose="02020603050405020304" pitchFamily="18" charset="0"/>
              </a:rPr>
              <a:t>Trường</a:t>
            </a:r>
            <a:endParaRPr lang="en-US" sz="2400" dirty="0">
              <a:solidFill>
                <a:schemeClr val="bg1"/>
              </a:solidFill>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A118FD3A-461E-4A94-B586-A0560DC6E14C}"/>
              </a:ext>
            </a:extLst>
          </p:cNvPr>
          <p:cNvSpPr txBox="1"/>
          <p:nvPr/>
        </p:nvSpPr>
        <p:spPr>
          <a:xfrm>
            <a:off x="178855" y="-31614"/>
            <a:ext cx="697627" cy="830997"/>
          </a:xfrm>
          <a:prstGeom prst="rect">
            <a:avLst/>
          </a:prstGeom>
          <a:noFill/>
        </p:spPr>
        <p:txBody>
          <a:bodyPr wrap="none" rtlCol="0">
            <a:spAutoFit/>
          </a:bodyPr>
          <a:lstStyle/>
          <a:p>
            <a:r>
              <a:rPr lang="en-US" sz="4800" b="1" dirty="0" smtClean="0">
                <a:latin typeface="Times New Roman" panose="02020603050405020304" pitchFamily="18" charset="0"/>
                <a:cs typeface="Times New Roman" panose="02020603050405020304" pitchFamily="18" charset="0"/>
              </a:rPr>
              <a:t>a)</a:t>
            </a:r>
            <a:endParaRPr lang="en-US" sz="4800" b="1" dirty="0">
              <a:latin typeface="Times New Roman" panose="02020603050405020304" pitchFamily="18" charset="0"/>
              <a:cs typeface="Times New Roman" panose="02020603050405020304" pitchFamily="18" charset="0"/>
            </a:endParaRPr>
          </a:p>
        </p:txBody>
      </p:sp>
      <p:sp>
        <p:nvSpPr>
          <p:cNvPr id="8" name="Arrow: Right 7">
            <a:extLst>
              <a:ext uri="{FF2B5EF4-FFF2-40B4-BE49-F238E27FC236}">
                <a16:creationId xmlns:a16="http://schemas.microsoft.com/office/drawing/2014/main" id="{A1C0BDD0-0D79-4F68-B56E-82EB5D074014}"/>
              </a:ext>
            </a:extLst>
          </p:cNvPr>
          <p:cNvSpPr/>
          <p:nvPr/>
        </p:nvSpPr>
        <p:spPr>
          <a:xfrm flipV="1">
            <a:off x="178855" y="1582615"/>
            <a:ext cx="423514" cy="2461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95236AD6-BD16-41AD-94D5-9BD5934E8B50}"/>
              </a:ext>
            </a:extLst>
          </p:cNvPr>
          <p:cNvSpPr txBox="1"/>
          <p:nvPr/>
        </p:nvSpPr>
        <p:spPr>
          <a:xfrm>
            <a:off x="817955" y="1474857"/>
            <a:ext cx="7349653" cy="707886"/>
          </a:xfrm>
          <a:prstGeom prst="rect">
            <a:avLst/>
          </a:prstGeom>
          <a:noFill/>
        </p:spPr>
        <p:txBody>
          <a:bodyPr wrap="square" rtlCol="0">
            <a:spAutoFit/>
          </a:bodyPr>
          <a:lstStyle/>
          <a:p>
            <a:pPr algn="just"/>
            <a:r>
              <a:rPr lang="en-US" sz="2000" dirty="0" err="1">
                <a:latin typeface="Times New Roman" panose="02020603050405020304" pitchFamily="18" charset="0"/>
                <a:cs typeface="Times New Roman" panose="02020603050405020304" pitchFamily="18" charset="0"/>
              </a:rPr>
              <a:t>Mỗi</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hà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của</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bả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là</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một</a:t>
            </a:r>
            <a:r>
              <a:rPr lang="en-US" sz="2000" dirty="0">
                <a:latin typeface="Times New Roman" panose="02020603050405020304" pitchFamily="18" charset="0"/>
                <a:cs typeface="Times New Roman" panose="02020603050405020304" pitchFamily="18" charset="0"/>
              </a:rPr>
              <a:t> </a:t>
            </a:r>
            <a:r>
              <a:rPr lang="en-US" sz="2000" b="1" dirty="0" err="1">
                <a:latin typeface="Times New Roman" panose="02020603050405020304" pitchFamily="18" charset="0"/>
                <a:cs typeface="Times New Roman" panose="02020603050405020304" pitchFamily="18" charset="0"/>
              </a:rPr>
              <a:t>Bảng</a:t>
            </a:r>
            <a:r>
              <a:rPr lang="en-US" sz="2000" b="1" dirty="0">
                <a:latin typeface="Times New Roman" panose="02020603050405020304" pitchFamily="18" charset="0"/>
                <a:cs typeface="Times New Roman" panose="02020603050405020304" pitchFamily="18" charset="0"/>
              </a:rPr>
              <a:t> </a:t>
            </a:r>
            <a:r>
              <a:rPr lang="en-US" sz="2000" b="1" dirty="0" err="1">
                <a:latin typeface="Times New Roman" panose="02020603050405020304" pitchFamily="18" charset="0"/>
                <a:cs typeface="Times New Roman" panose="02020603050405020304" pitchFamily="18" charset="0"/>
              </a:rPr>
              <a:t>Ghi</a:t>
            </a:r>
            <a:r>
              <a:rPr lang="en-US" sz="2000" b="1" dirty="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 </a:t>
            </a:r>
            <a:r>
              <a:rPr lang="en-US" sz="2000" dirty="0" err="1" smtClean="0">
                <a:latin typeface="Times New Roman" panose="02020603050405020304" pitchFamily="18" charset="0"/>
                <a:cs typeface="Times New Roman" panose="02020603050405020304" pitchFamily="18" charset="0"/>
              </a:rPr>
              <a:t>là</a:t>
            </a:r>
            <a:r>
              <a:rPr lang="en-US" sz="2000" dirty="0" smtClean="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ập</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hợp</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các</a:t>
            </a:r>
            <a:r>
              <a:rPr lang="en-US" sz="2000" dirty="0">
                <a:latin typeface="Times New Roman" panose="02020603050405020304" pitchFamily="18" charset="0"/>
                <a:cs typeface="Times New Roman" panose="02020603050405020304" pitchFamily="18" charset="0"/>
              </a:rPr>
              <a:t> </a:t>
            </a:r>
            <a:r>
              <a:rPr lang="vi-VN" sz="2000" dirty="0">
                <a:latin typeface="Times New Roman" panose="02020603050405020304" pitchFamily="18" charset="0"/>
                <a:cs typeface="Times New Roman" panose="02020603050405020304" pitchFamily="18" charset="0"/>
              </a:rPr>
              <a:t>thông tin của một đối tượ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cụ</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hể</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được</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quản</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lí</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ro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bảng</a:t>
            </a:r>
            <a:r>
              <a:rPr lang="en-US" sz="2000" dirty="0">
                <a:latin typeface="Times New Roman" panose="02020603050405020304" pitchFamily="18" charset="0"/>
                <a:cs typeface="Times New Roman" panose="02020603050405020304" pitchFamily="18" charset="0"/>
              </a:rPr>
              <a:t>.</a:t>
            </a:r>
          </a:p>
        </p:txBody>
      </p:sp>
      <p:sp>
        <p:nvSpPr>
          <p:cNvPr id="10" name="Arrow: Right 9">
            <a:extLst>
              <a:ext uri="{FF2B5EF4-FFF2-40B4-BE49-F238E27FC236}">
                <a16:creationId xmlns:a16="http://schemas.microsoft.com/office/drawing/2014/main" id="{BDF5D038-05CC-4927-A446-37E37A0169C9}"/>
              </a:ext>
            </a:extLst>
          </p:cNvPr>
          <p:cNvSpPr/>
          <p:nvPr/>
        </p:nvSpPr>
        <p:spPr>
          <a:xfrm flipV="1">
            <a:off x="178855" y="2754922"/>
            <a:ext cx="423514" cy="2461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11" name="TextBox 10">
            <a:extLst>
              <a:ext uri="{FF2B5EF4-FFF2-40B4-BE49-F238E27FC236}">
                <a16:creationId xmlns:a16="http://schemas.microsoft.com/office/drawing/2014/main" id="{340A7E6E-05A4-411F-AA29-26B98AC935AD}"/>
              </a:ext>
            </a:extLst>
          </p:cNvPr>
          <p:cNvSpPr txBox="1"/>
          <p:nvPr/>
        </p:nvSpPr>
        <p:spPr>
          <a:xfrm>
            <a:off x="817955" y="2647164"/>
            <a:ext cx="7396401" cy="707886"/>
          </a:xfrm>
          <a:prstGeom prst="rect">
            <a:avLst/>
          </a:prstGeom>
          <a:noFill/>
        </p:spPr>
        <p:txBody>
          <a:bodyPr wrap="square" rtlCol="0">
            <a:spAutoFit/>
          </a:bodyPr>
          <a:lstStyle/>
          <a:p>
            <a:pPr algn="just"/>
            <a:r>
              <a:rPr lang="en-US" sz="2000" dirty="0" err="1">
                <a:latin typeface="Times New Roman" panose="02020603050405020304" pitchFamily="18" charset="0"/>
                <a:cs typeface="Times New Roman" panose="02020603050405020304" pitchFamily="18" charset="0"/>
              </a:rPr>
              <a:t>Mỗi</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cột</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ro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bản</a:t>
            </a:r>
            <a:r>
              <a:rPr lang="en-US" sz="2000" dirty="0">
                <a:latin typeface="Times New Roman" panose="02020603050405020304" pitchFamily="18" charset="0"/>
                <a:cs typeface="Times New Roman" panose="02020603050405020304" pitchFamily="18" charset="0"/>
              </a:rPr>
              <a:t> đ</a:t>
            </a:r>
            <a:r>
              <a:rPr lang="vi-VN" sz="2000" dirty="0">
                <a:latin typeface="Times New Roman" panose="02020603050405020304" pitchFamily="18" charset="0"/>
                <a:cs typeface="Times New Roman" panose="02020603050405020304" pitchFamily="18" charset="0"/>
              </a:rPr>
              <a:t>ư</a:t>
            </a:r>
            <a:r>
              <a:rPr lang="en-US" sz="2000" dirty="0" err="1">
                <a:latin typeface="Times New Roman" panose="02020603050405020304" pitchFamily="18" charset="0"/>
                <a:cs typeface="Times New Roman" panose="02020603050405020304" pitchFamily="18" charset="0"/>
              </a:rPr>
              <a:t>ợc</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gọi</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là</a:t>
            </a:r>
            <a:r>
              <a:rPr lang="en-US" sz="2000" dirty="0">
                <a:latin typeface="Times New Roman" panose="02020603050405020304" pitchFamily="18" charset="0"/>
                <a:cs typeface="Times New Roman" panose="02020603050405020304" pitchFamily="18" charset="0"/>
              </a:rPr>
              <a:t> </a:t>
            </a:r>
            <a:r>
              <a:rPr lang="en-US" sz="2000" b="1" dirty="0">
                <a:latin typeface="Times New Roman" panose="02020603050405020304" pitchFamily="18" charset="0"/>
                <a:cs typeface="Times New Roman" panose="02020603050405020304" pitchFamily="18" charset="0"/>
              </a:rPr>
              <a:t>Tr</a:t>
            </a:r>
            <a:r>
              <a:rPr lang="vi-VN" sz="2000" b="1" dirty="0">
                <a:latin typeface="Times New Roman" panose="02020603050405020304" pitchFamily="18" charset="0"/>
                <a:cs typeface="Times New Roman" panose="02020603050405020304" pitchFamily="18" charset="0"/>
              </a:rPr>
              <a:t>ư</a:t>
            </a:r>
            <a:r>
              <a:rPr lang="en-US" sz="2000" b="1" dirty="0" err="1">
                <a:latin typeface="Times New Roman" panose="02020603050405020304" pitchFamily="18" charset="0"/>
                <a:cs typeface="Times New Roman" panose="02020603050405020304" pitchFamily="18" charset="0"/>
              </a:rPr>
              <a:t>ờng</a:t>
            </a:r>
            <a:r>
              <a:rPr lang="en-US" sz="2000" dirty="0">
                <a:latin typeface="Times New Roman" panose="02020603050405020304" pitchFamily="18" charset="0"/>
                <a:cs typeface="Times New Roman" panose="02020603050405020304" pitchFamily="18" charset="0"/>
              </a:rPr>
              <a:t>, </a:t>
            </a:r>
            <a:r>
              <a:rPr lang="en-US" sz="2000" dirty="0" err="1" smtClean="0">
                <a:latin typeface="Times New Roman" panose="02020603050405020304" pitchFamily="18" charset="0"/>
                <a:cs typeface="Times New Roman" panose="02020603050405020304" pitchFamily="18" charset="0"/>
              </a:rPr>
              <a:t>mỗi</a:t>
            </a:r>
            <a:r>
              <a:rPr lang="en-US" sz="2000" dirty="0" smtClean="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rường</a:t>
            </a:r>
            <a:r>
              <a:rPr lang="en-US" sz="2000" dirty="0">
                <a:latin typeface="Times New Roman" panose="02020603050405020304" pitchFamily="18" charset="0"/>
                <a:cs typeface="Times New Roman" panose="02020603050405020304" pitchFamily="18" charset="0"/>
              </a:rPr>
              <a:t> l</a:t>
            </a:r>
            <a:r>
              <a:rPr lang="vi-VN" sz="2000" dirty="0">
                <a:latin typeface="Times New Roman" panose="02020603050405020304" pitchFamily="18" charset="0"/>
                <a:cs typeface="Times New Roman" panose="02020603050405020304" pitchFamily="18" charset="0"/>
              </a:rPr>
              <a:t>à </a:t>
            </a:r>
            <a:r>
              <a:rPr lang="en-US" sz="2000" dirty="0" err="1">
                <a:latin typeface="Times New Roman" panose="02020603050405020304" pitchFamily="18" charset="0"/>
                <a:cs typeface="Times New Roman" panose="02020603050405020304" pitchFamily="18" charset="0"/>
              </a:rPr>
              <a:t>một</a:t>
            </a:r>
            <a:r>
              <a:rPr lang="en-US" sz="2000" dirty="0">
                <a:latin typeface="Times New Roman" panose="02020603050405020304" pitchFamily="18" charset="0"/>
                <a:cs typeface="Times New Roman" panose="02020603050405020304" pitchFamily="18" charset="0"/>
              </a:rPr>
              <a:t> </a:t>
            </a:r>
            <a:r>
              <a:rPr lang="vi-VN" sz="2000" dirty="0">
                <a:latin typeface="Times New Roman" panose="02020603050405020304" pitchFamily="18" charset="0"/>
                <a:cs typeface="Times New Roman" panose="02020603050405020304" pitchFamily="18" charset="0"/>
              </a:rPr>
              <a:t>thuộc tính của đối tượng </a:t>
            </a:r>
            <a:r>
              <a:rPr lang="en-US" sz="2000" dirty="0" err="1">
                <a:latin typeface="Times New Roman" panose="02020603050405020304" pitchFamily="18" charset="0"/>
                <a:cs typeface="Times New Roman" panose="02020603050405020304" pitchFamily="18" charset="0"/>
              </a:rPr>
              <a:t>được</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quản</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lí</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ro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bảng</a:t>
            </a:r>
            <a:r>
              <a:rPr lang="en-US" sz="2000" dirty="0">
                <a:latin typeface="Times New Roman" panose="02020603050405020304" pitchFamily="18" charset="0"/>
                <a:cs typeface="Times New Roman" panose="02020603050405020304" pitchFamily="18" charset="0"/>
              </a:rPr>
              <a:t>.</a:t>
            </a:r>
          </a:p>
        </p:txBody>
      </p:sp>
      <p:sp>
        <p:nvSpPr>
          <p:cNvPr id="12" name="Arrow: Striped Right 11">
            <a:extLst>
              <a:ext uri="{FF2B5EF4-FFF2-40B4-BE49-F238E27FC236}">
                <a16:creationId xmlns:a16="http://schemas.microsoft.com/office/drawing/2014/main" id="{8B5F3635-93AA-4A07-A0D7-B48585F1CA1F}"/>
              </a:ext>
            </a:extLst>
          </p:cNvPr>
          <p:cNvSpPr/>
          <p:nvPr/>
        </p:nvSpPr>
        <p:spPr>
          <a:xfrm>
            <a:off x="178855" y="3903785"/>
            <a:ext cx="423514" cy="246185"/>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13" name="TextBox 12">
            <a:extLst>
              <a:ext uri="{FF2B5EF4-FFF2-40B4-BE49-F238E27FC236}">
                <a16:creationId xmlns:a16="http://schemas.microsoft.com/office/drawing/2014/main" id="{1598377B-F2E4-4DFF-8099-70FA49276466}"/>
              </a:ext>
            </a:extLst>
          </p:cNvPr>
          <p:cNvSpPr txBox="1"/>
          <p:nvPr/>
        </p:nvSpPr>
        <p:spPr>
          <a:xfrm>
            <a:off x="817954" y="3805496"/>
            <a:ext cx="7396401" cy="707886"/>
          </a:xfrm>
          <a:prstGeom prst="rect">
            <a:avLst/>
          </a:prstGeom>
          <a:noFill/>
        </p:spPr>
        <p:txBody>
          <a:bodyPr wrap="square" rtlCol="0">
            <a:spAutoFit/>
          </a:bodyPr>
          <a:lstStyle/>
          <a:p>
            <a:pPr algn="just"/>
            <a:r>
              <a:rPr lang="en-US" sz="2000" dirty="0">
                <a:latin typeface="Times New Roman" panose="02020603050405020304" pitchFamily="18" charset="0"/>
                <a:cs typeface="Times New Roman" panose="02020603050405020304" pitchFamily="18" charset="0"/>
              </a:rPr>
              <a:t>Hay </a:t>
            </a:r>
            <a:r>
              <a:rPr lang="en-US" sz="2000" dirty="0" err="1">
                <a:latin typeface="Times New Roman" panose="02020603050405020304" pitchFamily="18" charset="0"/>
                <a:cs typeface="Times New Roman" panose="02020603050405020304" pitchFamily="18" charset="0"/>
              </a:rPr>
              <a:t>nói</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cách</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khác</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mỗi</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hà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là</a:t>
            </a:r>
            <a:r>
              <a:rPr lang="en-US" sz="2000" dirty="0">
                <a:latin typeface="Times New Roman" panose="02020603050405020304" pitchFamily="18" charset="0"/>
                <a:cs typeface="Times New Roman" panose="02020603050405020304" pitchFamily="18" charset="0"/>
              </a:rPr>
              <a:t> </a:t>
            </a:r>
            <a:r>
              <a:rPr lang="en-US" sz="2000" dirty="0" err="1" smtClean="0">
                <a:latin typeface="Times New Roman" panose="02020603050405020304" pitchFamily="18" charset="0"/>
                <a:cs typeface="Times New Roman" panose="02020603050405020304" pitchFamily="18" charset="0"/>
              </a:rPr>
              <a:t>gồm</a:t>
            </a:r>
            <a:r>
              <a:rPr lang="en-US" sz="2000" dirty="0" smtClean="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một</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bộ</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giá</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rị</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ghi</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ro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các</a:t>
            </a:r>
            <a:r>
              <a:rPr lang="en-US" sz="2000" dirty="0">
                <a:latin typeface="Times New Roman" panose="02020603050405020304" pitchFamily="18" charset="0"/>
                <a:cs typeface="Times New Roman" panose="02020603050405020304" pitchFamily="18" charset="0"/>
              </a:rPr>
              <a:t> tr</a:t>
            </a:r>
            <a:r>
              <a:rPr lang="vi-VN" sz="2000" dirty="0">
                <a:latin typeface="Times New Roman" panose="02020603050405020304" pitchFamily="18" charset="0"/>
                <a:cs typeface="Times New Roman" panose="02020603050405020304" pitchFamily="18" charset="0"/>
              </a:rPr>
              <a:t>ư</a:t>
            </a:r>
            <a:r>
              <a:rPr lang="en-US" sz="2000" dirty="0" err="1">
                <a:latin typeface="Times New Roman" panose="02020603050405020304" pitchFamily="18" charset="0"/>
                <a:cs typeface="Times New Roman" panose="02020603050405020304" pitchFamily="18" charset="0"/>
              </a:rPr>
              <a:t>ờ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ư</a:t>
            </a:r>
            <a:r>
              <a:rPr lang="vi-VN" sz="2000" dirty="0">
                <a:latin typeface="Times New Roman" panose="02020603050405020304" pitchFamily="18" charset="0"/>
                <a:cs typeface="Times New Roman" panose="02020603050405020304" pitchFamily="18" charset="0"/>
              </a:rPr>
              <a:t>ơ</a:t>
            </a:r>
            <a:r>
              <a:rPr lang="en-US" sz="2000" dirty="0">
                <a:latin typeface="Times New Roman" panose="02020603050405020304" pitchFamily="18" charset="0"/>
                <a:cs typeface="Times New Roman" panose="02020603050405020304" pitchFamily="18" charset="0"/>
              </a:rPr>
              <a:t>ng </a:t>
            </a:r>
            <a:r>
              <a:rPr lang="en-US" sz="2000" dirty="0" err="1">
                <a:latin typeface="Times New Roman" panose="02020603050405020304" pitchFamily="18" charset="0"/>
                <a:cs typeface="Times New Roman" panose="02020603050405020304" pitchFamily="18" charset="0"/>
              </a:rPr>
              <a:t>ứng</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với</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các</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huộc</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tính</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của</a:t>
            </a:r>
            <a:r>
              <a:rPr lang="en-US" sz="2000" dirty="0">
                <a:latin typeface="Times New Roman" panose="02020603050405020304" pitchFamily="18" charset="0"/>
                <a:cs typeface="Times New Roman" panose="02020603050405020304" pitchFamily="18" charset="0"/>
              </a:rPr>
              <a:t> </a:t>
            </a:r>
            <a:r>
              <a:rPr lang="en-US" sz="2000" dirty="0" err="1">
                <a:latin typeface="Times New Roman" panose="02020603050405020304" pitchFamily="18" charset="0"/>
                <a:cs typeface="Times New Roman" panose="02020603050405020304" pitchFamily="18" charset="0"/>
              </a:rPr>
              <a:t>đối</a:t>
            </a:r>
            <a:r>
              <a:rPr lang="en-US" sz="2000" dirty="0">
                <a:latin typeface="Times New Roman" panose="02020603050405020304" pitchFamily="18" charset="0"/>
                <a:cs typeface="Times New Roman" panose="02020603050405020304" pitchFamily="18" charset="0"/>
              </a:rPr>
              <a:t> t</a:t>
            </a:r>
            <a:r>
              <a:rPr lang="vi-VN" sz="2000" dirty="0">
                <a:latin typeface="Times New Roman" panose="02020603050405020304" pitchFamily="18" charset="0"/>
                <a:cs typeface="Times New Roman" panose="02020603050405020304" pitchFamily="18" charset="0"/>
              </a:rPr>
              <a:t>ư</a:t>
            </a:r>
            <a:r>
              <a:rPr lang="en-US" sz="2000" dirty="0" err="1">
                <a:latin typeface="Times New Roman" panose="02020603050405020304" pitchFamily="18" charset="0"/>
                <a:cs typeface="Times New Roman" panose="02020603050405020304" pitchFamily="18" charset="0"/>
              </a:rPr>
              <a:t>ợng</a:t>
            </a: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6234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9"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0-#ppt_w/2"/>
                                          </p:val>
                                        </p:tav>
                                        <p:tav tm="100000">
                                          <p:val>
                                            <p:strVal val="#ppt_x"/>
                                          </p:val>
                                        </p:tav>
                                      </p:tavLst>
                                    </p:anim>
                                    <p:anim calcmode="lin" valueType="num">
                                      <p:cBhvr additive="base">
                                        <p:cTn id="12" dur="500" fill="hold"/>
                                        <p:tgtEl>
                                          <p:spTgt spid="4"/>
                                        </p:tgtEl>
                                        <p:attrNameLst>
                                          <p:attrName>ppt_y</p:attrName>
                                        </p:attrNameLst>
                                      </p:cBhvr>
                                      <p:tavLst>
                                        <p:tav tm="0">
                                          <p:val>
                                            <p:strVal val="0-#ppt_h/2"/>
                                          </p:val>
                                        </p:tav>
                                        <p:tav tm="100000">
                                          <p:val>
                                            <p:strVal val="#ppt_y"/>
                                          </p:val>
                                        </p:tav>
                                      </p:tavLst>
                                    </p:anim>
                                  </p:childTnLst>
                                </p:cTn>
                              </p:par>
                              <p:par>
                                <p:cTn id="13" presetID="2" presetClass="entr" presetSubtype="9"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0-#ppt_h/2"/>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1+#ppt_w/2"/>
                                          </p:val>
                                        </p:tav>
                                        <p:tav tm="100000">
                                          <p:val>
                                            <p:strVal val="#ppt_x"/>
                                          </p:val>
                                        </p:tav>
                                      </p:tavLst>
                                    </p:anim>
                                    <p:anim calcmode="lin" valueType="num">
                                      <p:cBhvr additive="base">
                                        <p:cTn id="20" dur="500" fill="hold"/>
                                        <p:tgtEl>
                                          <p:spTgt spid="3"/>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1+#ppt_w/2"/>
                                          </p:val>
                                        </p:tav>
                                        <p:tav tm="100000">
                                          <p:val>
                                            <p:strVal val="#ppt_x"/>
                                          </p:val>
                                        </p:tav>
                                      </p:tavLst>
                                    </p:anim>
                                    <p:anim calcmode="lin" valueType="num">
                                      <p:cBhvr additive="base">
                                        <p:cTn id="24" dur="500" fill="hold"/>
                                        <p:tgtEl>
                                          <p:spTgt spid="5"/>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1+#ppt_w/2"/>
                                          </p:val>
                                        </p:tav>
                                        <p:tav tm="100000">
                                          <p:val>
                                            <p:strVal val="#ppt_x"/>
                                          </p:val>
                                        </p:tav>
                                      </p:tavLst>
                                    </p:anim>
                                    <p:anim calcmode="lin" valueType="num">
                                      <p:cBhvr additive="base">
                                        <p:cTn id="2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anim calcmode="lin" valueType="num">
                                      <p:cBhvr additive="base">
                                        <p:cTn id="33" dur="500" fill="hold"/>
                                        <p:tgtEl>
                                          <p:spTgt spid="8"/>
                                        </p:tgtEl>
                                        <p:attrNameLst>
                                          <p:attrName>ppt_x</p:attrName>
                                        </p:attrNameLst>
                                      </p:cBhvr>
                                      <p:tavLst>
                                        <p:tav tm="0">
                                          <p:val>
                                            <p:strVal val="0-#ppt_w/2"/>
                                          </p:val>
                                        </p:tav>
                                        <p:tav tm="100000">
                                          <p:val>
                                            <p:strVal val="#ppt_x"/>
                                          </p:val>
                                        </p:tav>
                                      </p:tavLst>
                                    </p:anim>
                                    <p:anim calcmode="lin" valueType="num">
                                      <p:cBhvr additive="base">
                                        <p:cTn id="34"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6" presetClass="entr" presetSubtype="21" fill="hold" nodeType="clickEffect">
                                  <p:stCondLst>
                                    <p:cond delay="0"/>
                                  </p:stCondLst>
                                  <p:childTnLst>
                                    <p:set>
                                      <p:cBhvr>
                                        <p:cTn id="38" dur="1" fill="hold">
                                          <p:stCondLst>
                                            <p:cond delay="0"/>
                                          </p:stCondLst>
                                        </p:cTn>
                                        <p:tgtEl>
                                          <p:spTgt spid="9">
                                            <p:txEl>
                                              <p:pRg st="0" end="0"/>
                                            </p:txEl>
                                          </p:spTgt>
                                        </p:tgtEl>
                                        <p:attrNameLst>
                                          <p:attrName>style.visibility</p:attrName>
                                        </p:attrNameLst>
                                      </p:cBhvr>
                                      <p:to>
                                        <p:strVal val="visible"/>
                                      </p:to>
                                    </p:set>
                                    <p:animEffect transition="in" filter="barn(inVertical)">
                                      <p:cBhvr>
                                        <p:cTn id="39" dur="500"/>
                                        <p:tgtEl>
                                          <p:spTgt spid="9">
                                            <p:txEl>
                                              <p:pRg st="0" end="0"/>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8" fill="hold" grpId="0" nodeType="click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500" fill="hold"/>
                                        <p:tgtEl>
                                          <p:spTgt spid="10"/>
                                        </p:tgtEl>
                                        <p:attrNameLst>
                                          <p:attrName>ppt_x</p:attrName>
                                        </p:attrNameLst>
                                      </p:cBhvr>
                                      <p:tavLst>
                                        <p:tav tm="0">
                                          <p:val>
                                            <p:strVal val="0-#ppt_w/2"/>
                                          </p:val>
                                        </p:tav>
                                        <p:tav tm="100000">
                                          <p:val>
                                            <p:strVal val="#ppt_x"/>
                                          </p:val>
                                        </p:tav>
                                      </p:tavLst>
                                    </p:anim>
                                    <p:anim calcmode="lin" valueType="num">
                                      <p:cBhvr additive="base">
                                        <p:cTn id="45"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6" presetClass="entr" presetSubtype="21" fill="hold" nodeType="clickEffect">
                                  <p:stCondLst>
                                    <p:cond delay="0"/>
                                  </p:stCondLst>
                                  <p:childTnLst>
                                    <p:set>
                                      <p:cBhvr>
                                        <p:cTn id="49" dur="1" fill="hold">
                                          <p:stCondLst>
                                            <p:cond delay="0"/>
                                          </p:stCondLst>
                                        </p:cTn>
                                        <p:tgtEl>
                                          <p:spTgt spid="11">
                                            <p:txEl>
                                              <p:pRg st="0" end="0"/>
                                            </p:txEl>
                                          </p:spTgt>
                                        </p:tgtEl>
                                        <p:attrNameLst>
                                          <p:attrName>style.visibility</p:attrName>
                                        </p:attrNameLst>
                                      </p:cBhvr>
                                      <p:to>
                                        <p:strVal val="visible"/>
                                      </p:to>
                                    </p:set>
                                    <p:animEffect transition="in" filter="barn(inVertical)">
                                      <p:cBhvr>
                                        <p:cTn id="50" dur="500"/>
                                        <p:tgtEl>
                                          <p:spTgt spid="11">
                                            <p:txEl>
                                              <p:pRg st="0" end="0"/>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12"/>
                                        </p:tgtEl>
                                        <p:attrNameLst>
                                          <p:attrName>style.visibility</p:attrName>
                                        </p:attrNameLst>
                                      </p:cBhvr>
                                      <p:to>
                                        <p:strVal val="visible"/>
                                      </p:to>
                                    </p:set>
                                    <p:anim calcmode="lin" valueType="num">
                                      <p:cBhvr additive="base">
                                        <p:cTn id="55" dur="500" fill="hold"/>
                                        <p:tgtEl>
                                          <p:spTgt spid="12"/>
                                        </p:tgtEl>
                                        <p:attrNameLst>
                                          <p:attrName>ppt_x</p:attrName>
                                        </p:attrNameLst>
                                      </p:cBhvr>
                                      <p:tavLst>
                                        <p:tav tm="0">
                                          <p:val>
                                            <p:strVal val="0-#ppt_w/2"/>
                                          </p:val>
                                        </p:tav>
                                        <p:tav tm="100000">
                                          <p:val>
                                            <p:strVal val="#ppt_x"/>
                                          </p:val>
                                        </p:tav>
                                      </p:tavLst>
                                    </p:anim>
                                    <p:anim calcmode="lin" valueType="num">
                                      <p:cBhvr additive="base">
                                        <p:cTn id="56"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6" presetClass="entr" presetSubtype="21" fill="hold" grpId="0" nodeType="clickEffect">
                                  <p:stCondLst>
                                    <p:cond delay="0"/>
                                  </p:stCondLst>
                                  <p:childTnLst>
                                    <p:set>
                                      <p:cBhvr>
                                        <p:cTn id="60" dur="1" fill="hold">
                                          <p:stCondLst>
                                            <p:cond delay="0"/>
                                          </p:stCondLst>
                                        </p:cTn>
                                        <p:tgtEl>
                                          <p:spTgt spid="13"/>
                                        </p:tgtEl>
                                        <p:attrNameLst>
                                          <p:attrName>style.visibility</p:attrName>
                                        </p:attrNameLst>
                                      </p:cBhvr>
                                      <p:to>
                                        <p:strVal val="visible"/>
                                      </p:to>
                                    </p:set>
                                    <p:animEffect transition="in" filter="barn(inVertical)">
                                      <p:cBhvr>
                                        <p:cTn id="6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p:bldP spid="7" grpId="0"/>
      <p:bldP spid="8" grpId="0" animBg="1"/>
      <p:bldP spid="10" grpId="0" animBg="1"/>
      <p:bldP spid="12" grpId="0" animBg="1"/>
      <p:bldP spid="1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50"/>
        <p:cNvGrpSpPr/>
        <p:nvPr/>
      </p:nvGrpSpPr>
      <p:grpSpPr>
        <a:xfrm>
          <a:off x="0" y="0"/>
          <a:ext cx="0" cy="0"/>
          <a:chOff x="0" y="0"/>
          <a:chExt cx="0" cy="0"/>
        </a:xfrm>
      </p:grpSpPr>
      <p:sp>
        <p:nvSpPr>
          <p:cNvPr id="282" name="Parallelogram 281">
            <a:extLst>
              <a:ext uri="{FF2B5EF4-FFF2-40B4-BE49-F238E27FC236}">
                <a16:creationId xmlns:a16="http://schemas.microsoft.com/office/drawing/2014/main" id="{A3131761-1710-48FD-8C95-598ADCE695D9}"/>
              </a:ext>
            </a:extLst>
          </p:cNvPr>
          <p:cNvSpPr/>
          <p:nvPr/>
        </p:nvSpPr>
        <p:spPr>
          <a:xfrm>
            <a:off x="-1528252" y="-504964"/>
            <a:ext cx="2619214" cy="1255362"/>
          </a:xfrm>
          <a:prstGeom prst="parallelogram">
            <a:avLst/>
          </a:prstGeom>
          <a:solidFill>
            <a:srgbClr val="CF75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283" name="Parallelogram 282">
            <a:extLst>
              <a:ext uri="{FF2B5EF4-FFF2-40B4-BE49-F238E27FC236}">
                <a16:creationId xmlns:a16="http://schemas.microsoft.com/office/drawing/2014/main" id="{9D14E69E-F30D-42D6-9D78-7A5370CD97EA}"/>
              </a:ext>
            </a:extLst>
          </p:cNvPr>
          <p:cNvSpPr/>
          <p:nvPr/>
        </p:nvSpPr>
        <p:spPr>
          <a:xfrm>
            <a:off x="829162" y="161738"/>
            <a:ext cx="8679050" cy="627681"/>
          </a:xfrm>
          <a:prstGeom prst="parallelogram">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sp>
        <p:nvSpPr>
          <p:cNvPr id="284" name="Parallelogram 283">
            <a:extLst>
              <a:ext uri="{FF2B5EF4-FFF2-40B4-BE49-F238E27FC236}">
                <a16:creationId xmlns:a16="http://schemas.microsoft.com/office/drawing/2014/main" id="{130BBAD7-98F5-4AAA-92FB-3E24E39A0AF3}"/>
              </a:ext>
            </a:extLst>
          </p:cNvPr>
          <p:cNvSpPr/>
          <p:nvPr/>
        </p:nvSpPr>
        <p:spPr>
          <a:xfrm>
            <a:off x="-1999280" y="-504964"/>
            <a:ext cx="3006672" cy="1255362"/>
          </a:xfrm>
          <a:prstGeom prst="parallelogram">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285" name="Parallelogram 284">
            <a:extLst>
              <a:ext uri="{FF2B5EF4-FFF2-40B4-BE49-F238E27FC236}">
                <a16:creationId xmlns:a16="http://schemas.microsoft.com/office/drawing/2014/main" id="{03862A1A-D678-4BCE-8000-C9705EF8CFEE}"/>
              </a:ext>
            </a:extLst>
          </p:cNvPr>
          <p:cNvSpPr/>
          <p:nvPr/>
        </p:nvSpPr>
        <p:spPr>
          <a:xfrm>
            <a:off x="6827005" y="175300"/>
            <a:ext cx="2681207" cy="604434"/>
          </a:xfrm>
          <a:prstGeom prst="parallelogram">
            <a:avLst/>
          </a:prstGeom>
          <a:solidFill>
            <a:srgbClr val="CF75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286" name="TextBox 285">
            <a:extLst>
              <a:ext uri="{FF2B5EF4-FFF2-40B4-BE49-F238E27FC236}">
                <a16:creationId xmlns:a16="http://schemas.microsoft.com/office/drawing/2014/main" id="{F59E042B-8E41-4EB6-ABE7-F018540CFA3A}"/>
              </a:ext>
            </a:extLst>
          </p:cNvPr>
          <p:cNvSpPr txBox="1"/>
          <p:nvPr/>
        </p:nvSpPr>
        <p:spPr>
          <a:xfrm>
            <a:off x="1478420" y="175300"/>
            <a:ext cx="6013344" cy="461665"/>
          </a:xfrm>
          <a:prstGeom prst="rect">
            <a:avLst/>
          </a:prstGeom>
          <a:noFill/>
        </p:spPr>
        <p:txBody>
          <a:bodyPr wrap="square" rtlCol="0">
            <a:spAutoFit/>
          </a:bodyPr>
          <a:lstStyle/>
          <a:p>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Khóa</a:t>
            </a:r>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Chính</a:t>
            </a:r>
            <a:endParaRPr lang="en-US" sz="2400" dirty="0">
              <a:solidFill>
                <a:schemeClr val="bg1"/>
              </a:solidFill>
              <a:latin typeface="Times New Roman" panose="02020603050405020304" pitchFamily="18" charset="0"/>
              <a:cs typeface="Times New Roman" panose="02020603050405020304" pitchFamily="18" charset="0"/>
            </a:endParaRPr>
          </a:p>
        </p:txBody>
      </p:sp>
      <p:sp>
        <p:nvSpPr>
          <p:cNvPr id="287" name="TextBox 286">
            <a:extLst>
              <a:ext uri="{FF2B5EF4-FFF2-40B4-BE49-F238E27FC236}">
                <a16:creationId xmlns:a16="http://schemas.microsoft.com/office/drawing/2014/main" id="{075B97E1-E81F-4CFA-A54B-D692795D5621}"/>
              </a:ext>
            </a:extLst>
          </p:cNvPr>
          <p:cNvSpPr txBox="1"/>
          <p:nvPr/>
        </p:nvSpPr>
        <p:spPr>
          <a:xfrm>
            <a:off x="178855" y="-31614"/>
            <a:ext cx="732893" cy="830997"/>
          </a:xfrm>
          <a:prstGeom prst="rect">
            <a:avLst/>
          </a:prstGeom>
          <a:noFill/>
        </p:spPr>
        <p:txBody>
          <a:bodyPr wrap="none" rtlCol="0">
            <a:spAutoFit/>
          </a:bodyPr>
          <a:lstStyle/>
          <a:p>
            <a:r>
              <a:rPr lang="en-US" sz="4800" b="1" dirty="0" smtClean="0">
                <a:latin typeface="Times New Roman" panose="02020603050405020304" pitchFamily="18" charset="0"/>
                <a:cs typeface="Times New Roman" panose="02020603050405020304" pitchFamily="18" charset="0"/>
              </a:rPr>
              <a:t>b)</a:t>
            </a:r>
            <a:endParaRPr lang="en-US" sz="4800" b="1"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53BE8C72-C4F7-41ED-ADA9-0813B024BC9C}"/>
              </a:ext>
            </a:extLst>
          </p:cNvPr>
          <p:cNvPicPr>
            <a:picLocks noChangeAspect="1"/>
          </p:cNvPicPr>
          <p:nvPr/>
        </p:nvPicPr>
        <p:blipFill>
          <a:blip r:embed="rId3"/>
          <a:stretch>
            <a:fillRect/>
          </a:stretch>
        </p:blipFill>
        <p:spPr>
          <a:xfrm>
            <a:off x="3240750" y="1335074"/>
            <a:ext cx="3971289" cy="2777237"/>
          </a:xfrm>
          <a:prstGeom prst="rect">
            <a:avLst/>
          </a:prstGeom>
          <a:ln>
            <a:noFill/>
          </a:ln>
          <a:effectLst>
            <a:outerShdw blurRad="190500" algn="tl" rotWithShape="0">
              <a:srgbClr val="000000">
                <a:alpha val="70000"/>
              </a:srgbClr>
            </a:outerShdw>
          </a:effectLst>
        </p:spPr>
      </p:pic>
      <p:cxnSp>
        <p:nvCxnSpPr>
          <p:cNvPr id="11" name="Straight Connector 10">
            <a:extLst>
              <a:ext uri="{FF2B5EF4-FFF2-40B4-BE49-F238E27FC236}">
                <a16:creationId xmlns:a16="http://schemas.microsoft.com/office/drawing/2014/main" id="{EA04F347-793F-4E78-942C-C7D4B04CA79F}"/>
              </a:ext>
            </a:extLst>
          </p:cNvPr>
          <p:cNvCxnSpPr>
            <a:cxnSpLocks/>
          </p:cNvCxnSpPr>
          <p:nvPr/>
        </p:nvCxnSpPr>
        <p:spPr>
          <a:xfrm>
            <a:off x="3941995" y="1697911"/>
            <a:ext cx="873310" cy="0"/>
          </a:xfrm>
          <a:prstGeom prst="line">
            <a:avLst/>
          </a:prstGeom>
        </p:spPr>
        <p:style>
          <a:lnRef idx="3">
            <a:schemeClr val="accent2"/>
          </a:lnRef>
          <a:fillRef idx="0">
            <a:schemeClr val="accent2"/>
          </a:fillRef>
          <a:effectRef idx="2">
            <a:schemeClr val="accent2"/>
          </a:effectRef>
          <a:fontRef idx="minor">
            <a:schemeClr val="tx1"/>
          </a:fontRef>
        </p:style>
      </p:cxnSp>
      <p:cxnSp>
        <p:nvCxnSpPr>
          <p:cNvPr id="293" name="Straight Connector 292">
            <a:extLst>
              <a:ext uri="{FF2B5EF4-FFF2-40B4-BE49-F238E27FC236}">
                <a16:creationId xmlns:a16="http://schemas.microsoft.com/office/drawing/2014/main" id="{360595CE-F445-48A4-B7A5-35FBCDDF3DED}"/>
              </a:ext>
            </a:extLst>
          </p:cNvPr>
          <p:cNvCxnSpPr>
            <a:cxnSpLocks/>
          </p:cNvCxnSpPr>
          <p:nvPr/>
        </p:nvCxnSpPr>
        <p:spPr>
          <a:xfrm flipV="1">
            <a:off x="4775542" y="1697911"/>
            <a:ext cx="0" cy="358152"/>
          </a:xfrm>
          <a:prstGeom prst="line">
            <a:avLst/>
          </a:prstGeom>
        </p:spPr>
        <p:style>
          <a:lnRef idx="3">
            <a:schemeClr val="accent2"/>
          </a:lnRef>
          <a:fillRef idx="0">
            <a:schemeClr val="accent2"/>
          </a:fillRef>
          <a:effectRef idx="2">
            <a:schemeClr val="accent2"/>
          </a:effectRef>
          <a:fontRef idx="minor">
            <a:schemeClr val="tx1"/>
          </a:fontRef>
        </p:style>
      </p:cxnSp>
      <p:cxnSp>
        <p:nvCxnSpPr>
          <p:cNvPr id="299" name="Straight Connector 298">
            <a:extLst>
              <a:ext uri="{FF2B5EF4-FFF2-40B4-BE49-F238E27FC236}">
                <a16:creationId xmlns:a16="http://schemas.microsoft.com/office/drawing/2014/main" id="{708A83A9-D03E-41A8-AB0E-3E67279DD792}"/>
              </a:ext>
            </a:extLst>
          </p:cNvPr>
          <p:cNvCxnSpPr>
            <a:cxnSpLocks/>
          </p:cNvCxnSpPr>
          <p:nvPr/>
        </p:nvCxnSpPr>
        <p:spPr>
          <a:xfrm>
            <a:off x="3941995" y="2056063"/>
            <a:ext cx="833547" cy="0"/>
          </a:xfrm>
          <a:prstGeom prst="line">
            <a:avLst/>
          </a:prstGeom>
        </p:spPr>
        <p:style>
          <a:lnRef idx="3">
            <a:schemeClr val="accent2"/>
          </a:lnRef>
          <a:fillRef idx="0">
            <a:schemeClr val="accent2"/>
          </a:fillRef>
          <a:effectRef idx="2">
            <a:schemeClr val="accent2"/>
          </a:effectRef>
          <a:fontRef idx="minor">
            <a:schemeClr val="tx1"/>
          </a:fontRef>
        </p:style>
      </p:cxnSp>
      <p:cxnSp>
        <p:nvCxnSpPr>
          <p:cNvPr id="301" name="Straight Connector 300">
            <a:extLst>
              <a:ext uri="{FF2B5EF4-FFF2-40B4-BE49-F238E27FC236}">
                <a16:creationId xmlns:a16="http://schemas.microsoft.com/office/drawing/2014/main" id="{9485E06C-AF42-45F6-9D6F-864E55C4CC70}"/>
              </a:ext>
            </a:extLst>
          </p:cNvPr>
          <p:cNvCxnSpPr>
            <a:cxnSpLocks/>
          </p:cNvCxnSpPr>
          <p:nvPr/>
        </p:nvCxnSpPr>
        <p:spPr>
          <a:xfrm>
            <a:off x="3958730" y="1697911"/>
            <a:ext cx="0" cy="358152"/>
          </a:xfrm>
          <a:prstGeom prst="line">
            <a:avLst/>
          </a:prstGeom>
        </p:spPr>
        <p:style>
          <a:lnRef idx="3">
            <a:schemeClr val="accent2"/>
          </a:lnRef>
          <a:fillRef idx="0">
            <a:schemeClr val="accent2"/>
          </a:fillRef>
          <a:effectRef idx="2">
            <a:schemeClr val="accent2"/>
          </a:effectRef>
          <a:fontRef idx="minor">
            <a:schemeClr val="tx1"/>
          </a:fontRef>
        </p:style>
      </p:cxnSp>
      <p:cxnSp>
        <p:nvCxnSpPr>
          <p:cNvPr id="322" name="Straight Connector 321">
            <a:extLst>
              <a:ext uri="{FF2B5EF4-FFF2-40B4-BE49-F238E27FC236}">
                <a16:creationId xmlns:a16="http://schemas.microsoft.com/office/drawing/2014/main" id="{1CA214F9-83FC-439C-8C94-3AF3A04F4AD4}"/>
              </a:ext>
            </a:extLst>
          </p:cNvPr>
          <p:cNvCxnSpPr>
            <a:cxnSpLocks/>
          </p:cNvCxnSpPr>
          <p:nvPr/>
        </p:nvCxnSpPr>
        <p:spPr>
          <a:xfrm>
            <a:off x="4205606" y="2158943"/>
            <a:ext cx="12356" cy="1895736"/>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25" name="Straight Connector 324">
            <a:extLst>
              <a:ext uri="{FF2B5EF4-FFF2-40B4-BE49-F238E27FC236}">
                <a16:creationId xmlns:a16="http://schemas.microsoft.com/office/drawing/2014/main" id="{4AC0AF05-EF78-4E58-9A4C-C44288E4C822}"/>
              </a:ext>
            </a:extLst>
          </p:cNvPr>
          <p:cNvCxnSpPr>
            <a:cxnSpLocks/>
          </p:cNvCxnSpPr>
          <p:nvPr/>
        </p:nvCxnSpPr>
        <p:spPr>
          <a:xfrm>
            <a:off x="4568071" y="2158943"/>
            <a:ext cx="0" cy="1895736"/>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28" name="Straight Connector 327">
            <a:extLst>
              <a:ext uri="{FF2B5EF4-FFF2-40B4-BE49-F238E27FC236}">
                <a16:creationId xmlns:a16="http://schemas.microsoft.com/office/drawing/2014/main" id="{CFB30589-B7F7-49D5-B8A6-5DFF7ED6E9A8}"/>
              </a:ext>
            </a:extLst>
          </p:cNvPr>
          <p:cNvCxnSpPr>
            <a:cxnSpLocks/>
          </p:cNvCxnSpPr>
          <p:nvPr/>
        </p:nvCxnSpPr>
        <p:spPr>
          <a:xfrm flipH="1">
            <a:off x="4205606" y="2138319"/>
            <a:ext cx="361588"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30" name="Straight Connector 329">
            <a:extLst>
              <a:ext uri="{FF2B5EF4-FFF2-40B4-BE49-F238E27FC236}">
                <a16:creationId xmlns:a16="http://schemas.microsoft.com/office/drawing/2014/main" id="{8A10F00E-2CBF-4C5F-9872-65A6667C5AB5}"/>
              </a:ext>
            </a:extLst>
          </p:cNvPr>
          <p:cNvCxnSpPr>
            <a:cxnSpLocks/>
          </p:cNvCxnSpPr>
          <p:nvPr/>
        </p:nvCxnSpPr>
        <p:spPr>
          <a:xfrm flipH="1">
            <a:off x="4217962" y="4054679"/>
            <a:ext cx="349232"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34" name="Straight Connector 333">
            <a:extLst>
              <a:ext uri="{FF2B5EF4-FFF2-40B4-BE49-F238E27FC236}">
                <a16:creationId xmlns:a16="http://schemas.microsoft.com/office/drawing/2014/main" id="{13ECC2FE-26D4-43A1-836E-292EC6DB4270}"/>
              </a:ext>
            </a:extLst>
          </p:cNvPr>
          <p:cNvCxnSpPr>
            <a:cxnSpLocks/>
          </p:cNvCxnSpPr>
          <p:nvPr/>
        </p:nvCxnSpPr>
        <p:spPr>
          <a:xfrm>
            <a:off x="3292508" y="1740047"/>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36" name="Straight Connector 335">
            <a:extLst>
              <a:ext uri="{FF2B5EF4-FFF2-40B4-BE49-F238E27FC236}">
                <a16:creationId xmlns:a16="http://schemas.microsoft.com/office/drawing/2014/main" id="{D50B0D5D-E79E-4A9D-8962-00310EBAE885}"/>
              </a:ext>
            </a:extLst>
          </p:cNvPr>
          <p:cNvCxnSpPr>
            <a:cxnSpLocks/>
          </p:cNvCxnSpPr>
          <p:nvPr/>
        </p:nvCxnSpPr>
        <p:spPr>
          <a:xfrm>
            <a:off x="3955468" y="1740047"/>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37" name="Straight Connector 336">
            <a:extLst>
              <a:ext uri="{FF2B5EF4-FFF2-40B4-BE49-F238E27FC236}">
                <a16:creationId xmlns:a16="http://schemas.microsoft.com/office/drawing/2014/main" id="{512E9D90-4371-49B7-8FF7-F6720162DD20}"/>
              </a:ext>
            </a:extLst>
          </p:cNvPr>
          <p:cNvCxnSpPr>
            <a:cxnSpLocks/>
          </p:cNvCxnSpPr>
          <p:nvPr/>
        </p:nvCxnSpPr>
        <p:spPr>
          <a:xfrm flipH="1">
            <a:off x="3292508" y="1740047"/>
            <a:ext cx="662960"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42" name="Straight Connector 341">
            <a:extLst>
              <a:ext uri="{FF2B5EF4-FFF2-40B4-BE49-F238E27FC236}">
                <a16:creationId xmlns:a16="http://schemas.microsoft.com/office/drawing/2014/main" id="{40ED8008-6765-40D1-92B1-83E8817AD82E}"/>
              </a:ext>
            </a:extLst>
          </p:cNvPr>
          <p:cNvCxnSpPr>
            <a:cxnSpLocks/>
          </p:cNvCxnSpPr>
          <p:nvPr/>
        </p:nvCxnSpPr>
        <p:spPr>
          <a:xfrm flipH="1">
            <a:off x="3292508" y="4092677"/>
            <a:ext cx="662960"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278" name="Straight Arrow Connector 277">
            <a:extLst>
              <a:ext uri="{FF2B5EF4-FFF2-40B4-BE49-F238E27FC236}">
                <a16:creationId xmlns:a16="http://schemas.microsoft.com/office/drawing/2014/main" id="{2A2A5B1A-18E9-4829-92E8-341741A6D451}"/>
              </a:ext>
            </a:extLst>
          </p:cNvPr>
          <p:cNvCxnSpPr>
            <a:cxnSpLocks/>
          </p:cNvCxnSpPr>
          <p:nvPr/>
        </p:nvCxnSpPr>
        <p:spPr>
          <a:xfrm>
            <a:off x="3619287" y="4092677"/>
            <a:ext cx="0" cy="271043"/>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350" name="Rectangle: Rounded Corners 349">
            <a:extLst>
              <a:ext uri="{FF2B5EF4-FFF2-40B4-BE49-F238E27FC236}">
                <a16:creationId xmlns:a16="http://schemas.microsoft.com/office/drawing/2014/main" id="{7CB5217A-5B21-4B36-AAFE-37C3D6BDC7AB}"/>
              </a:ext>
            </a:extLst>
          </p:cNvPr>
          <p:cNvSpPr/>
          <p:nvPr/>
        </p:nvSpPr>
        <p:spPr>
          <a:xfrm>
            <a:off x="3105939" y="4408692"/>
            <a:ext cx="1026695" cy="385010"/>
          </a:xfrm>
          <a:prstGeom prst="roundRect">
            <a:avLst>
              <a:gd name="adj" fmla="val 50000"/>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err="1">
                <a:latin typeface="Times New Roman" panose="02020603050405020304" pitchFamily="18" charset="0"/>
                <a:cs typeface="Times New Roman" panose="02020603050405020304" pitchFamily="18" charset="0"/>
              </a:rPr>
              <a:t>Khóa</a:t>
            </a:r>
            <a:endParaRPr lang="en-US" dirty="0">
              <a:latin typeface="Times New Roman" panose="02020603050405020304" pitchFamily="18" charset="0"/>
              <a:cs typeface="Times New Roman" panose="02020603050405020304" pitchFamily="18" charset="0"/>
            </a:endParaRPr>
          </a:p>
        </p:txBody>
      </p:sp>
      <p:cxnSp>
        <p:nvCxnSpPr>
          <p:cNvPr id="351" name="Straight Connector 350">
            <a:extLst>
              <a:ext uri="{FF2B5EF4-FFF2-40B4-BE49-F238E27FC236}">
                <a16:creationId xmlns:a16="http://schemas.microsoft.com/office/drawing/2014/main" id="{05542B5D-D703-43AC-9C00-F07C566DD41F}"/>
              </a:ext>
            </a:extLst>
          </p:cNvPr>
          <p:cNvCxnSpPr>
            <a:cxnSpLocks/>
          </p:cNvCxnSpPr>
          <p:nvPr/>
        </p:nvCxnSpPr>
        <p:spPr>
          <a:xfrm>
            <a:off x="7195129" y="1698283"/>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52" name="Straight Connector 351">
            <a:extLst>
              <a:ext uri="{FF2B5EF4-FFF2-40B4-BE49-F238E27FC236}">
                <a16:creationId xmlns:a16="http://schemas.microsoft.com/office/drawing/2014/main" id="{89D62E6E-AA12-470D-B181-8C221B435A64}"/>
              </a:ext>
            </a:extLst>
          </p:cNvPr>
          <p:cNvCxnSpPr>
            <a:cxnSpLocks/>
          </p:cNvCxnSpPr>
          <p:nvPr/>
        </p:nvCxnSpPr>
        <p:spPr>
          <a:xfrm flipH="1">
            <a:off x="4775542" y="1697911"/>
            <a:ext cx="2436497"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57" name="Straight Connector 356">
            <a:extLst>
              <a:ext uri="{FF2B5EF4-FFF2-40B4-BE49-F238E27FC236}">
                <a16:creationId xmlns:a16="http://schemas.microsoft.com/office/drawing/2014/main" id="{A39ECA12-C7E8-4559-BF94-CC1261EE57DD}"/>
              </a:ext>
            </a:extLst>
          </p:cNvPr>
          <p:cNvCxnSpPr>
            <a:cxnSpLocks/>
          </p:cNvCxnSpPr>
          <p:nvPr/>
        </p:nvCxnSpPr>
        <p:spPr>
          <a:xfrm>
            <a:off x="4775542" y="1697911"/>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58" name="Straight Connector 357">
            <a:extLst>
              <a:ext uri="{FF2B5EF4-FFF2-40B4-BE49-F238E27FC236}">
                <a16:creationId xmlns:a16="http://schemas.microsoft.com/office/drawing/2014/main" id="{AFCFAD35-3739-43D9-ACF5-65DF8C5FE127}"/>
              </a:ext>
            </a:extLst>
          </p:cNvPr>
          <p:cNvCxnSpPr>
            <a:cxnSpLocks/>
          </p:cNvCxnSpPr>
          <p:nvPr/>
        </p:nvCxnSpPr>
        <p:spPr>
          <a:xfrm flipH="1">
            <a:off x="4775543" y="4070175"/>
            <a:ext cx="2449969" cy="372"/>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62" name="Straight Arrow Connector 361">
            <a:extLst>
              <a:ext uri="{FF2B5EF4-FFF2-40B4-BE49-F238E27FC236}">
                <a16:creationId xmlns:a16="http://schemas.microsoft.com/office/drawing/2014/main" id="{A789B21B-2627-491A-B123-46332B1DDFB6}"/>
              </a:ext>
            </a:extLst>
          </p:cNvPr>
          <p:cNvCxnSpPr>
            <a:cxnSpLocks/>
          </p:cNvCxnSpPr>
          <p:nvPr/>
        </p:nvCxnSpPr>
        <p:spPr>
          <a:xfrm>
            <a:off x="6000527" y="4092676"/>
            <a:ext cx="0" cy="271043"/>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363" name="Rectangle: Rounded Corners 362">
            <a:extLst>
              <a:ext uri="{FF2B5EF4-FFF2-40B4-BE49-F238E27FC236}">
                <a16:creationId xmlns:a16="http://schemas.microsoft.com/office/drawing/2014/main" id="{2FF96C59-EC69-4DEA-8990-97F043F1BF9F}"/>
              </a:ext>
            </a:extLst>
          </p:cNvPr>
          <p:cNvSpPr/>
          <p:nvPr/>
        </p:nvSpPr>
        <p:spPr>
          <a:xfrm>
            <a:off x="5487179" y="4380672"/>
            <a:ext cx="1026695" cy="385010"/>
          </a:xfrm>
          <a:prstGeom prst="roundRect">
            <a:avLst>
              <a:gd name="adj" fmla="val 50000"/>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err="1">
                <a:latin typeface="Times New Roman" panose="02020603050405020304" pitchFamily="18" charset="0"/>
                <a:cs typeface="Times New Roman" panose="02020603050405020304" pitchFamily="18" charset="0"/>
              </a:rPr>
              <a:t>Khóa</a:t>
            </a:r>
            <a:endParaRPr lang="en-US" dirty="0">
              <a:latin typeface="Times New Roman" panose="02020603050405020304" pitchFamily="18" charset="0"/>
              <a:cs typeface="Times New Roman" panose="02020603050405020304" pitchFamily="18" charset="0"/>
            </a:endParaRPr>
          </a:p>
        </p:txBody>
      </p:sp>
      <p:cxnSp>
        <p:nvCxnSpPr>
          <p:cNvPr id="365" name="Straight Connector 364">
            <a:extLst>
              <a:ext uri="{FF2B5EF4-FFF2-40B4-BE49-F238E27FC236}">
                <a16:creationId xmlns:a16="http://schemas.microsoft.com/office/drawing/2014/main" id="{21A79475-39DE-46B2-830D-A656E7A885CA}"/>
              </a:ext>
            </a:extLst>
          </p:cNvPr>
          <p:cNvCxnSpPr>
            <a:cxnSpLocks/>
          </p:cNvCxnSpPr>
          <p:nvPr/>
        </p:nvCxnSpPr>
        <p:spPr>
          <a:xfrm>
            <a:off x="3292508" y="1740047"/>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66" name="Straight Connector 365">
            <a:extLst>
              <a:ext uri="{FF2B5EF4-FFF2-40B4-BE49-F238E27FC236}">
                <a16:creationId xmlns:a16="http://schemas.microsoft.com/office/drawing/2014/main" id="{B7F98532-8347-414A-9C2B-32EE55E5BC73}"/>
              </a:ext>
            </a:extLst>
          </p:cNvPr>
          <p:cNvCxnSpPr>
            <a:cxnSpLocks/>
          </p:cNvCxnSpPr>
          <p:nvPr/>
        </p:nvCxnSpPr>
        <p:spPr>
          <a:xfrm flipH="1">
            <a:off x="3259137" y="1722266"/>
            <a:ext cx="1556168"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69" name="Straight Connector 368">
            <a:extLst>
              <a:ext uri="{FF2B5EF4-FFF2-40B4-BE49-F238E27FC236}">
                <a16:creationId xmlns:a16="http://schemas.microsoft.com/office/drawing/2014/main" id="{7EC5B89C-8C9C-4517-A055-6B3C1E787162}"/>
              </a:ext>
            </a:extLst>
          </p:cNvPr>
          <p:cNvCxnSpPr>
            <a:cxnSpLocks/>
          </p:cNvCxnSpPr>
          <p:nvPr/>
        </p:nvCxnSpPr>
        <p:spPr>
          <a:xfrm>
            <a:off x="4775542" y="1720412"/>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70" name="Straight Connector 369">
            <a:extLst>
              <a:ext uri="{FF2B5EF4-FFF2-40B4-BE49-F238E27FC236}">
                <a16:creationId xmlns:a16="http://schemas.microsoft.com/office/drawing/2014/main" id="{E27A8592-EE64-4B24-BBC7-A3B6A0D7B412}"/>
              </a:ext>
            </a:extLst>
          </p:cNvPr>
          <p:cNvCxnSpPr>
            <a:cxnSpLocks/>
          </p:cNvCxnSpPr>
          <p:nvPr/>
        </p:nvCxnSpPr>
        <p:spPr>
          <a:xfrm>
            <a:off x="3292508" y="4088340"/>
            <a:ext cx="1483034"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73" name="Straight Arrow Connector 372">
            <a:extLst>
              <a:ext uri="{FF2B5EF4-FFF2-40B4-BE49-F238E27FC236}">
                <a16:creationId xmlns:a16="http://schemas.microsoft.com/office/drawing/2014/main" id="{8331B6E2-582A-46FF-86A1-8E8002A7E1C6}"/>
              </a:ext>
            </a:extLst>
          </p:cNvPr>
          <p:cNvCxnSpPr>
            <a:cxnSpLocks/>
          </p:cNvCxnSpPr>
          <p:nvPr/>
        </p:nvCxnSpPr>
        <p:spPr>
          <a:xfrm>
            <a:off x="4132634" y="4088340"/>
            <a:ext cx="0" cy="271043"/>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374" name="Rectangle: Rounded Corners 373">
            <a:extLst>
              <a:ext uri="{FF2B5EF4-FFF2-40B4-BE49-F238E27FC236}">
                <a16:creationId xmlns:a16="http://schemas.microsoft.com/office/drawing/2014/main" id="{B95265C9-D43A-4022-8B1A-972D6A732984}"/>
              </a:ext>
            </a:extLst>
          </p:cNvPr>
          <p:cNvSpPr/>
          <p:nvPr/>
        </p:nvSpPr>
        <p:spPr>
          <a:xfrm>
            <a:off x="3542615" y="4389059"/>
            <a:ext cx="1026695" cy="385010"/>
          </a:xfrm>
          <a:prstGeom prst="roundRect">
            <a:avLst>
              <a:gd name="adj" fmla="val 50000"/>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err="1">
                <a:latin typeface="Times New Roman" panose="02020603050405020304" pitchFamily="18" charset="0"/>
                <a:cs typeface="Times New Roman" panose="02020603050405020304" pitchFamily="18" charset="0"/>
              </a:rPr>
              <a:t>Khóa</a:t>
            </a:r>
            <a:endParaRPr lang="en-US" dirty="0">
              <a:latin typeface="Times New Roman" panose="02020603050405020304" pitchFamily="18" charset="0"/>
              <a:cs typeface="Times New Roman" panose="02020603050405020304" pitchFamily="18" charset="0"/>
            </a:endParaRPr>
          </a:p>
        </p:txBody>
      </p:sp>
      <p:cxnSp>
        <p:nvCxnSpPr>
          <p:cNvPr id="375" name="Straight Connector 374">
            <a:extLst>
              <a:ext uri="{FF2B5EF4-FFF2-40B4-BE49-F238E27FC236}">
                <a16:creationId xmlns:a16="http://schemas.microsoft.com/office/drawing/2014/main" id="{9271A65E-94E3-426D-97E8-FCCCCBF5A32F}"/>
              </a:ext>
            </a:extLst>
          </p:cNvPr>
          <p:cNvCxnSpPr>
            <a:cxnSpLocks/>
          </p:cNvCxnSpPr>
          <p:nvPr/>
        </p:nvCxnSpPr>
        <p:spPr>
          <a:xfrm>
            <a:off x="3955468" y="1720412"/>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76" name="Straight Connector 375">
            <a:extLst>
              <a:ext uri="{FF2B5EF4-FFF2-40B4-BE49-F238E27FC236}">
                <a16:creationId xmlns:a16="http://schemas.microsoft.com/office/drawing/2014/main" id="{384ABDD3-D263-4453-829E-907B75937D02}"/>
              </a:ext>
            </a:extLst>
          </p:cNvPr>
          <p:cNvCxnSpPr>
            <a:cxnSpLocks/>
          </p:cNvCxnSpPr>
          <p:nvPr/>
        </p:nvCxnSpPr>
        <p:spPr>
          <a:xfrm>
            <a:off x="7195129" y="1707727"/>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77" name="Straight Connector 376">
            <a:extLst>
              <a:ext uri="{FF2B5EF4-FFF2-40B4-BE49-F238E27FC236}">
                <a16:creationId xmlns:a16="http://schemas.microsoft.com/office/drawing/2014/main" id="{75548892-FA0E-4320-83CC-BD6D7C4004E7}"/>
              </a:ext>
            </a:extLst>
          </p:cNvPr>
          <p:cNvCxnSpPr>
            <a:cxnSpLocks/>
          </p:cNvCxnSpPr>
          <p:nvPr/>
        </p:nvCxnSpPr>
        <p:spPr>
          <a:xfrm flipH="1">
            <a:off x="3920173" y="1720412"/>
            <a:ext cx="3305339"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79" name="Straight Connector 378">
            <a:extLst>
              <a:ext uri="{FF2B5EF4-FFF2-40B4-BE49-F238E27FC236}">
                <a16:creationId xmlns:a16="http://schemas.microsoft.com/office/drawing/2014/main" id="{C6B9C72D-14E0-4834-A036-F0785B972E2F}"/>
              </a:ext>
            </a:extLst>
          </p:cNvPr>
          <p:cNvCxnSpPr>
            <a:cxnSpLocks/>
          </p:cNvCxnSpPr>
          <p:nvPr/>
        </p:nvCxnSpPr>
        <p:spPr>
          <a:xfrm flipH="1">
            <a:off x="3941995" y="4070175"/>
            <a:ext cx="3258401"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82" name="Straight Arrow Connector 381">
            <a:extLst>
              <a:ext uri="{FF2B5EF4-FFF2-40B4-BE49-F238E27FC236}">
                <a16:creationId xmlns:a16="http://schemas.microsoft.com/office/drawing/2014/main" id="{DF963757-7412-42A2-BD46-003777EFE78E}"/>
              </a:ext>
            </a:extLst>
          </p:cNvPr>
          <p:cNvCxnSpPr>
            <a:cxnSpLocks/>
          </p:cNvCxnSpPr>
          <p:nvPr/>
        </p:nvCxnSpPr>
        <p:spPr>
          <a:xfrm>
            <a:off x="5277605" y="4118016"/>
            <a:ext cx="0" cy="271043"/>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383" name="Rectangle: Rounded Corners 382">
            <a:extLst>
              <a:ext uri="{FF2B5EF4-FFF2-40B4-BE49-F238E27FC236}">
                <a16:creationId xmlns:a16="http://schemas.microsoft.com/office/drawing/2014/main" id="{AB84B8E0-1959-4DEB-8271-E40B623B556F}"/>
              </a:ext>
            </a:extLst>
          </p:cNvPr>
          <p:cNvSpPr/>
          <p:nvPr/>
        </p:nvSpPr>
        <p:spPr>
          <a:xfrm>
            <a:off x="4763279" y="4397625"/>
            <a:ext cx="1026695" cy="385010"/>
          </a:xfrm>
          <a:prstGeom prst="roundRect">
            <a:avLst>
              <a:gd name="adj" fmla="val 50000"/>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err="1">
                <a:latin typeface="Times New Roman" panose="02020603050405020304" pitchFamily="18" charset="0"/>
                <a:cs typeface="Times New Roman" panose="02020603050405020304" pitchFamily="18" charset="0"/>
              </a:rPr>
              <a:t>Khóa</a:t>
            </a:r>
            <a:endParaRPr lang="en-US" dirty="0">
              <a:latin typeface="Times New Roman" panose="02020603050405020304" pitchFamily="18" charset="0"/>
              <a:cs typeface="Times New Roman" panose="02020603050405020304" pitchFamily="18" charset="0"/>
            </a:endParaRPr>
          </a:p>
        </p:txBody>
      </p:sp>
      <p:cxnSp>
        <p:nvCxnSpPr>
          <p:cNvPr id="384" name="Straight Connector 383">
            <a:extLst>
              <a:ext uri="{FF2B5EF4-FFF2-40B4-BE49-F238E27FC236}">
                <a16:creationId xmlns:a16="http://schemas.microsoft.com/office/drawing/2014/main" id="{4C5BA7DB-4D92-40BE-B84B-3E40AC89452D}"/>
              </a:ext>
            </a:extLst>
          </p:cNvPr>
          <p:cNvCxnSpPr>
            <a:cxnSpLocks/>
          </p:cNvCxnSpPr>
          <p:nvPr/>
        </p:nvCxnSpPr>
        <p:spPr>
          <a:xfrm>
            <a:off x="3292508" y="1716076"/>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85" name="Straight Connector 384">
            <a:extLst>
              <a:ext uri="{FF2B5EF4-FFF2-40B4-BE49-F238E27FC236}">
                <a16:creationId xmlns:a16="http://schemas.microsoft.com/office/drawing/2014/main" id="{EAE23EAA-0101-443C-97FD-7E668F39D551}"/>
              </a:ext>
            </a:extLst>
          </p:cNvPr>
          <p:cNvCxnSpPr>
            <a:cxnSpLocks/>
          </p:cNvCxnSpPr>
          <p:nvPr/>
        </p:nvCxnSpPr>
        <p:spPr>
          <a:xfrm flipH="1">
            <a:off x="3259138" y="1740047"/>
            <a:ext cx="3952901" cy="0"/>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88" name="Straight Connector 387">
            <a:extLst>
              <a:ext uri="{FF2B5EF4-FFF2-40B4-BE49-F238E27FC236}">
                <a16:creationId xmlns:a16="http://schemas.microsoft.com/office/drawing/2014/main" id="{6906977A-9B8F-4EF6-93A4-2B932CC6B345}"/>
              </a:ext>
            </a:extLst>
          </p:cNvPr>
          <p:cNvCxnSpPr>
            <a:cxnSpLocks/>
          </p:cNvCxnSpPr>
          <p:nvPr/>
        </p:nvCxnSpPr>
        <p:spPr>
          <a:xfrm>
            <a:off x="7201000" y="1707727"/>
            <a:ext cx="0" cy="2372264"/>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89" name="Straight Connector 388">
            <a:extLst>
              <a:ext uri="{FF2B5EF4-FFF2-40B4-BE49-F238E27FC236}">
                <a16:creationId xmlns:a16="http://schemas.microsoft.com/office/drawing/2014/main" id="{5B06C10C-39F0-483E-9BEB-94FA2C7CB3C0}"/>
              </a:ext>
            </a:extLst>
          </p:cNvPr>
          <p:cNvCxnSpPr>
            <a:cxnSpLocks/>
          </p:cNvCxnSpPr>
          <p:nvPr/>
        </p:nvCxnSpPr>
        <p:spPr>
          <a:xfrm flipH="1" flipV="1">
            <a:off x="3264258" y="4088340"/>
            <a:ext cx="3936138" cy="23971"/>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92" name="Straight Arrow Connector 391">
            <a:extLst>
              <a:ext uri="{FF2B5EF4-FFF2-40B4-BE49-F238E27FC236}">
                <a16:creationId xmlns:a16="http://schemas.microsoft.com/office/drawing/2014/main" id="{5DCFC29F-8D67-494B-8A8B-AC0260FBB582}"/>
              </a:ext>
            </a:extLst>
          </p:cNvPr>
          <p:cNvCxnSpPr>
            <a:cxnSpLocks/>
          </p:cNvCxnSpPr>
          <p:nvPr/>
        </p:nvCxnSpPr>
        <p:spPr>
          <a:xfrm>
            <a:off x="4769947" y="4109629"/>
            <a:ext cx="0" cy="271043"/>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pic>
        <p:nvPicPr>
          <p:cNvPr id="309" name="Picture 308">
            <a:extLst>
              <a:ext uri="{FF2B5EF4-FFF2-40B4-BE49-F238E27FC236}">
                <a16:creationId xmlns:a16="http://schemas.microsoft.com/office/drawing/2014/main" id="{5285425E-28A2-4083-83DF-AE7EF3365655}"/>
              </a:ext>
            </a:extLst>
          </p:cNvPr>
          <p:cNvPicPr>
            <a:picLocks noChangeAspect="1"/>
          </p:cNvPicPr>
          <p:nvPr/>
        </p:nvPicPr>
        <p:blipFill>
          <a:blip r:embed="rId4"/>
          <a:stretch>
            <a:fillRect/>
          </a:stretch>
        </p:blipFill>
        <p:spPr>
          <a:xfrm>
            <a:off x="4170470" y="4351239"/>
            <a:ext cx="1121761" cy="499915"/>
          </a:xfrm>
          <a:prstGeom prst="rect">
            <a:avLst/>
          </a:prstGeom>
        </p:spPr>
      </p:pic>
      <p:pic>
        <p:nvPicPr>
          <p:cNvPr id="310" name="Picture 309">
            <a:extLst>
              <a:ext uri="{FF2B5EF4-FFF2-40B4-BE49-F238E27FC236}">
                <a16:creationId xmlns:a16="http://schemas.microsoft.com/office/drawing/2014/main" id="{9D54619A-EA04-4BAC-A6C8-64D68905F357}"/>
              </a:ext>
            </a:extLst>
          </p:cNvPr>
          <p:cNvPicPr>
            <a:picLocks noChangeAspect="1"/>
          </p:cNvPicPr>
          <p:nvPr/>
        </p:nvPicPr>
        <p:blipFill>
          <a:blip r:embed="rId5"/>
          <a:stretch>
            <a:fillRect/>
          </a:stretch>
        </p:blipFill>
        <p:spPr>
          <a:xfrm>
            <a:off x="3219655" y="1691632"/>
            <a:ext cx="109738" cy="2469094"/>
          </a:xfrm>
          <a:prstGeom prst="rect">
            <a:avLst/>
          </a:prstGeom>
        </p:spPr>
      </p:pic>
      <p:pic>
        <p:nvPicPr>
          <p:cNvPr id="395" name="Picture 394">
            <a:extLst>
              <a:ext uri="{FF2B5EF4-FFF2-40B4-BE49-F238E27FC236}">
                <a16:creationId xmlns:a16="http://schemas.microsoft.com/office/drawing/2014/main" id="{5987CF46-2443-4D5C-B5A1-32540691364E}"/>
              </a:ext>
            </a:extLst>
          </p:cNvPr>
          <p:cNvPicPr>
            <a:picLocks noChangeAspect="1"/>
          </p:cNvPicPr>
          <p:nvPr/>
        </p:nvPicPr>
        <p:blipFill>
          <a:blip r:embed="rId5"/>
          <a:stretch>
            <a:fillRect/>
          </a:stretch>
        </p:blipFill>
        <p:spPr>
          <a:xfrm>
            <a:off x="3906169" y="1672893"/>
            <a:ext cx="109738" cy="2469094"/>
          </a:xfrm>
          <a:prstGeom prst="rect">
            <a:avLst/>
          </a:prstGeom>
        </p:spPr>
      </p:pic>
      <p:cxnSp>
        <p:nvCxnSpPr>
          <p:cNvPr id="397" name="Straight Connector 396">
            <a:extLst>
              <a:ext uri="{FF2B5EF4-FFF2-40B4-BE49-F238E27FC236}">
                <a16:creationId xmlns:a16="http://schemas.microsoft.com/office/drawing/2014/main" id="{FB4E93A4-36B6-4F34-9E87-C44D94DD90B6}"/>
              </a:ext>
            </a:extLst>
          </p:cNvPr>
          <p:cNvCxnSpPr>
            <a:cxnSpLocks/>
          </p:cNvCxnSpPr>
          <p:nvPr/>
        </p:nvCxnSpPr>
        <p:spPr>
          <a:xfrm flipH="1">
            <a:off x="3329393" y="1707727"/>
            <a:ext cx="586323" cy="8349"/>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399" name="Straight Connector 398">
            <a:extLst>
              <a:ext uri="{FF2B5EF4-FFF2-40B4-BE49-F238E27FC236}">
                <a16:creationId xmlns:a16="http://schemas.microsoft.com/office/drawing/2014/main" id="{8D8A3960-357F-4543-8C11-263B9D03B970}"/>
              </a:ext>
            </a:extLst>
          </p:cNvPr>
          <p:cNvCxnSpPr>
            <a:cxnSpLocks/>
          </p:cNvCxnSpPr>
          <p:nvPr/>
        </p:nvCxnSpPr>
        <p:spPr>
          <a:xfrm flipH="1">
            <a:off x="3309392" y="4083400"/>
            <a:ext cx="616779" cy="3572"/>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cxnSp>
        <p:nvCxnSpPr>
          <p:cNvPr id="400" name="Straight Arrow Connector 399">
            <a:extLst>
              <a:ext uri="{FF2B5EF4-FFF2-40B4-BE49-F238E27FC236}">
                <a16:creationId xmlns:a16="http://schemas.microsoft.com/office/drawing/2014/main" id="{32557969-2E41-44AA-A4A8-97EE39F643AB}"/>
              </a:ext>
            </a:extLst>
          </p:cNvPr>
          <p:cNvCxnSpPr>
            <a:cxnSpLocks/>
          </p:cNvCxnSpPr>
          <p:nvPr/>
        </p:nvCxnSpPr>
        <p:spPr>
          <a:xfrm flipH="1">
            <a:off x="2400282" y="2902208"/>
            <a:ext cx="819373"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403" name="Rectangle: Rounded Corners 402">
            <a:extLst>
              <a:ext uri="{FF2B5EF4-FFF2-40B4-BE49-F238E27FC236}">
                <a16:creationId xmlns:a16="http://schemas.microsoft.com/office/drawing/2014/main" id="{6B9BB442-B44C-49FA-AAEE-7FF34224B056}"/>
              </a:ext>
            </a:extLst>
          </p:cNvPr>
          <p:cNvSpPr/>
          <p:nvPr/>
        </p:nvSpPr>
        <p:spPr>
          <a:xfrm>
            <a:off x="1339303" y="2691538"/>
            <a:ext cx="1026695" cy="385010"/>
          </a:xfrm>
          <a:prstGeom prst="roundRect">
            <a:avLst>
              <a:gd name="adj" fmla="val 50000"/>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err="1" smtClean="0">
                <a:latin typeface="Times New Roman" panose="02020603050405020304" pitchFamily="18" charset="0"/>
                <a:cs typeface="Times New Roman" panose="02020603050405020304" pitchFamily="18" charset="0"/>
              </a:rPr>
              <a:t>Khóa</a:t>
            </a:r>
            <a:r>
              <a:rPr lang="vi-VN" dirty="0" smtClean="0">
                <a:latin typeface="Times New Roman" panose="02020603050405020304" pitchFamily="18" charset="0"/>
                <a:cs typeface="Times New Roman" panose="02020603050405020304" pitchFamily="18" charset="0"/>
              </a:rPr>
              <a:t> chính</a:t>
            </a:r>
            <a:endParaRPr lang="en-US" dirty="0">
              <a:latin typeface="Times New Roman" panose="02020603050405020304" pitchFamily="18" charset="0"/>
              <a:cs typeface="Times New Roman" panose="02020603050405020304" pitchFamily="18" charset="0"/>
            </a:endParaRPr>
          </a:p>
        </p:txBody>
      </p:sp>
      <p:grpSp>
        <p:nvGrpSpPr>
          <p:cNvPr id="3" name="Group 2"/>
          <p:cNvGrpSpPr/>
          <p:nvPr/>
        </p:nvGrpSpPr>
        <p:grpSpPr>
          <a:xfrm>
            <a:off x="578835" y="3684724"/>
            <a:ext cx="11551767" cy="861934"/>
            <a:chOff x="1007392" y="7299369"/>
            <a:chExt cx="11551767" cy="861934"/>
          </a:xfrm>
        </p:grpSpPr>
        <p:sp>
          <p:nvSpPr>
            <p:cNvPr id="2" name="Rounded Rectangle 1"/>
            <p:cNvSpPr/>
            <p:nvPr/>
          </p:nvSpPr>
          <p:spPr>
            <a:xfrm>
              <a:off x="1007392" y="7299369"/>
              <a:ext cx="7257840" cy="850817"/>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p:cNvSpPr txBox="1"/>
            <p:nvPr/>
          </p:nvSpPr>
          <p:spPr>
            <a:xfrm flipH="1">
              <a:off x="1007392" y="7330306"/>
              <a:ext cx="11551767" cy="830997"/>
            </a:xfrm>
            <a:prstGeom prst="rect">
              <a:avLst/>
            </a:prstGeom>
            <a:noFill/>
          </p:spPr>
          <p:txBody>
            <a:bodyPr wrap="square" rtlCol="0">
              <a:spAutoFit/>
            </a:bodyPr>
            <a:lstStyle/>
            <a:p>
              <a:r>
                <a:rPr lang="vi-VN" sz="2400" dirty="0" smtClean="0">
                  <a:latin typeface="Times New Roman" panose="02020603050405020304" pitchFamily="18" charset="0"/>
                  <a:cs typeface="Times New Roman" panose="02020603050405020304" pitchFamily="18" charset="0"/>
                </a:rPr>
                <a:t>-Khóa chính: có thể chọn một khóa nào đó trong bảng làm </a:t>
              </a:r>
            </a:p>
            <a:p>
              <a:r>
                <a:rPr lang="vi-VN" sz="2400" dirty="0" smtClean="0">
                  <a:latin typeface="Times New Roman" panose="02020603050405020304" pitchFamily="18" charset="0"/>
                  <a:cs typeface="Times New Roman" panose="02020603050405020304" pitchFamily="18" charset="0"/>
                </a:rPr>
                <a:t>khóa chính, thường sẽ chọn khóa có số trường ít nhất.</a:t>
              </a:r>
              <a:endParaRPr lang="en-US" sz="2400" dirty="0">
                <a:latin typeface="Times New Roman" panose="02020603050405020304" pitchFamily="18" charset="0"/>
                <a:cs typeface="Times New Roman" panose="02020603050405020304" pitchFamily="18" charset="0"/>
              </a:endParaRPr>
            </a:p>
          </p:txBody>
        </p:sp>
      </p:grpSp>
      <p:grpSp>
        <p:nvGrpSpPr>
          <p:cNvPr id="6" name="Group 5"/>
          <p:cNvGrpSpPr/>
          <p:nvPr/>
        </p:nvGrpSpPr>
        <p:grpSpPr>
          <a:xfrm>
            <a:off x="474820" y="1866507"/>
            <a:ext cx="8020544" cy="1415772"/>
            <a:chOff x="724568" y="5292244"/>
            <a:chExt cx="8020544" cy="1415772"/>
          </a:xfrm>
        </p:grpSpPr>
        <p:sp>
          <p:nvSpPr>
            <p:cNvPr id="58" name="Rounded Rectangle 57"/>
            <p:cNvSpPr/>
            <p:nvPr/>
          </p:nvSpPr>
          <p:spPr>
            <a:xfrm>
              <a:off x="724568" y="5304499"/>
              <a:ext cx="7823487" cy="122230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p:cNvSpPr txBox="1"/>
            <p:nvPr/>
          </p:nvSpPr>
          <p:spPr>
            <a:xfrm>
              <a:off x="829162" y="5292244"/>
              <a:ext cx="7915950" cy="1415772"/>
            </a:xfrm>
            <a:prstGeom prst="rect">
              <a:avLst/>
            </a:prstGeom>
            <a:noFill/>
          </p:spPr>
          <p:txBody>
            <a:bodyPr wrap="none" rtlCol="0">
              <a:spAutoFit/>
            </a:bodyPr>
            <a:lstStyle/>
            <a:p>
              <a:r>
                <a:rPr lang="vi-VN" sz="2400" dirty="0" smtClean="0">
                  <a:latin typeface="Times New Roman" panose="02020603050405020304" pitchFamily="18" charset="0"/>
                  <a:cs typeface="Times New Roman" panose="02020603050405020304" pitchFamily="18" charset="0"/>
                </a:rPr>
                <a:t>-Khóa: </a:t>
              </a:r>
              <a:r>
                <a:rPr lang="vi-VN" sz="2400" dirty="0">
                  <a:latin typeface="Times New Roman" panose="02020603050405020304" pitchFamily="18" charset="0"/>
                  <a:cs typeface="Times New Roman" panose="02020603050405020304" pitchFamily="18" charset="0"/>
                </a:rPr>
                <a:t>Một hay một nhóm trường mà các giá trị của chúng tại </a:t>
              </a:r>
              <a:endParaRPr lang="vi-VN" sz="2400" dirty="0" smtClean="0">
                <a:latin typeface="Times New Roman" panose="02020603050405020304" pitchFamily="18" charset="0"/>
                <a:cs typeface="Times New Roman" panose="02020603050405020304" pitchFamily="18" charset="0"/>
              </a:endParaRPr>
            </a:p>
            <a:p>
              <a:r>
                <a:rPr lang="vi-VN" sz="2400" dirty="0" smtClean="0">
                  <a:latin typeface="Times New Roman" panose="02020603050405020304" pitchFamily="18" charset="0"/>
                  <a:cs typeface="Times New Roman" panose="02020603050405020304" pitchFamily="18" charset="0"/>
                </a:rPr>
                <a:t>các </a:t>
              </a:r>
              <a:r>
                <a:rPr lang="vi-VN" sz="2400" dirty="0">
                  <a:latin typeface="Times New Roman" panose="02020603050405020304" pitchFamily="18" charset="0"/>
                  <a:cs typeface="Times New Roman" panose="02020603050405020304" pitchFamily="18" charset="0"/>
                </a:rPr>
                <a:t>bản ghi, </a:t>
              </a:r>
              <a:r>
                <a:rPr lang="vi-VN" sz="2400" dirty="0" smtClean="0">
                  <a:latin typeface="Times New Roman" panose="02020603050405020304" pitchFamily="18" charset="0"/>
                  <a:cs typeface="Times New Roman" panose="02020603050405020304" pitchFamily="18" charset="0"/>
                </a:rPr>
                <a:t>xác định </a:t>
              </a:r>
              <a:r>
                <a:rPr lang="vi-VN" sz="2400" dirty="0">
                  <a:latin typeface="Times New Roman" panose="02020603050405020304" pitchFamily="18" charset="0"/>
                  <a:cs typeface="Times New Roman" panose="02020603050405020304" pitchFamily="18" charset="0"/>
                </a:rPr>
                <a:t>duy nhất của một </a:t>
              </a:r>
              <a:r>
                <a:rPr lang="vi-VN" sz="2400" dirty="0" smtClean="0">
                  <a:latin typeface="Times New Roman" panose="02020603050405020304" pitchFamily="18" charset="0"/>
                  <a:cs typeface="Times New Roman" panose="02020603050405020304" pitchFamily="18" charset="0"/>
                </a:rPr>
                <a:t>bản ghi, cho phép </a:t>
              </a:r>
            </a:p>
            <a:p>
              <a:r>
                <a:rPr lang="vi-VN" sz="2400" dirty="0" smtClean="0">
                  <a:latin typeface="Times New Roman" panose="02020603050405020304" pitchFamily="18" charset="0"/>
                  <a:cs typeface="Times New Roman" panose="02020603050405020304" pitchFamily="18" charset="0"/>
                </a:rPr>
                <a:t>phân biệt các bản ghi của bảng.</a:t>
              </a:r>
              <a:endParaRPr lang="vi-VN" sz="2400"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grpSp>
      <p:sp>
        <p:nvSpPr>
          <p:cNvPr id="4" name="TextBox 3"/>
          <p:cNvSpPr txBox="1"/>
          <p:nvPr/>
        </p:nvSpPr>
        <p:spPr>
          <a:xfrm>
            <a:off x="578835" y="959762"/>
            <a:ext cx="2100255" cy="707886"/>
          </a:xfrm>
          <a:prstGeom prst="rect">
            <a:avLst/>
          </a:prstGeom>
          <a:noFill/>
        </p:spPr>
        <p:txBody>
          <a:bodyPr wrap="none" rtlCol="0">
            <a:spAutoFit/>
          </a:bodyPr>
          <a:lstStyle/>
          <a:p>
            <a:r>
              <a:rPr lang="vi-VN" sz="4000" dirty="0" smtClean="0">
                <a:latin typeface="Times New Roman" panose="02020603050405020304" pitchFamily="18" charset="0"/>
                <a:cs typeface="Times New Roman" panose="02020603050405020304" pitchFamily="18" charset="0"/>
              </a:rPr>
              <a:t>Như vậy:</a:t>
            </a:r>
            <a:endParaRPr lang="en-US" sz="4000" dirty="0">
              <a:latin typeface="Times New Roman" panose="02020603050405020304" pitchFamily="18" charset="0"/>
              <a:cs typeface="Times New Roman" panose="02020603050405020304" pitchFamily="18" charset="0"/>
            </a:endParaRPr>
          </a:p>
        </p:txBody>
      </p:sp>
      <p:pic>
        <p:nvPicPr>
          <p:cNvPr id="5" name="Picture 4"/>
          <p:cNvPicPr>
            <a:picLocks noChangeAspect="1"/>
          </p:cNvPicPr>
          <p:nvPr/>
        </p:nvPicPr>
        <p:blipFill>
          <a:blip r:embed="rId6"/>
          <a:stretch>
            <a:fillRect/>
          </a:stretch>
        </p:blipFill>
        <p:spPr>
          <a:xfrm>
            <a:off x="315404" y="1157738"/>
            <a:ext cx="499915" cy="335309"/>
          </a:xfrm>
          <a:prstGeom prst="rect">
            <a:avLst/>
          </a:prstGeom>
        </p:spPr>
      </p:pic>
    </p:spTree>
    <p:extLst>
      <p:ext uri="{BB962C8B-B14F-4D97-AF65-F5344CB8AC3E}">
        <p14:creationId xmlns:p14="http://schemas.microsoft.com/office/powerpoint/2010/main" val="319462524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grpId="0" nodeType="clickEffect">
                                  <p:stCondLst>
                                    <p:cond delay="0"/>
                                  </p:stCondLst>
                                  <p:childTnLst>
                                    <p:set>
                                      <p:cBhvr>
                                        <p:cTn id="6" dur="1" fill="hold">
                                          <p:stCondLst>
                                            <p:cond delay="0"/>
                                          </p:stCondLst>
                                        </p:cTn>
                                        <p:tgtEl>
                                          <p:spTgt spid="282"/>
                                        </p:tgtEl>
                                        <p:attrNameLst>
                                          <p:attrName>style.visibility</p:attrName>
                                        </p:attrNameLst>
                                      </p:cBhvr>
                                      <p:to>
                                        <p:strVal val="visible"/>
                                      </p:to>
                                    </p:set>
                                    <p:anim calcmode="lin" valueType="num">
                                      <p:cBhvr additive="base">
                                        <p:cTn id="7" dur="500" fill="hold"/>
                                        <p:tgtEl>
                                          <p:spTgt spid="282"/>
                                        </p:tgtEl>
                                        <p:attrNameLst>
                                          <p:attrName>ppt_x</p:attrName>
                                        </p:attrNameLst>
                                      </p:cBhvr>
                                      <p:tavLst>
                                        <p:tav tm="0">
                                          <p:val>
                                            <p:strVal val="0-#ppt_w/2"/>
                                          </p:val>
                                        </p:tav>
                                        <p:tav tm="100000">
                                          <p:val>
                                            <p:strVal val="#ppt_x"/>
                                          </p:val>
                                        </p:tav>
                                      </p:tavLst>
                                    </p:anim>
                                    <p:anim calcmode="lin" valueType="num">
                                      <p:cBhvr additive="base">
                                        <p:cTn id="8" dur="500" fill="hold"/>
                                        <p:tgtEl>
                                          <p:spTgt spid="282"/>
                                        </p:tgtEl>
                                        <p:attrNameLst>
                                          <p:attrName>ppt_y</p:attrName>
                                        </p:attrNameLst>
                                      </p:cBhvr>
                                      <p:tavLst>
                                        <p:tav tm="0">
                                          <p:val>
                                            <p:strVal val="0-#ppt_h/2"/>
                                          </p:val>
                                        </p:tav>
                                        <p:tav tm="100000">
                                          <p:val>
                                            <p:strVal val="#ppt_y"/>
                                          </p:val>
                                        </p:tav>
                                      </p:tavLst>
                                    </p:anim>
                                  </p:childTnLst>
                                </p:cTn>
                              </p:par>
                              <p:par>
                                <p:cTn id="9" presetID="2" presetClass="entr" presetSubtype="9" fill="hold" grpId="0" nodeType="withEffect">
                                  <p:stCondLst>
                                    <p:cond delay="0"/>
                                  </p:stCondLst>
                                  <p:childTnLst>
                                    <p:set>
                                      <p:cBhvr>
                                        <p:cTn id="10" dur="1" fill="hold">
                                          <p:stCondLst>
                                            <p:cond delay="0"/>
                                          </p:stCondLst>
                                        </p:cTn>
                                        <p:tgtEl>
                                          <p:spTgt spid="284"/>
                                        </p:tgtEl>
                                        <p:attrNameLst>
                                          <p:attrName>style.visibility</p:attrName>
                                        </p:attrNameLst>
                                      </p:cBhvr>
                                      <p:to>
                                        <p:strVal val="visible"/>
                                      </p:to>
                                    </p:set>
                                    <p:anim calcmode="lin" valueType="num">
                                      <p:cBhvr additive="base">
                                        <p:cTn id="11" dur="500" fill="hold"/>
                                        <p:tgtEl>
                                          <p:spTgt spid="284"/>
                                        </p:tgtEl>
                                        <p:attrNameLst>
                                          <p:attrName>ppt_x</p:attrName>
                                        </p:attrNameLst>
                                      </p:cBhvr>
                                      <p:tavLst>
                                        <p:tav tm="0">
                                          <p:val>
                                            <p:strVal val="0-#ppt_w/2"/>
                                          </p:val>
                                        </p:tav>
                                        <p:tav tm="100000">
                                          <p:val>
                                            <p:strVal val="#ppt_x"/>
                                          </p:val>
                                        </p:tav>
                                      </p:tavLst>
                                    </p:anim>
                                    <p:anim calcmode="lin" valueType="num">
                                      <p:cBhvr additive="base">
                                        <p:cTn id="12" dur="500" fill="hold"/>
                                        <p:tgtEl>
                                          <p:spTgt spid="284"/>
                                        </p:tgtEl>
                                        <p:attrNameLst>
                                          <p:attrName>ppt_y</p:attrName>
                                        </p:attrNameLst>
                                      </p:cBhvr>
                                      <p:tavLst>
                                        <p:tav tm="0">
                                          <p:val>
                                            <p:strVal val="0-#ppt_h/2"/>
                                          </p:val>
                                        </p:tav>
                                        <p:tav tm="100000">
                                          <p:val>
                                            <p:strVal val="#ppt_y"/>
                                          </p:val>
                                        </p:tav>
                                      </p:tavLst>
                                    </p:anim>
                                  </p:childTnLst>
                                </p:cTn>
                              </p:par>
                              <p:par>
                                <p:cTn id="13" presetID="2" presetClass="entr" presetSubtype="9" fill="hold" grpId="0" nodeType="withEffect">
                                  <p:stCondLst>
                                    <p:cond delay="0"/>
                                  </p:stCondLst>
                                  <p:childTnLst>
                                    <p:set>
                                      <p:cBhvr>
                                        <p:cTn id="14" dur="1" fill="hold">
                                          <p:stCondLst>
                                            <p:cond delay="0"/>
                                          </p:stCondLst>
                                        </p:cTn>
                                        <p:tgtEl>
                                          <p:spTgt spid="287"/>
                                        </p:tgtEl>
                                        <p:attrNameLst>
                                          <p:attrName>style.visibility</p:attrName>
                                        </p:attrNameLst>
                                      </p:cBhvr>
                                      <p:to>
                                        <p:strVal val="visible"/>
                                      </p:to>
                                    </p:set>
                                    <p:anim calcmode="lin" valueType="num">
                                      <p:cBhvr additive="base">
                                        <p:cTn id="15" dur="500" fill="hold"/>
                                        <p:tgtEl>
                                          <p:spTgt spid="287"/>
                                        </p:tgtEl>
                                        <p:attrNameLst>
                                          <p:attrName>ppt_x</p:attrName>
                                        </p:attrNameLst>
                                      </p:cBhvr>
                                      <p:tavLst>
                                        <p:tav tm="0">
                                          <p:val>
                                            <p:strVal val="0-#ppt_w/2"/>
                                          </p:val>
                                        </p:tav>
                                        <p:tav tm="100000">
                                          <p:val>
                                            <p:strVal val="#ppt_x"/>
                                          </p:val>
                                        </p:tav>
                                      </p:tavLst>
                                    </p:anim>
                                    <p:anim calcmode="lin" valueType="num">
                                      <p:cBhvr additive="base">
                                        <p:cTn id="16" dur="500" fill="hold"/>
                                        <p:tgtEl>
                                          <p:spTgt spid="287"/>
                                        </p:tgtEl>
                                        <p:attrNameLst>
                                          <p:attrName>ppt_y</p:attrName>
                                        </p:attrNameLst>
                                      </p:cBhvr>
                                      <p:tavLst>
                                        <p:tav tm="0">
                                          <p:val>
                                            <p:strVal val="0-#ppt_h/2"/>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283"/>
                                        </p:tgtEl>
                                        <p:attrNameLst>
                                          <p:attrName>style.visibility</p:attrName>
                                        </p:attrNameLst>
                                      </p:cBhvr>
                                      <p:to>
                                        <p:strVal val="visible"/>
                                      </p:to>
                                    </p:set>
                                    <p:anim calcmode="lin" valueType="num">
                                      <p:cBhvr additive="base">
                                        <p:cTn id="19" dur="500" fill="hold"/>
                                        <p:tgtEl>
                                          <p:spTgt spid="283"/>
                                        </p:tgtEl>
                                        <p:attrNameLst>
                                          <p:attrName>ppt_x</p:attrName>
                                        </p:attrNameLst>
                                      </p:cBhvr>
                                      <p:tavLst>
                                        <p:tav tm="0">
                                          <p:val>
                                            <p:strVal val="1+#ppt_w/2"/>
                                          </p:val>
                                        </p:tav>
                                        <p:tav tm="100000">
                                          <p:val>
                                            <p:strVal val="#ppt_x"/>
                                          </p:val>
                                        </p:tav>
                                      </p:tavLst>
                                    </p:anim>
                                    <p:anim calcmode="lin" valueType="num">
                                      <p:cBhvr additive="base">
                                        <p:cTn id="20" dur="500" fill="hold"/>
                                        <p:tgtEl>
                                          <p:spTgt spid="283"/>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285"/>
                                        </p:tgtEl>
                                        <p:attrNameLst>
                                          <p:attrName>style.visibility</p:attrName>
                                        </p:attrNameLst>
                                      </p:cBhvr>
                                      <p:to>
                                        <p:strVal val="visible"/>
                                      </p:to>
                                    </p:set>
                                    <p:anim calcmode="lin" valueType="num">
                                      <p:cBhvr additive="base">
                                        <p:cTn id="23" dur="500" fill="hold"/>
                                        <p:tgtEl>
                                          <p:spTgt spid="285"/>
                                        </p:tgtEl>
                                        <p:attrNameLst>
                                          <p:attrName>ppt_x</p:attrName>
                                        </p:attrNameLst>
                                      </p:cBhvr>
                                      <p:tavLst>
                                        <p:tav tm="0">
                                          <p:val>
                                            <p:strVal val="1+#ppt_w/2"/>
                                          </p:val>
                                        </p:tav>
                                        <p:tav tm="100000">
                                          <p:val>
                                            <p:strVal val="#ppt_x"/>
                                          </p:val>
                                        </p:tav>
                                      </p:tavLst>
                                    </p:anim>
                                    <p:anim calcmode="lin" valueType="num">
                                      <p:cBhvr additive="base">
                                        <p:cTn id="24" dur="500" fill="hold"/>
                                        <p:tgtEl>
                                          <p:spTgt spid="285"/>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grpId="0" nodeType="clickEffect">
                                  <p:stCondLst>
                                    <p:cond delay="0"/>
                                  </p:stCondLst>
                                  <p:childTnLst>
                                    <p:set>
                                      <p:cBhvr>
                                        <p:cTn id="28" dur="1" fill="hold">
                                          <p:stCondLst>
                                            <p:cond delay="0"/>
                                          </p:stCondLst>
                                        </p:cTn>
                                        <p:tgtEl>
                                          <p:spTgt spid="286"/>
                                        </p:tgtEl>
                                        <p:attrNameLst>
                                          <p:attrName>style.visibility</p:attrName>
                                        </p:attrNameLst>
                                      </p:cBhvr>
                                      <p:to>
                                        <p:strVal val="visible"/>
                                      </p:to>
                                    </p:set>
                                    <p:anim calcmode="lin" valueType="num">
                                      <p:cBhvr additive="base">
                                        <p:cTn id="29" dur="500" fill="hold"/>
                                        <p:tgtEl>
                                          <p:spTgt spid="286"/>
                                        </p:tgtEl>
                                        <p:attrNameLst>
                                          <p:attrName>ppt_x</p:attrName>
                                        </p:attrNameLst>
                                      </p:cBhvr>
                                      <p:tavLst>
                                        <p:tav tm="0">
                                          <p:val>
                                            <p:strVal val="1+#ppt_w/2"/>
                                          </p:val>
                                        </p:tav>
                                        <p:tav tm="100000">
                                          <p:val>
                                            <p:strVal val="#ppt_x"/>
                                          </p:val>
                                        </p:tav>
                                      </p:tavLst>
                                    </p:anim>
                                    <p:anim calcmode="lin" valueType="num">
                                      <p:cBhvr additive="base">
                                        <p:cTn id="30" dur="500" fill="hold"/>
                                        <p:tgtEl>
                                          <p:spTgt spid="286"/>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anim calcmode="lin" valueType="num">
                                      <p:cBhvr>
                                        <p:cTn id="36" dur="500" fill="hold"/>
                                        <p:tgtEl>
                                          <p:spTgt spid="9"/>
                                        </p:tgtEl>
                                        <p:attrNameLst>
                                          <p:attrName>ppt_x</p:attrName>
                                        </p:attrNameLst>
                                      </p:cBhvr>
                                      <p:tavLst>
                                        <p:tav tm="0">
                                          <p:val>
                                            <p:strVal val="#ppt_x"/>
                                          </p:val>
                                        </p:tav>
                                        <p:tav tm="100000">
                                          <p:val>
                                            <p:strVal val="#ppt_x"/>
                                          </p:val>
                                        </p:tav>
                                      </p:tavLst>
                                    </p:anim>
                                    <p:anim calcmode="lin" valueType="num">
                                      <p:cBhvr>
                                        <p:cTn id="37"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barn(inVertical)">
                                      <p:cBhvr>
                                        <p:cTn id="42" dur="500"/>
                                        <p:tgtEl>
                                          <p:spTgt spid="11"/>
                                        </p:tgtEl>
                                      </p:cBhvr>
                                    </p:animEffect>
                                  </p:childTnLst>
                                </p:cTn>
                              </p:par>
                              <p:par>
                                <p:cTn id="43" presetID="16" presetClass="entr" presetSubtype="21" fill="hold" nodeType="withEffect">
                                  <p:stCondLst>
                                    <p:cond delay="0"/>
                                  </p:stCondLst>
                                  <p:childTnLst>
                                    <p:set>
                                      <p:cBhvr>
                                        <p:cTn id="44" dur="1" fill="hold">
                                          <p:stCondLst>
                                            <p:cond delay="0"/>
                                          </p:stCondLst>
                                        </p:cTn>
                                        <p:tgtEl>
                                          <p:spTgt spid="293"/>
                                        </p:tgtEl>
                                        <p:attrNameLst>
                                          <p:attrName>style.visibility</p:attrName>
                                        </p:attrNameLst>
                                      </p:cBhvr>
                                      <p:to>
                                        <p:strVal val="visible"/>
                                      </p:to>
                                    </p:set>
                                    <p:animEffect transition="in" filter="barn(inVertical)">
                                      <p:cBhvr>
                                        <p:cTn id="45" dur="500"/>
                                        <p:tgtEl>
                                          <p:spTgt spid="293"/>
                                        </p:tgtEl>
                                      </p:cBhvr>
                                    </p:animEffect>
                                  </p:childTnLst>
                                </p:cTn>
                              </p:par>
                              <p:par>
                                <p:cTn id="46" presetID="16" presetClass="entr" presetSubtype="21" fill="hold" nodeType="withEffect">
                                  <p:stCondLst>
                                    <p:cond delay="0"/>
                                  </p:stCondLst>
                                  <p:childTnLst>
                                    <p:set>
                                      <p:cBhvr>
                                        <p:cTn id="47" dur="1" fill="hold">
                                          <p:stCondLst>
                                            <p:cond delay="0"/>
                                          </p:stCondLst>
                                        </p:cTn>
                                        <p:tgtEl>
                                          <p:spTgt spid="299"/>
                                        </p:tgtEl>
                                        <p:attrNameLst>
                                          <p:attrName>style.visibility</p:attrName>
                                        </p:attrNameLst>
                                      </p:cBhvr>
                                      <p:to>
                                        <p:strVal val="visible"/>
                                      </p:to>
                                    </p:set>
                                    <p:animEffect transition="in" filter="barn(inVertical)">
                                      <p:cBhvr>
                                        <p:cTn id="48" dur="500"/>
                                        <p:tgtEl>
                                          <p:spTgt spid="299"/>
                                        </p:tgtEl>
                                      </p:cBhvr>
                                    </p:animEffect>
                                  </p:childTnLst>
                                </p:cTn>
                              </p:par>
                              <p:par>
                                <p:cTn id="49" presetID="16" presetClass="entr" presetSubtype="21" fill="hold" nodeType="withEffect">
                                  <p:stCondLst>
                                    <p:cond delay="0"/>
                                  </p:stCondLst>
                                  <p:childTnLst>
                                    <p:set>
                                      <p:cBhvr>
                                        <p:cTn id="50" dur="1" fill="hold">
                                          <p:stCondLst>
                                            <p:cond delay="0"/>
                                          </p:stCondLst>
                                        </p:cTn>
                                        <p:tgtEl>
                                          <p:spTgt spid="301"/>
                                        </p:tgtEl>
                                        <p:attrNameLst>
                                          <p:attrName>style.visibility</p:attrName>
                                        </p:attrNameLst>
                                      </p:cBhvr>
                                      <p:to>
                                        <p:strVal val="visible"/>
                                      </p:to>
                                    </p:set>
                                    <p:animEffect transition="in" filter="barn(inVertical)">
                                      <p:cBhvr>
                                        <p:cTn id="51" dur="500"/>
                                        <p:tgtEl>
                                          <p:spTgt spid="301"/>
                                        </p:tgtEl>
                                      </p:cBhvr>
                                    </p:animEffect>
                                  </p:childTnLst>
                                </p:cTn>
                              </p:par>
                            </p:childTnLst>
                          </p:cTn>
                        </p:par>
                      </p:childTnLst>
                    </p:cTn>
                  </p:par>
                  <p:par>
                    <p:cTn id="52" fill="hold">
                      <p:stCondLst>
                        <p:cond delay="indefinite"/>
                      </p:stCondLst>
                      <p:childTnLst>
                        <p:par>
                          <p:cTn id="53" fill="hold">
                            <p:stCondLst>
                              <p:cond delay="0"/>
                            </p:stCondLst>
                            <p:childTnLst>
                              <p:par>
                                <p:cTn id="54" presetID="16" presetClass="entr" presetSubtype="21" fill="hold" nodeType="clickEffect">
                                  <p:stCondLst>
                                    <p:cond delay="0"/>
                                  </p:stCondLst>
                                  <p:childTnLst>
                                    <p:set>
                                      <p:cBhvr>
                                        <p:cTn id="55" dur="1" fill="hold">
                                          <p:stCondLst>
                                            <p:cond delay="0"/>
                                          </p:stCondLst>
                                        </p:cTn>
                                        <p:tgtEl>
                                          <p:spTgt spid="328"/>
                                        </p:tgtEl>
                                        <p:attrNameLst>
                                          <p:attrName>style.visibility</p:attrName>
                                        </p:attrNameLst>
                                      </p:cBhvr>
                                      <p:to>
                                        <p:strVal val="visible"/>
                                      </p:to>
                                    </p:set>
                                    <p:animEffect transition="in" filter="barn(inVertical)">
                                      <p:cBhvr>
                                        <p:cTn id="56" dur="500"/>
                                        <p:tgtEl>
                                          <p:spTgt spid="328"/>
                                        </p:tgtEl>
                                      </p:cBhvr>
                                    </p:animEffect>
                                  </p:childTnLst>
                                </p:cTn>
                              </p:par>
                              <p:par>
                                <p:cTn id="57" presetID="16" presetClass="entr" presetSubtype="21" fill="hold" nodeType="withEffect">
                                  <p:stCondLst>
                                    <p:cond delay="0"/>
                                  </p:stCondLst>
                                  <p:childTnLst>
                                    <p:set>
                                      <p:cBhvr>
                                        <p:cTn id="58" dur="1" fill="hold">
                                          <p:stCondLst>
                                            <p:cond delay="0"/>
                                          </p:stCondLst>
                                        </p:cTn>
                                        <p:tgtEl>
                                          <p:spTgt spid="325"/>
                                        </p:tgtEl>
                                        <p:attrNameLst>
                                          <p:attrName>style.visibility</p:attrName>
                                        </p:attrNameLst>
                                      </p:cBhvr>
                                      <p:to>
                                        <p:strVal val="visible"/>
                                      </p:to>
                                    </p:set>
                                    <p:animEffect transition="in" filter="barn(inVertical)">
                                      <p:cBhvr>
                                        <p:cTn id="59" dur="500"/>
                                        <p:tgtEl>
                                          <p:spTgt spid="325"/>
                                        </p:tgtEl>
                                      </p:cBhvr>
                                    </p:animEffect>
                                  </p:childTnLst>
                                </p:cTn>
                              </p:par>
                              <p:par>
                                <p:cTn id="60" presetID="16" presetClass="entr" presetSubtype="21" fill="hold" nodeType="withEffect">
                                  <p:stCondLst>
                                    <p:cond delay="0"/>
                                  </p:stCondLst>
                                  <p:childTnLst>
                                    <p:set>
                                      <p:cBhvr>
                                        <p:cTn id="61" dur="1" fill="hold">
                                          <p:stCondLst>
                                            <p:cond delay="0"/>
                                          </p:stCondLst>
                                        </p:cTn>
                                        <p:tgtEl>
                                          <p:spTgt spid="330"/>
                                        </p:tgtEl>
                                        <p:attrNameLst>
                                          <p:attrName>style.visibility</p:attrName>
                                        </p:attrNameLst>
                                      </p:cBhvr>
                                      <p:to>
                                        <p:strVal val="visible"/>
                                      </p:to>
                                    </p:set>
                                    <p:animEffect transition="in" filter="barn(inVertical)">
                                      <p:cBhvr>
                                        <p:cTn id="62" dur="500"/>
                                        <p:tgtEl>
                                          <p:spTgt spid="330"/>
                                        </p:tgtEl>
                                      </p:cBhvr>
                                    </p:animEffect>
                                  </p:childTnLst>
                                </p:cTn>
                              </p:par>
                              <p:par>
                                <p:cTn id="63" presetID="16" presetClass="entr" presetSubtype="21" fill="hold" nodeType="withEffect">
                                  <p:stCondLst>
                                    <p:cond delay="0"/>
                                  </p:stCondLst>
                                  <p:childTnLst>
                                    <p:set>
                                      <p:cBhvr>
                                        <p:cTn id="64" dur="1" fill="hold">
                                          <p:stCondLst>
                                            <p:cond delay="0"/>
                                          </p:stCondLst>
                                        </p:cTn>
                                        <p:tgtEl>
                                          <p:spTgt spid="322"/>
                                        </p:tgtEl>
                                        <p:attrNameLst>
                                          <p:attrName>style.visibility</p:attrName>
                                        </p:attrNameLst>
                                      </p:cBhvr>
                                      <p:to>
                                        <p:strVal val="visible"/>
                                      </p:to>
                                    </p:set>
                                    <p:animEffect transition="in" filter="barn(inVertical)">
                                      <p:cBhvr>
                                        <p:cTn id="65" dur="500"/>
                                        <p:tgtEl>
                                          <p:spTgt spid="32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nodeType="clickEffect">
                                  <p:stCondLst>
                                    <p:cond delay="0"/>
                                  </p:stCondLst>
                                  <p:childTnLst>
                                    <p:animEffect transition="out" filter="fade">
                                      <p:cBhvr>
                                        <p:cTn id="69" dur="500"/>
                                        <p:tgtEl>
                                          <p:spTgt spid="11"/>
                                        </p:tgtEl>
                                      </p:cBhvr>
                                    </p:animEffect>
                                    <p:set>
                                      <p:cBhvr>
                                        <p:cTn id="70" dur="1" fill="hold">
                                          <p:stCondLst>
                                            <p:cond delay="499"/>
                                          </p:stCondLst>
                                        </p:cTn>
                                        <p:tgtEl>
                                          <p:spTgt spid="11"/>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293"/>
                                        </p:tgtEl>
                                      </p:cBhvr>
                                    </p:animEffect>
                                    <p:set>
                                      <p:cBhvr>
                                        <p:cTn id="73" dur="1" fill="hold">
                                          <p:stCondLst>
                                            <p:cond delay="499"/>
                                          </p:stCondLst>
                                        </p:cTn>
                                        <p:tgtEl>
                                          <p:spTgt spid="293"/>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500"/>
                                        <p:tgtEl>
                                          <p:spTgt spid="299"/>
                                        </p:tgtEl>
                                      </p:cBhvr>
                                    </p:animEffect>
                                    <p:set>
                                      <p:cBhvr>
                                        <p:cTn id="76" dur="1" fill="hold">
                                          <p:stCondLst>
                                            <p:cond delay="499"/>
                                          </p:stCondLst>
                                        </p:cTn>
                                        <p:tgtEl>
                                          <p:spTgt spid="299"/>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301"/>
                                        </p:tgtEl>
                                      </p:cBhvr>
                                    </p:animEffect>
                                    <p:set>
                                      <p:cBhvr>
                                        <p:cTn id="79" dur="1" fill="hold">
                                          <p:stCondLst>
                                            <p:cond delay="499"/>
                                          </p:stCondLst>
                                        </p:cTn>
                                        <p:tgtEl>
                                          <p:spTgt spid="301"/>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328"/>
                                        </p:tgtEl>
                                      </p:cBhvr>
                                    </p:animEffect>
                                    <p:set>
                                      <p:cBhvr>
                                        <p:cTn id="82" dur="1" fill="hold">
                                          <p:stCondLst>
                                            <p:cond delay="499"/>
                                          </p:stCondLst>
                                        </p:cTn>
                                        <p:tgtEl>
                                          <p:spTgt spid="328"/>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325"/>
                                        </p:tgtEl>
                                      </p:cBhvr>
                                    </p:animEffect>
                                    <p:set>
                                      <p:cBhvr>
                                        <p:cTn id="85" dur="1" fill="hold">
                                          <p:stCondLst>
                                            <p:cond delay="499"/>
                                          </p:stCondLst>
                                        </p:cTn>
                                        <p:tgtEl>
                                          <p:spTgt spid="325"/>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330"/>
                                        </p:tgtEl>
                                      </p:cBhvr>
                                    </p:animEffect>
                                    <p:set>
                                      <p:cBhvr>
                                        <p:cTn id="88" dur="1" fill="hold">
                                          <p:stCondLst>
                                            <p:cond delay="499"/>
                                          </p:stCondLst>
                                        </p:cTn>
                                        <p:tgtEl>
                                          <p:spTgt spid="330"/>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322"/>
                                        </p:tgtEl>
                                      </p:cBhvr>
                                    </p:animEffect>
                                    <p:set>
                                      <p:cBhvr>
                                        <p:cTn id="91" dur="1" fill="hold">
                                          <p:stCondLst>
                                            <p:cond delay="499"/>
                                          </p:stCondLst>
                                        </p:cTn>
                                        <p:tgtEl>
                                          <p:spTgt spid="322"/>
                                        </p:tgtEl>
                                        <p:attrNameLst>
                                          <p:attrName>style.visibility</p:attrName>
                                        </p:attrNameLst>
                                      </p:cBhvr>
                                      <p:to>
                                        <p:strVal val="hidden"/>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337"/>
                                        </p:tgtEl>
                                        <p:attrNameLst>
                                          <p:attrName>style.visibility</p:attrName>
                                        </p:attrNameLst>
                                      </p:cBhvr>
                                      <p:to>
                                        <p:strVal val="visible"/>
                                      </p:to>
                                    </p:set>
                                    <p:animEffect transition="in" filter="wipe(left)">
                                      <p:cBhvr>
                                        <p:cTn id="96" dur="500"/>
                                        <p:tgtEl>
                                          <p:spTgt spid="337"/>
                                        </p:tgtEl>
                                      </p:cBhvr>
                                    </p:animEffect>
                                  </p:childTnLst>
                                </p:cTn>
                              </p:par>
                              <p:par>
                                <p:cTn id="97" presetID="22" presetClass="entr" presetSubtype="1" fill="hold" nodeType="withEffect">
                                  <p:stCondLst>
                                    <p:cond delay="0"/>
                                  </p:stCondLst>
                                  <p:childTnLst>
                                    <p:set>
                                      <p:cBhvr>
                                        <p:cTn id="98" dur="1" fill="hold">
                                          <p:stCondLst>
                                            <p:cond delay="0"/>
                                          </p:stCondLst>
                                        </p:cTn>
                                        <p:tgtEl>
                                          <p:spTgt spid="336"/>
                                        </p:tgtEl>
                                        <p:attrNameLst>
                                          <p:attrName>style.visibility</p:attrName>
                                        </p:attrNameLst>
                                      </p:cBhvr>
                                      <p:to>
                                        <p:strVal val="visible"/>
                                      </p:to>
                                    </p:set>
                                    <p:animEffect transition="in" filter="wipe(up)">
                                      <p:cBhvr>
                                        <p:cTn id="99" dur="500"/>
                                        <p:tgtEl>
                                          <p:spTgt spid="336"/>
                                        </p:tgtEl>
                                      </p:cBhvr>
                                    </p:animEffect>
                                  </p:childTnLst>
                                </p:cTn>
                              </p:par>
                              <p:par>
                                <p:cTn id="100" presetID="22" presetClass="entr" presetSubtype="2" fill="hold" nodeType="withEffect">
                                  <p:stCondLst>
                                    <p:cond delay="0"/>
                                  </p:stCondLst>
                                  <p:childTnLst>
                                    <p:set>
                                      <p:cBhvr>
                                        <p:cTn id="101" dur="1" fill="hold">
                                          <p:stCondLst>
                                            <p:cond delay="0"/>
                                          </p:stCondLst>
                                        </p:cTn>
                                        <p:tgtEl>
                                          <p:spTgt spid="342"/>
                                        </p:tgtEl>
                                        <p:attrNameLst>
                                          <p:attrName>style.visibility</p:attrName>
                                        </p:attrNameLst>
                                      </p:cBhvr>
                                      <p:to>
                                        <p:strVal val="visible"/>
                                      </p:to>
                                    </p:set>
                                    <p:animEffect transition="in" filter="wipe(right)">
                                      <p:cBhvr>
                                        <p:cTn id="102" dur="500"/>
                                        <p:tgtEl>
                                          <p:spTgt spid="342"/>
                                        </p:tgtEl>
                                      </p:cBhvr>
                                    </p:animEffect>
                                  </p:childTnLst>
                                </p:cTn>
                              </p:par>
                              <p:par>
                                <p:cTn id="103" presetID="22" presetClass="entr" presetSubtype="4" fill="hold" nodeType="withEffect">
                                  <p:stCondLst>
                                    <p:cond delay="0"/>
                                  </p:stCondLst>
                                  <p:childTnLst>
                                    <p:set>
                                      <p:cBhvr>
                                        <p:cTn id="104" dur="1" fill="hold">
                                          <p:stCondLst>
                                            <p:cond delay="0"/>
                                          </p:stCondLst>
                                        </p:cTn>
                                        <p:tgtEl>
                                          <p:spTgt spid="334"/>
                                        </p:tgtEl>
                                        <p:attrNameLst>
                                          <p:attrName>style.visibility</p:attrName>
                                        </p:attrNameLst>
                                      </p:cBhvr>
                                      <p:to>
                                        <p:strVal val="visible"/>
                                      </p:to>
                                    </p:set>
                                    <p:animEffect transition="in" filter="wipe(down)">
                                      <p:cBhvr>
                                        <p:cTn id="105" dur="500"/>
                                        <p:tgtEl>
                                          <p:spTgt spid="334"/>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1" fill="hold" nodeType="clickEffect">
                                  <p:stCondLst>
                                    <p:cond delay="0"/>
                                  </p:stCondLst>
                                  <p:childTnLst>
                                    <p:set>
                                      <p:cBhvr>
                                        <p:cTn id="109" dur="1" fill="hold">
                                          <p:stCondLst>
                                            <p:cond delay="0"/>
                                          </p:stCondLst>
                                        </p:cTn>
                                        <p:tgtEl>
                                          <p:spTgt spid="278"/>
                                        </p:tgtEl>
                                        <p:attrNameLst>
                                          <p:attrName>style.visibility</p:attrName>
                                        </p:attrNameLst>
                                      </p:cBhvr>
                                      <p:to>
                                        <p:strVal val="visible"/>
                                      </p:to>
                                    </p:set>
                                    <p:animEffect transition="in" filter="wipe(up)">
                                      <p:cBhvr>
                                        <p:cTn id="110" dur="500"/>
                                        <p:tgtEl>
                                          <p:spTgt spid="278"/>
                                        </p:tgtEl>
                                      </p:cBhvr>
                                    </p:animEffect>
                                  </p:childTnLst>
                                </p:cTn>
                              </p:par>
                              <p:par>
                                <p:cTn id="111" presetID="2" presetClass="entr" presetSubtype="4" fill="hold" grpId="0" nodeType="withEffect">
                                  <p:stCondLst>
                                    <p:cond delay="0"/>
                                  </p:stCondLst>
                                  <p:childTnLst>
                                    <p:set>
                                      <p:cBhvr>
                                        <p:cTn id="112" dur="1" fill="hold">
                                          <p:stCondLst>
                                            <p:cond delay="0"/>
                                          </p:stCondLst>
                                        </p:cTn>
                                        <p:tgtEl>
                                          <p:spTgt spid="350"/>
                                        </p:tgtEl>
                                        <p:attrNameLst>
                                          <p:attrName>style.visibility</p:attrName>
                                        </p:attrNameLst>
                                      </p:cBhvr>
                                      <p:to>
                                        <p:strVal val="visible"/>
                                      </p:to>
                                    </p:set>
                                    <p:anim calcmode="lin" valueType="num">
                                      <p:cBhvr additive="base">
                                        <p:cTn id="113" dur="500" fill="hold"/>
                                        <p:tgtEl>
                                          <p:spTgt spid="350"/>
                                        </p:tgtEl>
                                        <p:attrNameLst>
                                          <p:attrName>ppt_x</p:attrName>
                                        </p:attrNameLst>
                                      </p:cBhvr>
                                      <p:tavLst>
                                        <p:tav tm="0">
                                          <p:val>
                                            <p:strVal val="#ppt_x"/>
                                          </p:val>
                                        </p:tav>
                                        <p:tav tm="100000">
                                          <p:val>
                                            <p:strVal val="#ppt_x"/>
                                          </p:val>
                                        </p:tav>
                                      </p:tavLst>
                                    </p:anim>
                                    <p:anim calcmode="lin" valueType="num">
                                      <p:cBhvr additive="base">
                                        <p:cTn id="114" dur="500" fill="hold"/>
                                        <p:tgtEl>
                                          <p:spTgt spid="350"/>
                                        </p:tgtEl>
                                        <p:attrNameLst>
                                          <p:attrName>ppt_y</p:attrName>
                                        </p:attrNameLst>
                                      </p:cBhvr>
                                      <p:tavLst>
                                        <p:tav tm="0">
                                          <p:val>
                                            <p:strVal val="1+#ppt_h/2"/>
                                          </p:val>
                                        </p:tav>
                                        <p:tav tm="100000">
                                          <p:val>
                                            <p:strVal val="#ppt_y"/>
                                          </p:val>
                                        </p:tav>
                                      </p:tavLst>
                                    </p:anim>
                                  </p:childTnLst>
                                </p:cTn>
                              </p:par>
                            </p:childTnLst>
                          </p:cTn>
                        </p:par>
                      </p:childTnLst>
                    </p:cTn>
                  </p:par>
                  <p:par>
                    <p:cTn id="115" fill="hold">
                      <p:stCondLst>
                        <p:cond delay="indefinite"/>
                      </p:stCondLst>
                      <p:childTnLst>
                        <p:par>
                          <p:cTn id="116" fill="hold">
                            <p:stCondLst>
                              <p:cond delay="0"/>
                            </p:stCondLst>
                            <p:childTnLst>
                              <p:par>
                                <p:cTn id="117" presetID="10" presetClass="exit" presetSubtype="0" fill="hold" nodeType="clickEffect">
                                  <p:stCondLst>
                                    <p:cond delay="0"/>
                                  </p:stCondLst>
                                  <p:childTnLst>
                                    <p:animEffect transition="out" filter="fade">
                                      <p:cBhvr>
                                        <p:cTn id="118" dur="500"/>
                                        <p:tgtEl>
                                          <p:spTgt spid="337"/>
                                        </p:tgtEl>
                                      </p:cBhvr>
                                    </p:animEffect>
                                    <p:set>
                                      <p:cBhvr>
                                        <p:cTn id="119" dur="1" fill="hold">
                                          <p:stCondLst>
                                            <p:cond delay="499"/>
                                          </p:stCondLst>
                                        </p:cTn>
                                        <p:tgtEl>
                                          <p:spTgt spid="337"/>
                                        </p:tgtEl>
                                        <p:attrNameLst>
                                          <p:attrName>style.visibility</p:attrName>
                                        </p:attrNameLst>
                                      </p:cBhvr>
                                      <p:to>
                                        <p:strVal val="hidden"/>
                                      </p:to>
                                    </p:set>
                                  </p:childTnLst>
                                </p:cTn>
                              </p:par>
                              <p:par>
                                <p:cTn id="120" presetID="10" presetClass="exit" presetSubtype="0" fill="hold" nodeType="withEffect">
                                  <p:stCondLst>
                                    <p:cond delay="0"/>
                                  </p:stCondLst>
                                  <p:childTnLst>
                                    <p:animEffect transition="out" filter="fade">
                                      <p:cBhvr>
                                        <p:cTn id="121" dur="500"/>
                                        <p:tgtEl>
                                          <p:spTgt spid="336"/>
                                        </p:tgtEl>
                                      </p:cBhvr>
                                    </p:animEffect>
                                    <p:set>
                                      <p:cBhvr>
                                        <p:cTn id="122" dur="1" fill="hold">
                                          <p:stCondLst>
                                            <p:cond delay="499"/>
                                          </p:stCondLst>
                                        </p:cTn>
                                        <p:tgtEl>
                                          <p:spTgt spid="336"/>
                                        </p:tgtEl>
                                        <p:attrNameLst>
                                          <p:attrName>style.visibility</p:attrName>
                                        </p:attrNameLst>
                                      </p:cBhvr>
                                      <p:to>
                                        <p:strVal val="hidden"/>
                                      </p:to>
                                    </p:set>
                                  </p:childTnLst>
                                </p:cTn>
                              </p:par>
                              <p:par>
                                <p:cTn id="123" presetID="10" presetClass="exit" presetSubtype="0" fill="hold" nodeType="withEffect">
                                  <p:stCondLst>
                                    <p:cond delay="0"/>
                                  </p:stCondLst>
                                  <p:childTnLst>
                                    <p:animEffect transition="out" filter="fade">
                                      <p:cBhvr>
                                        <p:cTn id="124" dur="500"/>
                                        <p:tgtEl>
                                          <p:spTgt spid="342"/>
                                        </p:tgtEl>
                                      </p:cBhvr>
                                    </p:animEffect>
                                    <p:set>
                                      <p:cBhvr>
                                        <p:cTn id="125" dur="1" fill="hold">
                                          <p:stCondLst>
                                            <p:cond delay="499"/>
                                          </p:stCondLst>
                                        </p:cTn>
                                        <p:tgtEl>
                                          <p:spTgt spid="342"/>
                                        </p:tgtEl>
                                        <p:attrNameLst>
                                          <p:attrName>style.visibility</p:attrName>
                                        </p:attrNameLst>
                                      </p:cBhvr>
                                      <p:to>
                                        <p:strVal val="hidden"/>
                                      </p:to>
                                    </p:set>
                                  </p:childTnLst>
                                </p:cTn>
                              </p:par>
                              <p:par>
                                <p:cTn id="126" presetID="10" presetClass="exit" presetSubtype="0" fill="hold" nodeType="withEffect">
                                  <p:stCondLst>
                                    <p:cond delay="0"/>
                                  </p:stCondLst>
                                  <p:childTnLst>
                                    <p:animEffect transition="out" filter="fade">
                                      <p:cBhvr>
                                        <p:cTn id="127" dur="500"/>
                                        <p:tgtEl>
                                          <p:spTgt spid="334"/>
                                        </p:tgtEl>
                                      </p:cBhvr>
                                    </p:animEffect>
                                    <p:set>
                                      <p:cBhvr>
                                        <p:cTn id="128" dur="1" fill="hold">
                                          <p:stCondLst>
                                            <p:cond delay="499"/>
                                          </p:stCondLst>
                                        </p:cTn>
                                        <p:tgtEl>
                                          <p:spTgt spid="334"/>
                                        </p:tgtEl>
                                        <p:attrNameLst>
                                          <p:attrName>style.visibility</p:attrName>
                                        </p:attrNameLst>
                                      </p:cBhvr>
                                      <p:to>
                                        <p:strVal val="hidden"/>
                                      </p:to>
                                    </p:set>
                                  </p:childTnLst>
                                </p:cTn>
                              </p:par>
                              <p:par>
                                <p:cTn id="129" presetID="10" presetClass="exit" presetSubtype="0" fill="hold" nodeType="withEffect">
                                  <p:stCondLst>
                                    <p:cond delay="0"/>
                                  </p:stCondLst>
                                  <p:childTnLst>
                                    <p:animEffect transition="out" filter="fade">
                                      <p:cBhvr>
                                        <p:cTn id="130" dur="500"/>
                                        <p:tgtEl>
                                          <p:spTgt spid="278"/>
                                        </p:tgtEl>
                                      </p:cBhvr>
                                    </p:animEffect>
                                    <p:set>
                                      <p:cBhvr>
                                        <p:cTn id="131" dur="1" fill="hold">
                                          <p:stCondLst>
                                            <p:cond delay="499"/>
                                          </p:stCondLst>
                                        </p:cTn>
                                        <p:tgtEl>
                                          <p:spTgt spid="278"/>
                                        </p:tgtEl>
                                        <p:attrNameLst>
                                          <p:attrName>style.visibility</p:attrName>
                                        </p:attrNameLst>
                                      </p:cBhvr>
                                      <p:to>
                                        <p:strVal val="hidden"/>
                                      </p:to>
                                    </p:set>
                                  </p:childTnLst>
                                </p:cTn>
                              </p:par>
                              <p:par>
                                <p:cTn id="132" presetID="10" presetClass="exit" presetSubtype="0" fill="hold" grpId="1" nodeType="withEffect">
                                  <p:stCondLst>
                                    <p:cond delay="0"/>
                                  </p:stCondLst>
                                  <p:childTnLst>
                                    <p:animEffect transition="out" filter="fade">
                                      <p:cBhvr>
                                        <p:cTn id="133" dur="500"/>
                                        <p:tgtEl>
                                          <p:spTgt spid="350"/>
                                        </p:tgtEl>
                                      </p:cBhvr>
                                    </p:animEffect>
                                    <p:set>
                                      <p:cBhvr>
                                        <p:cTn id="134" dur="1" fill="hold">
                                          <p:stCondLst>
                                            <p:cond delay="499"/>
                                          </p:stCondLst>
                                        </p:cTn>
                                        <p:tgtEl>
                                          <p:spTgt spid="350"/>
                                        </p:tgtEl>
                                        <p:attrNameLst>
                                          <p:attrName>style.visibility</p:attrName>
                                        </p:attrNameLst>
                                      </p:cBhvr>
                                      <p:to>
                                        <p:strVal val="hidden"/>
                                      </p:to>
                                    </p:set>
                                  </p:childTnLst>
                                </p:cTn>
                              </p:par>
                            </p:childTnLst>
                          </p:cTn>
                        </p:par>
                      </p:childTnLst>
                    </p:cTn>
                  </p:par>
                  <p:par>
                    <p:cTn id="135" fill="hold">
                      <p:stCondLst>
                        <p:cond delay="indefinite"/>
                      </p:stCondLst>
                      <p:childTnLst>
                        <p:par>
                          <p:cTn id="136" fill="hold">
                            <p:stCondLst>
                              <p:cond delay="0"/>
                            </p:stCondLst>
                            <p:childTnLst>
                              <p:par>
                                <p:cTn id="137" presetID="22" presetClass="entr" presetSubtype="8" fill="hold" nodeType="clickEffect">
                                  <p:stCondLst>
                                    <p:cond delay="0"/>
                                  </p:stCondLst>
                                  <p:childTnLst>
                                    <p:set>
                                      <p:cBhvr>
                                        <p:cTn id="138" dur="1" fill="hold">
                                          <p:stCondLst>
                                            <p:cond delay="0"/>
                                          </p:stCondLst>
                                        </p:cTn>
                                        <p:tgtEl>
                                          <p:spTgt spid="352"/>
                                        </p:tgtEl>
                                        <p:attrNameLst>
                                          <p:attrName>style.visibility</p:attrName>
                                        </p:attrNameLst>
                                      </p:cBhvr>
                                      <p:to>
                                        <p:strVal val="visible"/>
                                      </p:to>
                                    </p:set>
                                    <p:animEffect transition="in" filter="wipe(left)">
                                      <p:cBhvr>
                                        <p:cTn id="139" dur="500"/>
                                        <p:tgtEl>
                                          <p:spTgt spid="352"/>
                                        </p:tgtEl>
                                      </p:cBhvr>
                                    </p:animEffect>
                                  </p:childTnLst>
                                </p:cTn>
                              </p:par>
                              <p:par>
                                <p:cTn id="140" presetID="22" presetClass="entr" presetSubtype="1" fill="hold" nodeType="withEffect">
                                  <p:stCondLst>
                                    <p:cond delay="0"/>
                                  </p:stCondLst>
                                  <p:childTnLst>
                                    <p:set>
                                      <p:cBhvr>
                                        <p:cTn id="141" dur="1" fill="hold">
                                          <p:stCondLst>
                                            <p:cond delay="0"/>
                                          </p:stCondLst>
                                        </p:cTn>
                                        <p:tgtEl>
                                          <p:spTgt spid="351"/>
                                        </p:tgtEl>
                                        <p:attrNameLst>
                                          <p:attrName>style.visibility</p:attrName>
                                        </p:attrNameLst>
                                      </p:cBhvr>
                                      <p:to>
                                        <p:strVal val="visible"/>
                                      </p:to>
                                    </p:set>
                                    <p:animEffect transition="in" filter="wipe(up)">
                                      <p:cBhvr>
                                        <p:cTn id="142" dur="500"/>
                                        <p:tgtEl>
                                          <p:spTgt spid="351"/>
                                        </p:tgtEl>
                                      </p:cBhvr>
                                    </p:animEffect>
                                  </p:childTnLst>
                                </p:cTn>
                              </p:par>
                              <p:par>
                                <p:cTn id="143" presetID="22" presetClass="entr" presetSubtype="2" fill="hold" nodeType="withEffect">
                                  <p:stCondLst>
                                    <p:cond delay="0"/>
                                  </p:stCondLst>
                                  <p:childTnLst>
                                    <p:set>
                                      <p:cBhvr>
                                        <p:cTn id="144" dur="1" fill="hold">
                                          <p:stCondLst>
                                            <p:cond delay="0"/>
                                          </p:stCondLst>
                                        </p:cTn>
                                        <p:tgtEl>
                                          <p:spTgt spid="358"/>
                                        </p:tgtEl>
                                        <p:attrNameLst>
                                          <p:attrName>style.visibility</p:attrName>
                                        </p:attrNameLst>
                                      </p:cBhvr>
                                      <p:to>
                                        <p:strVal val="visible"/>
                                      </p:to>
                                    </p:set>
                                    <p:animEffect transition="in" filter="wipe(right)">
                                      <p:cBhvr>
                                        <p:cTn id="145" dur="500"/>
                                        <p:tgtEl>
                                          <p:spTgt spid="358"/>
                                        </p:tgtEl>
                                      </p:cBhvr>
                                    </p:animEffect>
                                  </p:childTnLst>
                                </p:cTn>
                              </p:par>
                              <p:par>
                                <p:cTn id="146" presetID="22" presetClass="entr" presetSubtype="4" fill="hold" nodeType="withEffect">
                                  <p:stCondLst>
                                    <p:cond delay="0"/>
                                  </p:stCondLst>
                                  <p:childTnLst>
                                    <p:set>
                                      <p:cBhvr>
                                        <p:cTn id="147" dur="1" fill="hold">
                                          <p:stCondLst>
                                            <p:cond delay="0"/>
                                          </p:stCondLst>
                                        </p:cTn>
                                        <p:tgtEl>
                                          <p:spTgt spid="357"/>
                                        </p:tgtEl>
                                        <p:attrNameLst>
                                          <p:attrName>style.visibility</p:attrName>
                                        </p:attrNameLst>
                                      </p:cBhvr>
                                      <p:to>
                                        <p:strVal val="visible"/>
                                      </p:to>
                                    </p:set>
                                    <p:animEffect transition="in" filter="wipe(down)">
                                      <p:cBhvr>
                                        <p:cTn id="148" dur="500"/>
                                        <p:tgtEl>
                                          <p:spTgt spid="357"/>
                                        </p:tgtEl>
                                      </p:cBhvr>
                                    </p:animEffect>
                                  </p:childTnLst>
                                </p:cTn>
                              </p:par>
                            </p:childTnLst>
                          </p:cTn>
                        </p:par>
                      </p:childTnLst>
                    </p:cTn>
                  </p:par>
                  <p:par>
                    <p:cTn id="149" fill="hold">
                      <p:stCondLst>
                        <p:cond delay="indefinite"/>
                      </p:stCondLst>
                      <p:childTnLst>
                        <p:par>
                          <p:cTn id="150" fill="hold">
                            <p:stCondLst>
                              <p:cond delay="0"/>
                            </p:stCondLst>
                            <p:childTnLst>
                              <p:par>
                                <p:cTn id="151" presetID="2" presetClass="entr" presetSubtype="4" fill="hold" nodeType="clickEffect">
                                  <p:stCondLst>
                                    <p:cond delay="0"/>
                                  </p:stCondLst>
                                  <p:childTnLst>
                                    <p:set>
                                      <p:cBhvr>
                                        <p:cTn id="152" dur="1" fill="hold">
                                          <p:stCondLst>
                                            <p:cond delay="0"/>
                                          </p:stCondLst>
                                        </p:cTn>
                                        <p:tgtEl>
                                          <p:spTgt spid="362"/>
                                        </p:tgtEl>
                                        <p:attrNameLst>
                                          <p:attrName>style.visibility</p:attrName>
                                        </p:attrNameLst>
                                      </p:cBhvr>
                                      <p:to>
                                        <p:strVal val="visible"/>
                                      </p:to>
                                    </p:set>
                                    <p:anim calcmode="lin" valueType="num">
                                      <p:cBhvr additive="base">
                                        <p:cTn id="153" dur="500" fill="hold"/>
                                        <p:tgtEl>
                                          <p:spTgt spid="362"/>
                                        </p:tgtEl>
                                        <p:attrNameLst>
                                          <p:attrName>ppt_x</p:attrName>
                                        </p:attrNameLst>
                                      </p:cBhvr>
                                      <p:tavLst>
                                        <p:tav tm="0">
                                          <p:val>
                                            <p:strVal val="#ppt_x"/>
                                          </p:val>
                                        </p:tav>
                                        <p:tav tm="100000">
                                          <p:val>
                                            <p:strVal val="#ppt_x"/>
                                          </p:val>
                                        </p:tav>
                                      </p:tavLst>
                                    </p:anim>
                                    <p:anim calcmode="lin" valueType="num">
                                      <p:cBhvr additive="base">
                                        <p:cTn id="154" dur="500" fill="hold"/>
                                        <p:tgtEl>
                                          <p:spTgt spid="362"/>
                                        </p:tgtEl>
                                        <p:attrNameLst>
                                          <p:attrName>ppt_y</p:attrName>
                                        </p:attrNameLst>
                                      </p:cBhvr>
                                      <p:tavLst>
                                        <p:tav tm="0">
                                          <p:val>
                                            <p:strVal val="1+#ppt_h/2"/>
                                          </p:val>
                                        </p:tav>
                                        <p:tav tm="100000">
                                          <p:val>
                                            <p:strVal val="#ppt_y"/>
                                          </p:val>
                                        </p:tav>
                                      </p:tavLst>
                                    </p:anim>
                                  </p:childTnLst>
                                </p:cTn>
                              </p:par>
                              <p:par>
                                <p:cTn id="155" presetID="2" presetClass="entr" presetSubtype="4" fill="hold" grpId="0" nodeType="withEffect">
                                  <p:stCondLst>
                                    <p:cond delay="0"/>
                                  </p:stCondLst>
                                  <p:childTnLst>
                                    <p:set>
                                      <p:cBhvr>
                                        <p:cTn id="156" dur="1" fill="hold">
                                          <p:stCondLst>
                                            <p:cond delay="0"/>
                                          </p:stCondLst>
                                        </p:cTn>
                                        <p:tgtEl>
                                          <p:spTgt spid="363"/>
                                        </p:tgtEl>
                                        <p:attrNameLst>
                                          <p:attrName>style.visibility</p:attrName>
                                        </p:attrNameLst>
                                      </p:cBhvr>
                                      <p:to>
                                        <p:strVal val="visible"/>
                                      </p:to>
                                    </p:set>
                                    <p:anim calcmode="lin" valueType="num">
                                      <p:cBhvr additive="base">
                                        <p:cTn id="157" dur="500" fill="hold"/>
                                        <p:tgtEl>
                                          <p:spTgt spid="363"/>
                                        </p:tgtEl>
                                        <p:attrNameLst>
                                          <p:attrName>ppt_x</p:attrName>
                                        </p:attrNameLst>
                                      </p:cBhvr>
                                      <p:tavLst>
                                        <p:tav tm="0">
                                          <p:val>
                                            <p:strVal val="#ppt_x"/>
                                          </p:val>
                                        </p:tav>
                                        <p:tav tm="100000">
                                          <p:val>
                                            <p:strVal val="#ppt_x"/>
                                          </p:val>
                                        </p:tav>
                                      </p:tavLst>
                                    </p:anim>
                                    <p:anim calcmode="lin" valueType="num">
                                      <p:cBhvr additive="base">
                                        <p:cTn id="158" dur="500" fill="hold"/>
                                        <p:tgtEl>
                                          <p:spTgt spid="363"/>
                                        </p:tgtEl>
                                        <p:attrNameLst>
                                          <p:attrName>ppt_y</p:attrName>
                                        </p:attrNameLst>
                                      </p:cBhvr>
                                      <p:tavLst>
                                        <p:tav tm="0">
                                          <p:val>
                                            <p:strVal val="1+#ppt_h/2"/>
                                          </p:val>
                                        </p:tav>
                                        <p:tav tm="100000">
                                          <p:val>
                                            <p:strVal val="#ppt_y"/>
                                          </p:val>
                                        </p:tav>
                                      </p:tavLst>
                                    </p:anim>
                                  </p:childTnLst>
                                </p:cTn>
                              </p:par>
                            </p:childTnLst>
                          </p:cTn>
                        </p:par>
                      </p:childTnLst>
                    </p:cTn>
                  </p:par>
                  <p:par>
                    <p:cTn id="159" fill="hold">
                      <p:stCondLst>
                        <p:cond delay="indefinite"/>
                      </p:stCondLst>
                      <p:childTnLst>
                        <p:par>
                          <p:cTn id="160" fill="hold">
                            <p:stCondLst>
                              <p:cond delay="0"/>
                            </p:stCondLst>
                            <p:childTnLst>
                              <p:par>
                                <p:cTn id="161" presetID="10" presetClass="exit" presetSubtype="0" fill="hold" nodeType="clickEffect">
                                  <p:stCondLst>
                                    <p:cond delay="0"/>
                                  </p:stCondLst>
                                  <p:childTnLst>
                                    <p:animEffect transition="out" filter="fade">
                                      <p:cBhvr>
                                        <p:cTn id="162" dur="500"/>
                                        <p:tgtEl>
                                          <p:spTgt spid="352"/>
                                        </p:tgtEl>
                                      </p:cBhvr>
                                    </p:animEffect>
                                    <p:set>
                                      <p:cBhvr>
                                        <p:cTn id="163" dur="1" fill="hold">
                                          <p:stCondLst>
                                            <p:cond delay="499"/>
                                          </p:stCondLst>
                                        </p:cTn>
                                        <p:tgtEl>
                                          <p:spTgt spid="352"/>
                                        </p:tgtEl>
                                        <p:attrNameLst>
                                          <p:attrName>style.visibility</p:attrName>
                                        </p:attrNameLst>
                                      </p:cBhvr>
                                      <p:to>
                                        <p:strVal val="hidden"/>
                                      </p:to>
                                    </p:set>
                                  </p:childTnLst>
                                </p:cTn>
                              </p:par>
                              <p:par>
                                <p:cTn id="164" presetID="10" presetClass="exit" presetSubtype="0" fill="hold" nodeType="withEffect">
                                  <p:stCondLst>
                                    <p:cond delay="0"/>
                                  </p:stCondLst>
                                  <p:childTnLst>
                                    <p:animEffect transition="out" filter="fade">
                                      <p:cBhvr>
                                        <p:cTn id="165" dur="500"/>
                                        <p:tgtEl>
                                          <p:spTgt spid="351"/>
                                        </p:tgtEl>
                                      </p:cBhvr>
                                    </p:animEffect>
                                    <p:set>
                                      <p:cBhvr>
                                        <p:cTn id="166" dur="1" fill="hold">
                                          <p:stCondLst>
                                            <p:cond delay="499"/>
                                          </p:stCondLst>
                                        </p:cTn>
                                        <p:tgtEl>
                                          <p:spTgt spid="351"/>
                                        </p:tgtEl>
                                        <p:attrNameLst>
                                          <p:attrName>style.visibility</p:attrName>
                                        </p:attrNameLst>
                                      </p:cBhvr>
                                      <p:to>
                                        <p:strVal val="hidden"/>
                                      </p:to>
                                    </p:set>
                                  </p:childTnLst>
                                </p:cTn>
                              </p:par>
                              <p:par>
                                <p:cTn id="167" presetID="10" presetClass="exit" presetSubtype="0" fill="hold" nodeType="withEffect">
                                  <p:stCondLst>
                                    <p:cond delay="0"/>
                                  </p:stCondLst>
                                  <p:childTnLst>
                                    <p:animEffect transition="out" filter="fade">
                                      <p:cBhvr>
                                        <p:cTn id="168" dur="500"/>
                                        <p:tgtEl>
                                          <p:spTgt spid="358"/>
                                        </p:tgtEl>
                                      </p:cBhvr>
                                    </p:animEffect>
                                    <p:set>
                                      <p:cBhvr>
                                        <p:cTn id="169" dur="1" fill="hold">
                                          <p:stCondLst>
                                            <p:cond delay="499"/>
                                          </p:stCondLst>
                                        </p:cTn>
                                        <p:tgtEl>
                                          <p:spTgt spid="358"/>
                                        </p:tgtEl>
                                        <p:attrNameLst>
                                          <p:attrName>style.visibility</p:attrName>
                                        </p:attrNameLst>
                                      </p:cBhvr>
                                      <p:to>
                                        <p:strVal val="hidden"/>
                                      </p:to>
                                    </p:set>
                                  </p:childTnLst>
                                </p:cTn>
                              </p:par>
                              <p:par>
                                <p:cTn id="170" presetID="10" presetClass="exit" presetSubtype="0" fill="hold" nodeType="withEffect">
                                  <p:stCondLst>
                                    <p:cond delay="0"/>
                                  </p:stCondLst>
                                  <p:childTnLst>
                                    <p:animEffect transition="out" filter="fade">
                                      <p:cBhvr>
                                        <p:cTn id="171" dur="500"/>
                                        <p:tgtEl>
                                          <p:spTgt spid="357"/>
                                        </p:tgtEl>
                                      </p:cBhvr>
                                    </p:animEffect>
                                    <p:set>
                                      <p:cBhvr>
                                        <p:cTn id="172" dur="1" fill="hold">
                                          <p:stCondLst>
                                            <p:cond delay="499"/>
                                          </p:stCondLst>
                                        </p:cTn>
                                        <p:tgtEl>
                                          <p:spTgt spid="357"/>
                                        </p:tgtEl>
                                        <p:attrNameLst>
                                          <p:attrName>style.visibility</p:attrName>
                                        </p:attrNameLst>
                                      </p:cBhvr>
                                      <p:to>
                                        <p:strVal val="hidden"/>
                                      </p:to>
                                    </p:set>
                                  </p:childTnLst>
                                </p:cTn>
                              </p:par>
                              <p:par>
                                <p:cTn id="173" presetID="10" presetClass="exit" presetSubtype="0" fill="hold" nodeType="withEffect">
                                  <p:stCondLst>
                                    <p:cond delay="0"/>
                                  </p:stCondLst>
                                  <p:childTnLst>
                                    <p:animEffect transition="out" filter="fade">
                                      <p:cBhvr>
                                        <p:cTn id="174" dur="500"/>
                                        <p:tgtEl>
                                          <p:spTgt spid="362"/>
                                        </p:tgtEl>
                                      </p:cBhvr>
                                    </p:animEffect>
                                    <p:set>
                                      <p:cBhvr>
                                        <p:cTn id="175" dur="1" fill="hold">
                                          <p:stCondLst>
                                            <p:cond delay="499"/>
                                          </p:stCondLst>
                                        </p:cTn>
                                        <p:tgtEl>
                                          <p:spTgt spid="362"/>
                                        </p:tgtEl>
                                        <p:attrNameLst>
                                          <p:attrName>style.visibility</p:attrName>
                                        </p:attrNameLst>
                                      </p:cBhvr>
                                      <p:to>
                                        <p:strVal val="hidden"/>
                                      </p:to>
                                    </p:set>
                                  </p:childTnLst>
                                </p:cTn>
                              </p:par>
                              <p:par>
                                <p:cTn id="176" presetID="10" presetClass="exit" presetSubtype="0" fill="hold" grpId="1" nodeType="withEffect">
                                  <p:stCondLst>
                                    <p:cond delay="0"/>
                                  </p:stCondLst>
                                  <p:childTnLst>
                                    <p:animEffect transition="out" filter="fade">
                                      <p:cBhvr>
                                        <p:cTn id="177" dur="500"/>
                                        <p:tgtEl>
                                          <p:spTgt spid="363"/>
                                        </p:tgtEl>
                                      </p:cBhvr>
                                    </p:animEffect>
                                    <p:set>
                                      <p:cBhvr>
                                        <p:cTn id="178" dur="1" fill="hold">
                                          <p:stCondLst>
                                            <p:cond delay="499"/>
                                          </p:stCondLst>
                                        </p:cTn>
                                        <p:tgtEl>
                                          <p:spTgt spid="363"/>
                                        </p:tgtEl>
                                        <p:attrNameLst>
                                          <p:attrName>style.visibility</p:attrName>
                                        </p:attrNameLst>
                                      </p:cBhvr>
                                      <p:to>
                                        <p:strVal val="hidden"/>
                                      </p:to>
                                    </p:set>
                                  </p:childTnLst>
                                </p:cTn>
                              </p:par>
                            </p:childTnLst>
                          </p:cTn>
                        </p:par>
                      </p:childTnLst>
                    </p:cTn>
                  </p:par>
                  <p:par>
                    <p:cTn id="179" fill="hold">
                      <p:stCondLst>
                        <p:cond delay="indefinite"/>
                      </p:stCondLst>
                      <p:childTnLst>
                        <p:par>
                          <p:cTn id="180" fill="hold">
                            <p:stCondLst>
                              <p:cond delay="0"/>
                            </p:stCondLst>
                            <p:childTnLst>
                              <p:par>
                                <p:cTn id="181" presetID="22" presetClass="entr" presetSubtype="4" fill="hold" nodeType="clickEffect">
                                  <p:stCondLst>
                                    <p:cond delay="0"/>
                                  </p:stCondLst>
                                  <p:childTnLst>
                                    <p:set>
                                      <p:cBhvr>
                                        <p:cTn id="182" dur="1" fill="hold">
                                          <p:stCondLst>
                                            <p:cond delay="0"/>
                                          </p:stCondLst>
                                        </p:cTn>
                                        <p:tgtEl>
                                          <p:spTgt spid="365"/>
                                        </p:tgtEl>
                                        <p:attrNameLst>
                                          <p:attrName>style.visibility</p:attrName>
                                        </p:attrNameLst>
                                      </p:cBhvr>
                                      <p:to>
                                        <p:strVal val="visible"/>
                                      </p:to>
                                    </p:set>
                                    <p:animEffect transition="in" filter="wipe(down)">
                                      <p:cBhvr>
                                        <p:cTn id="183" dur="500"/>
                                        <p:tgtEl>
                                          <p:spTgt spid="365"/>
                                        </p:tgtEl>
                                      </p:cBhvr>
                                    </p:animEffect>
                                  </p:childTnLst>
                                </p:cTn>
                              </p:par>
                              <p:par>
                                <p:cTn id="184" presetID="22" presetClass="entr" presetSubtype="8" fill="hold" nodeType="withEffect">
                                  <p:stCondLst>
                                    <p:cond delay="0"/>
                                  </p:stCondLst>
                                  <p:childTnLst>
                                    <p:set>
                                      <p:cBhvr>
                                        <p:cTn id="185" dur="1" fill="hold">
                                          <p:stCondLst>
                                            <p:cond delay="0"/>
                                          </p:stCondLst>
                                        </p:cTn>
                                        <p:tgtEl>
                                          <p:spTgt spid="366"/>
                                        </p:tgtEl>
                                        <p:attrNameLst>
                                          <p:attrName>style.visibility</p:attrName>
                                        </p:attrNameLst>
                                      </p:cBhvr>
                                      <p:to>
                                        <p:strVal val="visible"/>
                                      </p:to>
                                    </p:set>
                                    <p:animEffect transition="in" filter="wipe(left)">
                                      <p:cBhvr>
                                        <p:cTn id="186" dur="500"/>
                                        <p:tgtEl>
                                          <p:spTgt spid="366"/>
                                        </p:tgtEl>
                                      </p:cBhvr>
                                    </p:animEffect>
                                  </p:childTnLst>
                                </p:cTn>
                              </p:par>
                              <p:par>
                                <p:cTn id="187" presetID="22" presetClass="entr" presetSubtype="1" fill="hold" nodeType="withEffect">
                                  <p:stCondLst>
                                    <p:cond delay="0"/>
                                  </p:stCondLst>
                                  <p:childTnLst>
                                    <p:set>
                                      <p:cBhvr>
                                        <p:cTn id="188" dur="1" fill="hold">
                                          <p:stCondLst>
                                            <p:cond delay="0"/>
                                          </p:stCondLst>
                                        </p:cTn>
                                        <p:tgtEl>
                                          <p:spTgt spid="369"/>
                                        </p:tgtEl>
                                        <p:attrNameLst>
                                          <p:attrName>style.visibility</p:attrName>
                                        </p:attrNameLst>
                                      </p:cBhvr>
                                      <p:to>
                                        <p:strVal val="visible"/>
                                      </p:to>
                                    </p:set>
                                    <p:animEffect transition="in" filter="wipe(up)">
                                      <p:cBhvr>
                                        <p:cTn id="189" dur="500"/>
                                        <p:tgtEl>
                                          <p:spTgt spid="369"/>
                                        </p:tgtEl>
                                      </p:cBhvr>
                                    </p:animEffect>
                                  </p:childTnLst>
                                </p:cTn>
                              </p:par>
                              <p:par>
                                <p:cTn id="190" presetID="22" presetClass="entr" presetSubtype="2" fill="hold" nodeType="withEffect">
                                  <p:stCondLst>
                                    <p:cond delay="0"/>
                                  </p:stCondLst>
                                  <p:childTnLst>
                                    <p:set>
                                      <p:cBhvr>
                                        <p:cTn id="191" dur="1" fill="hold">
                                          <p:stCondLst>
                                            <p:cond delay="0"/>
                                          </p:stCondLst>
                                        </p:cTn>
                                        <p:tgtEl>
                                          <p:spTgt spid="370"/>
                                        </p:tgtEl>
                                        <p:attrNameLst>
                                          <p:attrName>style.visibility</p:attrName>
                                        </p:attrNameLst>
                                      </p:cBhvr>
                                      <p:to>
                                        <p:strVal val="visible"/>
                                      </p:to>
                                    </p:set>
                                    <p:animEffect transition="in" filter="wipe(right)">
                                      <p:cBhvr>
                                        <p:cTn id="192" dur="500"/>
                                        <p:tgtEl>
                                          <p:spTgt spid="370"/>
                                        </p:tgtEl>
                                      </p:cBhvr>
                                    </p:animEffect>
                                  </p:childTnLst>
                                </p:cTn>
                              </p:par>
                            </p:childTnLst>
                          </p:cTn>
                        </p:par>
                      </p:childTnLst>
                    </p:cTn>
                  </p:par>
                  <p:par>
                    <p:cTn id="193" fill="hold">
                      <p:stCondLst>
                        <p:cond delay="indefinite"/>
                      </p:stCondLst>
                      <p:childTnLst>
                        <p:par>
                          <p:cTn id="194" fill="hold">
                            <p:stCondLst>
                              <p:cond delay="0"/>
                            </p:stCondLst>
                            <p:childTnLst>
                              <p:par>
                                <p:cTn id="195" presetID="2" presetClass="entr" presetSubtype="4" fill="hold" nodeType="clickEffect">
                                  <p:stCondLst>
                                    <p:cond delay="0"/>
                                  </p:stCondLst>
                                  <p:childTnLst>
                                    <p:set>
                                      <p:cBhvr>
                                        <p:cTn id="196" dur="1" fill="hold">
                                          <p:stCondLst>
                                            <p:cond delay="0"/>
                                          </p:stCondLst>
                                        </p:cTn>
                                        <p:tgtEl>
                                          <p:spTgt spid="373"/>
                                        </p:tgtEl>
                                        <p:attrNameLst>
                                          <p:attrName>style.visibility</p:attrName>
                                        </p:attrNameLst>
                                      </p:cBhvr>
                                      <p:to>
                                        <p:strVal val="visible"/>
                                      </p:to>
                                    </p:set>
                                    <p:anim calcmode="lin" valueType="num">
                                      <p:cBhvr additive="base">
                                        <p:cTn id="197" dur="500" fill="hold"/>
                                        <p:tgtEl>
                                          <p:spTgt spid="373"/>
                                        </p:tgtEl>
                                        <p:attrNameLst>
                                          <p:attrName>ppt_x</p:attrName>
                                        </p:attrNameLst>
                                      </p:cBhvr>
                                      <p:tavLst>
                                        <p:tav tm="0">
                                          <p:val>
                                            <p:strVal val="#ppt_x"/>
                                          </p:val>
                                        </p:tav>
                                        <p:tav tm="100000">
                                          <p:val>
                                            <p:strVal val="#ppt_x"/>
                                          </p:val>
                                        </p:tav>
                                      </p:tavLst>
                                    </p:anim>
                                    <p:anim calcmode="lin" valueType="num">
                                      <p:cBhvr additive="base">
                                        <p:cTn id="198" dur="500" fill="hold"/>
                                        <p:tgtEl>
                                          <p:spTgt spid="373"/>
                                        </p:tgtEl>
                                        <p:attrNameLst>
                                          <p:attrName>ppt_y</p:attrName>
                                        </p:attrNameLst>
                                      </p:cBhvr>
                                      <p:tavLst>
                                        <p:tav tm="0">
                                          <p:val>
                                            <p:strVal val="1+#ppt_h/2"/>
                                          </p:val>
                                        </p:tav>
                                        <p:tav tm="100000">
                                          <p:val>
                                            <p:strVal val="#ppt_y"/>
                                          </p:val>
                                        </p:tav>
                                      </p:tavLst>
                                    </p:anim>
                                  </p:childTnLst>
                                </p:cTn>
                              </p:par>
                              <p:par>
                                <p:cTn id="199" presetID="2" presetClass="entr" presetSubtype="4" fill="hold" grpId="0" nodeType="withEffect">
                                  <p:stCondLst>
                                    <p:cond delay="0"/>
                                  </p:stCondLst>
                                  <p:childTnLst>
                                    <p:set>
                                      <p:cBhvr>
                                        <p:cTn id="200" dur="1" fill="hold">
                                          <p:stCondLst>
                                            <p:cond delay="0"/>
                                          </p:stCondLst>
                                        </p:cTn>
                                        <p:tgtEl>
                                          <p:spTgt spid="374"/>
                                        </p:tgtEl>
                                        <p:attrNameLst>
                                          <p:attrName>style.visibility</p:attrName>
                                        </p:attrNameLst>
                                      </p:cBhvr>
                                      <p:to>
                                        <p:strVal val="visible"/>
                                      </p:to>
                                    </p:set>
                                    <p:anim calcmode="lin" valueType="num">
                                      <p:cBhvr additive="base">
                                        <p:cTn id="201" dur="500" fill="hold"/>
                                        <p:tgtEl>
                                          <p:spTgt spid="374"/>
                                        </p:tgtEl>
                                        <p:attrNameLst>
                                          <p:attrName>ppt_x</p:attrName>
                                        </p:attrNameLst>
                                      </p:cBhvr>
                                      <p:tavLst>
                                        <p:tav tm="0">
                                          <p:val>
                                            <p:strVal val="#ppt_x"/>
                                          </p:val>
                                        </p:tav>
                                        <p:tav tm="100000">
                                          <p:val>
                                            <p:strVal val="#ppt_x"/>
                                          </p:val>
                                        </p:tav>
                                      </p:tavLst>
                                    </p:anim>
                                    <p:anim calcmode="lin" valueType="num">
                                      <p:cBhvr additive="base">
                                        <p:cTn id="202" dur="500" fill="hold"/>
                                        <p:tgtEl>
                                          <p:spTgt spid="374"/>
                                        </p:tgtEl>
                                        <p:attrNameLst>
                                          <p:attrName>ppt_y</p:attrName>
                                        </p:attrNameLst>
                                      </p:cBhvr>
                                      <p:tavLst>
                                        <p:tav tm="0">
                                          <p:val>
                                            <p:strVal val="1+#ppt_h/2"/>
                                          </p:val>
                                        </p:tav>
                                        <p:tav tm="100000">
                                          <p:val>
                                            <p:strVal val="#ppt_y"/>
                                          </p:val>
                                        </p:tav>
                                      </p:tavLst>
                                    </p:anim>
                                  </p:childTnLst>
                                </p:cTn>
                              </p:par>
                            </p:childTnLst>
                          </p:cTn>
                        </p:par>
                      </p:childTnLst>
                    </p:cTn>
                  </p:par>
                  <p:par>
                    <p:cTn id="203" fill="hold">
                      <p:stCondLst>
                        <p:cond delay="indefinite"/>
                      </p:stCondLst>
                      <p:childTnLst>
                        <p:par>
                          <p:cTn id="204" fill="hold">
                            <p:stCondLst>
                              <p:cond delay="0"/>
                            </p:stCondLst>
                            <p:childTnLst>
                              <p:par>
                                <p:cTn id="205" presetID="10" presetClass="exit" presetSubtype="0" fill="hold" nodeType="clickEffect">
                                  <p:stCondLst>
                                    <p:cond delay="0"/>
                                  </p:stCondLst>
                                  <p:childTnLst>
                                    <p:animEffect transition="out" filter="fade">
                                      <p:cBhvr>
                                        <p:cTn id="206" dur="500"/>
                                        <p:tgtEl>
                                          <p:spTgt spid="365"/>
                                        </p:tgtEl>
                                      </p:cBhvr>
                                    </p:animEffect>
                                    <p:set>
                                      <p:cBhvr>
                                        <p:cTn id="207" dur="1" fill="hold">
                                          <p:stCondLst>
                                            <p:cond delay="499"/>
                                          </p:stCondLst>
                                        </p:cTn>
                                        <p:tgtEl>
                                          <p:spTgt spid="365"/>
                                        </p:tgtEl>
                                        <p:attrNameLst>
                                          <p:attrName>style.visibility</p:attrName>
                                        </p:attrNameLst>
                                      </p:cBhvr>
                                      <p:to>
                                        <p:strVal val="hidden"/>
                                      </p:to>
                                    </p:set>
                                  </p:childTnLst>
                                </p:cTn>
                              </p:par>
                              <p:par>
                                <p:cTn id="208" presetID="10" presetClass="exit" presetSubtype="0" fill="hold" nodeType="withEffect">
                                  <p:stCondLst>
                                    <p:cond delay="0"/>
                                  </p:stCondLst>
                                  <p:childTnLst>
                                    <p:animEffect transition="out" filter="fade">
                                      <p:cBhvr>
                                        <p:cTn id="209" dur="500"/>
                                        <p:tgtEl>
                                          <p:spTgt spid="366"/>
                                        </p:tgtEl>
                                      </p:cBhvr>
                                    </p:animEffect>
                                    <p:set>
                                      <p:cBhvr>
                                        <p:cTn id="210" dur="1" fill="hold">
                                          <p:stCondLst>
                                            <p:cond delay="499"/>
                                          </p:stCondLst>
                                        </p:cTn>
                                        <p:tgtEl>
                                          <p:spTgt spid="366"/>
                                        </p:tgtEl>
                                        <p:attrNameLst>
                                          <p:attrName>style.visibility</p:attrName>
                                        </p:attrNameLst>
                                      </p:cBhvr>
                                      <p:to>
                                        <p:strVal val="hidden"/>
                                      </p:to>
                                    </p:set>
                                  </p:childTnLst>
                                </p:cTn>
                              </p:par>
                              <p:par>
                                <p:cTn id="211" presetID="10" presetClass="exit" presetSubtype="0" fill="hold" nodeType="withEffect">
                                  <p:stCondLst>
                                    <p:cond delay="0"/>
                                  </p:stCondLst>
                                  <p:childTnLst>
                                    <p:animEffect transition="out" filter="fade">
                                      <p:cBhvr>
                                        <p:cTn id="212" dur="500"/>
                                        <p:tgtEl>
                                          <p:spTgt spid="369"/>
                                        </p:tgtEl>
                                      </p:cBhvr>
                                    </p:animEffect>
                                    <p:set>
                                      <p:cBhvr>
                                        <p:cTn id="213" dur="1" fill="hold">
                                          <p:stCondLst>
                                            <p:cond delay="499"/>
                                          </p:stCondLst>
                                        </p:cTn>
                                        <p:tgtEl>
                                          <p:spTgt spid="369"/>
                                        </p:tgtEl>
                                        <p:attrNameLst>
                                          <p:attrName>style.visibility</p:attrName>
                                        </p:attrNameLst>
                                      </p:cBhvr>
                                      <p:to>
                                        <p:strVal val="hidden"/>
                                      </p:to>
                                    </p:set>
                                  </p:childTnLst>
                                </p:cTn>
                              </p:par>
                              <p:par>
                                <p:cTn id="214" presetID="10" presetClass="exit" presetSubtype="0" fill="hold" nodeType="withEffect">
                                  <p:stCondLst>
                                    <p:cond delay="0"/>
                                  </p:stCondLst>
                                  <p:childTnLst>
                                    <p:animEffect transition="out" filter="fade">
                                      <p:cBhvr>
                                        <p:cTn id="215" dur="500"/>
                                        <p:tgtEl>
                                          <p:spTgt spid="370"/>
                                        </p:tgtEl>
                                      </p:cBhvr>
                                    </p:animEffect>
                                    <p:set>
                                      <p:cBhvr>
                                        <p:cTn id="216" dur="1" fill="hold">
                                          <p:stCondLst>
                                            <p:cond delay="499"/>
                                          </p:stCondLst>
                                        </p:cTn>
                                        <p:tgtEl>
                                          <p:spTgt spid="370"/>
                                        </p:tgtEl>
                                        <p:attrNameLst>
                                          <p:attrName>style.visibility</p:attrName>
                                        </p:attrNameLst>
                                      </p:cBhvr>
                                      <p:to>
                                        <p:strVal val="hidden"/>
                                      </p:to>
                                    </p:set>
                                  </p:childTnLst>
                                </p:cTn>
                              </p:par>
                              <p:par>
                                <p:cTn id="217" presetID="10" presetClass="exit" presetSubtype="0" fill="hold" nodeType="withEffect">
                                  <p:stCondLst>
                                    <p:cond delay="0"/>
                                  </p:stCondLst>
                                  <p:childTnLst>
                                    <p:animEffect transition="out" filter="fade">
                                      <p:cBhvr>
                                        <p:cTn id="218" dur="500"/>
                                        <p:tgtEl>
                                          <p:spTgt spid="373"/>
                                        </p:tgtEl>
                                      </p:cBhvr>
                                    </p:animEffect>
                                    <p:set>
                                      <p:cBhvr>
                                        <p:cTn id="219" dur="1" fill="hold">
                                          <p:stCondLst>
                                            <p:cond delay="499"/>
                                          </p:stCondLst>
                                        </p:cTn>
                                        <p:tgtEl>
                                          <p:spTgt spid="373"/>
                                        </p:tgtEl>
                                        <p:attrNameLst>
                                          <p:attrName>style.visibility</p:attrName>
                                        </p:attrNameLst>
                                      </p:cBhvr>
                                      <p:to>
                                        <p:strVal val="hidden"/>
                                      </p:to>
                                    </p:set>
                                  </p:childTnLst>
                                </p:cTn>
                              </p:par>
                              <p:par>
                                <p:cTn id="220" presetID="10" presetClass="exit" presetSubtype="0" fill="hold" grpId="1" nodeType="withEffect">
                                  <p:stCondLst>
                                    <p:cond delay="0"/>
                                  </p:stCondLst>
                                  <p:childTnLst>
                                    <p:animEffect transition="out" filter="fade">
                                      <p:cBhvr>
                                        <p:cTn id="221" dur="500"/>
                                        <p:tgtEl>
                                          <p:spTgt spid="374"/>
                                        </p:tgtEl>
                                      </p:cBhvr>
                                    </p:animEffect>
                                    <p:set>
                                      <p:cBhvr>
                                        <p:cTn id="222" dur="1" fill="hold">
                                          <p:stCondLst>
                                            <p:cond delay="499"/>
                                          </p:stCondLst>
                                        </p:cTn>
                                        <p:tgtEl>
                                          <p:spTgt spid="374"/>
                                        </p:tgtEl>
                                        <p:attrNameLst>
                                          <p:attrName>style.visibility</p:attrName>
                                        </p:attrNameLst>
                                      </p:cBhvr>
                                      <p:to>
                                        <p:strVal val="hidden"/>
                                      </p:to>
                                    </p:set>
                                  </p:childTnLst>
                                </p:cTn>
                              </p:par>
                            </p:childTnLst>
                          </p:cTn>
                        </p:par>
                      </p:childTnLst>
                    </p:cTn>
                  </p:par>
                  <p:par>
                    <p:cTn id="223" fill="hold">
                      <p:stCondLst>
                        <p:cond delay="indefinite"/>
                      </p:stCondLst>
                      <p:childTnLst>
                        <p:par>
                          <p:cTn id="224" fill="hold">
                            <p:stCondLst>
                              <p:cond delay="0"/>
                            </p:stCondLst>
                            <p:childTnLst>
                              <p:par>
                                <p:cTn id="225" presetID="22" presetClass="entr" presetSubtype="4" fill="hold" nodeType="clickEffect">
                                  <p:stCondLst>
                                    <p:cond delay="0"/>
                                  </p:stCondLst>
                                  <p:childTnLst>
                                    <p:set>
                                      <p:cBhvr>
                                        <p:cTn id="226" dur="1" fill="hold">
                                          <p:stCondLst>
                                            <p:cond delay="0"/>
                                          </p:stCondLst>
                                        </p:cTn>
                                        <p:tgtEl>
                                          <p:spTgt spid="375"/>
                                        </p:tgtEl>
                                        <p:attrNameLst>
                                          <p:attrName>style.visibility</p:attrName>
                                        </p:attrNameLst>
                                      </p:cBhvr>
                                      <p:to>
                                        <p:strVal val="visible"/>
                                      </p:to>
                                    </p:set>
                                    <p:animEffect transition="in" filter="wipe(down)">
                                      <p:cBhvr>
                                        <p:cTn id="227" dur="500"/>
                                        <p:tgtEl>
                                          <p:spTgt spid="375"/>
                                        </p:tgtEl>
                                      </p:cBhvr>
                                    </p:animEffect>
                                  </p:childTnLst>
                                </p:cTn>
                              </p:par>
                              <p:par>
                                <p:cTn id="228" presetID="22" presetClass="entr" presetSubtype="8" fill="hold" nodeType="withEffect">
                                  <p:stCondLst>
                                    <p:cond delay="0"/>
                                  </p:stCondLst>
                                  <p:childTnLst>
                                    <p:set>
                                      <p:cBhvr>
                                        <p:cTn id="229" dur="1" fill="hold">
                                          <p:stCondLst>
                                            <p:cond delay="0"/>
                                          </p:stCondLst>
                                        </p:cTn>
                                        <p:tgtEl>
                                          <p:spTgt spid="376"/>
                                        </p:tgtEl>
                                        <p:attrNameLst>
                                          <p:attrName>style.visibility</p:attrName>
                                        </p:attrNameLst>
                                      </p:cBhvr>
                                      <p:to>
                                        <p:strVal val="visible"/>
                                      </p:to>
                                    </p:set>
                                    <p:animEffect transition="in" filter="wipe(left)">
                                      <p:cBhvr>
                                        <p:cTn id="230" dur="500"/>
                                        <p:tgtEl>
                                          <p:spTgt spid="376"/>
                                        </p:tgtEl>
                                      </p:cBhvr>
                                    </p:animEffect>
                                  </p:childTnLst>
                                </p:cTn>
                              </p:par>
                              <p:par>
                                <p:cTn id="231" presetID="22" presetClass="entr" presetSubtype="1" fill="hold" nodeType="withEffect">
                                  <p:stCondLst>
                                    <p:cond delay="0"/>
                                  </p:stCondLst>
                                  <p:childTnLst>
                                    <p:set>
                                      <p:cBhvr>
                                        <p:cTn id="232" dur="1" fill="hold">
                                          <p:stCondLst>
                                            <p:cond delay="0"/>
                                          </p:stCondLst>
                                        </p:cTn>
                                        <p:tgtEl>
                                          <p:spTgt spid="377"/>
                                        </p:tgtEl>
                                        <p:attrNameLst>
                                          <p:attrName>style.visibility</p:attrName>
                                        </p:attrNameLst>
                                      </p:cBhvr>
                                      <p:to>
                                        <p:strVal val="visible"/>
                                      </p:to>
                                    </p:set>
                                    <p:animEffect transition="in" filter="wipe(up)">
                                      <p:cBhvr>
                                        <p:cTn id="233" dur="500"/>
                                        <p:tgtEl>
                                          <p:spTgt spid="377"/>
                                        </p:tgtEl>
                                      </p:cBhvr>
                                    </p:animEffect>
                                  </p:childTnLst>
                                </p:cTn>
                              </p:par>
                              <p:par>
                                <p:cTn id="234" presetID="22" presetClass="entr" presetSubtype="4" fill="hold" nodeType="withEffect">
                                  <p:stCondLst>
                                    <p:cond delay="0"/>
                                  </p:stCondLst>
                                  <p:childTnLst>
                                    <p:set>
                                      <p:cBhvr>
                                        <p:cTn id="235" dur="1" fill="hold">
                                          <p:stCondLst>
                                            <p:cond delay="0"/>
                                          </p:stCondLst>
                                        </p:cTn>
                                        <p:tgtEl>
                                          <p:spTgt spid="379"/>
                                        </p:tgtEl>
                                        <p:attrNameLst>
                                          <p:attrName>style.visibility</p:attrName>
                                        </p:attrNameLst>
                                      </p:cBhvr>
                                      <p:to>
                                        <p:strVal val="visible"/>
                                      </p:to>
                                    </p:set>
                                    <p:animEffect transition="in" filter="wipe(down)">
                                      <p:cBhvr>
                                        <p:cTn id="236" dur="500"/>
                                        <p:tgtEl>
                                          <p:spTgt spid="379"/>
                                        </p:tgtEl>
                                      </p:cBhvr>
                                    </p:animEffect>
                                  </p:childTnLst>
                                </p:cTn>
                              </p:par>
                            </p:childTnLst>
                          </p:cTn>
                        </p:par>
                      </p:childTnLst>
                    </p:cTn>
                  </p:par>
                  <p:par>
                    <p:cTn id="237" fill="hold">
                      <p:stCondLst>
                        <p:cond delay="indefinite"/>
                      </p:stCondLst>
                      <p:childTnLst>
                        <p:par>
                          <p:cTn id="238" fill="hold">
                            <p:stCondLst>
                              <p:cond delay="0"/>
                            </p:stCondLst>
                            <p:childTnLst>
                              <p:par>
                                <p:cTn id="239" presetID="2" presetClass="entr" presetSubtype="4" fill="hold" nodeType="clickEffect">
                                  <p:stCondLst>
                                    <p:cond delay="0"/>
                                  </p:stCondLst>
                                  <p:childTnLst>
                                    <p:set>
                                      <p:cBhvr>
                                        <p:cTn id="240" dur="1" fill="hold">
                                          <p:stCondLst>
                                            <p:cond delay="0"/>
                                          </p:stCondLst>
                                        </p:cTn>
                                        <p:tgtEl>
                                          <p:spTgt spid="382"/>
                                        </p:tgtEl>
                                        <p:attrNameLst>
                                          <p:attrName>style.visibility</p:attrName>
                                        </p:attrNameLst>
                                      </p:cBhvr>
                                      <p:to>
                                        <p:strVal val="visible"/>
                                      </p:to>
                                    </p:set>
                                    <p:anim calcmode="lin" valueType="num">
                                      <p:cBhvr additive="base">
                                        <p:cTn id="241" dur="500" fill="hold"/>
                                        <p:tgtEl>
                                          <p:spTgt spid="382"/>
                                        </p:tgtEl>
                                        <p:attrNameLst>
                                          <p:attrName>ppt_x</p:attrName>
                                        </p:attrNameLst>
                                      </p:cBhvr>
                                      <p:tavLst>
                                        <p:tav tm="0">
                                          <p:val>
                                            <p:strVal val="#ppt_x"/>
                                          </p:val>
                                        </p:tav>
                                        <p:tav tm="100000">
                                          <p:val>
                                            <p:strVal val="#ppt_x"/>
                                          </p:val>
                                        </p:tav>
                                      </p:tavLst>
                                    </p:anim>
                                    <p:anim calcmode="lin" valueType="num">
                                      <p:cBhvr additive="base">
                                        <p:cTn id="242" dur="500" fill="hold"/>
                                        <p:tgtEl>
                                          <p:spTgt spid="382"/>
                                        </p:tgtEl>
                                        <p:attrNameLst>
                                          <p:attrName>ppt_y</p:attrName>
                                        </p:attrNameLst>
                                      </p:cBhvr>
                                      <p:tavLst>
                                        <p:tav tm="0">
                                          <p:val>
                                            <p:strVal val="1+#ppt_h/2"/>
                                          </p:val>
                                        </p:tav>
                                        <p:tav tm="100000">
                                          <p:val>
                                            <p:strVal val="#ppt_y"/>
                                          </p:val>
                                        </p:tav>
                                      </p:tavLst>
                                    </p:anim>
                                  </p:childTnLst>
                                </p:cTn>
                              </p:par>
                              <p:par>
                                <p:cTn id="243" presetID="2" presetClass="entr" presetSubtype="4" fill="hold" grpId="0" nodeType="withEffect">
                                  <p:stCondLst>
                                    <p:cond delay="0"/>
                                  </p:stCondLst>
                                  <p:childTnLst>
                                    <p:set>
                                      <p:cBhvr>
                                        <p:cTn id="244" dur="1" fill="hold">
                                          <p:stCondLst>
                                            <p:cond delay="0"/>
                                          </p:stCondLst>
                                        </p:cTn>
                                        <p:tgtEl>
                                          <p:spTgt spid="383"/>
                                        </p:tgtEl>
                                        <p:attrNameLst>
                                          <p:attrName>style.visibility</p:attrName>
                                        </p:attrNameLst>
                                      </p:cBhvr>
                                      <p:to>
                                        <p:strVal val="visible"/>
                                      </p:to>
                                    </p:set>
                                    <p:anim calcmode="lin" valueType="num">
                                      <p:cBhvr additive="base">
                                        <p:cTn id="245" dur="500" fill="hold"/>
                                        <p:tgtEl>
                                          <p:spTgt spid="383"/>
                                        </p:tgtEl>
                                        <p:attrNameLst>
                                          <p:attrName>ppt_x</p:attrName>
                                        </p:attrNameLst>
                                      </p:cBhvr>
                                      <p:tavLst>
                                        <p:tav tm="0">
                                          <p:val>
                                            <p:strVal val="#ppt_x"/>
                                          </p:val>
                                        </p:tav>
                                        <p:tav tm="100000">
                                          <p:val>
                                            <p:strVal val="#ppt_x"/>
                                          </p:val>
                                        </p:tav>
                                      </p:tavLst>
                                    </p:anim>
                                    <p:anim calcmode="lin" valueType="num">
                                      <p:cBhvr additive="base">
                                        <p:cTn id="246" dur="500" fill="hold"/>
                                        <p:tgtEl>
                                          <p:spTgt spid="383"/>
                                        </p:tgtEl>
                                        <p:attrNameLst>
                                          <p:attrName>ppt_y</p:attrName>
                                        </p:attrNameLst>
                                      </p:cBhvr>
                                      <p:tavLst>
                                        <p:tav tm="0">
                                          <p:val>
                                            <p:strVal val="1+#ppt_h/2"/>
                                          </p:val>
                                        </p:tav>
                                        <p:tav tm="100000">
                                          <p:val>
                                            <p:strVal val="#ppt_y"/>
                                          </p:val>
                                        </p:tav>
                                      </p:tavLst>
                                    </p:anim>
                                  </p:childTnLst>
                                </p:cTn>
                              </p:par>
                            </p:childTnLst>
                          </p:cTn>
                        </p:par>
                      </p:childTnLst>
                    </p:cTn>
                  </p:par>
                  <p:par>
                    <p:cTn id="247" fill="hold">
                      <p:stCondLst>
                        <p:cond delay="indefinite"/>
                      </p:stCondLst>
                      <p:childTnLst>
                        <p:par>
                          <p:cTn id="248" fill="hold">
                            <p:stCondLst>
                              <p:cond delay="0"/>
                            </p:stCondLst>
                            <p:childTnLst>
                              <p:par>
                                <p:cTn id="249" presetID="10" presetClass="exit" presetSubtype="0" fill="hold" nodeType="clickEffect">
                                  <p:stCondLst>
                                    <p:cond delay="0"/>
                                  </p:stCondLst>
                                  <p:childTnLst>
                                    <p:animEffect transition="out" filter="fade">
                                      <p:cBhvr>
                                        <p:cTn id="250" dur="500"/>
                                        <p:tgtEl>
                                          <p:spTgt spid="375"/>
                                        </p:tgtEl>
                                      </p:cBhvr>
                                    </p:animEffect>
                                    <p:set>
                                      <p:cBhvr>
                                        <p:cTn id="251" dur="1" fill="hold">
                                          <p:stCondLst>
                                            <p:cond delay="499"/>
                                          </p:stCondLst>
                                        </p:cTn>
                                        <p:tgtEl>
                                          <p:spTgt spid="375"/>
                                        </p:tgtEl>
                                        <p:attrNameLst>
                                          <p:attrName>style.visibility</p:attrName>
                                        </p:attrNameLst>
                                      </p:cBhvr>
                                      <p:to>
                                        <p:strVal val="hidden"/>
                                      </p:to>
                                    </p:set>
                                  </p:childTnLst>
                                </p:cTn>
                              </p:par>
                              <p:par>
                                <p:cTn id="252" presetID="10" presetClass="exit" presetSubtype="0" fill="hold" nodeType="withEffect">
                                  <p:stCondLst>
                                    <p:cond delay="0"/>
                                  </p:stCondLst>
                                  <p:childTnLst>
                                    <p:animEffect transition="out" filter="fade">
                                      <p:cBhvr>
                                        <p:cTn id="253" dur="500"/>
                                        <p:tgtEl>
                                          <p:spTgt spid="376"/>
                                        </p:tgtEl>
                                      </p:cBhvr>
                                    </p:animEffect>
                                    <p:set>
                                      <p:cBhvr>
                                        <p:cTn id="254" dur="1" fill="hold">
                                          <p:stCondLst>
                                            <p:cond delay="499"/>
                                          </p:stCondLst>
                                        </p:cTn>
                                        <p:tgtEl>
                                          <p:spTgt spid="376"/>
                                        </p:tgtEl>
                                        <p:attrNameLst>
                                          <p:attrName>style.visibility</p:attrName>
                                        </p:attrNameLst>
                                      </p:cBhvr>
                                      <p:to>
                                        <p:strVal val="hidden"/>
                                      </p:to>
                                    </p:set>
                                  </p:childTnLst>
                                </p:cTn>
                              </p:par>
                              <p:par>
                                <p:cTn id="255" presetID="10" presetClass="exit" presetSubtype="0" fill="hold" nodeType="withEffect">
                                  <p:stCondLst>
                                    <p:cond delay="0"/>
                                  </p:stCondLst>
                                  <p:childTnLst>
                                    <p:animEffect transition="out" filter="fade">
                                      <p:cBhvr>
                                        <p:cTn id="256" dur="500"/>
                                        <p:tgtEl>
                                          <p:spTgt spid="377"/>
                                        </p:tgtEl>
                                      </p:cBhvr>
                                    </p:animEffect>
                                    <p:set>
                                      <p:cBhvr>
                                        <p:cTn id="257" dur="1" fill="hold">
                                          <p:stCondLst>
                                            <p:cond delay="499"/>
                                          </p:stCondLst>
                                        </p:cTn>
                                        <p:tgtEl>
                                          <p:spTgt spid="377"/>
                                        </p:tgtEl>
                                        <p:attrNameLst>
                                          <p:attrName>style.visibility</p:attrName>
                                        </p:attrNameLst>
                                      </p:cBhvr>
                                      <p:to>
                                        <p:strVal val="hidden"/>
                                      </p:to>
                                    </p:set>
                                  </p:childTnLst>
                                </p:cTn>
                              </p:par>
                              <p:par>
                                <p:cTn id="258" presetID="10" presetClass="exit" presetSubtype="0" fill="hold" nodeType="withEffect">
                                  <p:stCondLst>
                                    <p:cond delay="0"/>
                                  </p:stCondLst>
                                  <p:childTnLst>
                                    <p:animEffect transition="out" filter="fade">
                                      <p:cBhvr>
                                        <p:cTn id="259" dur="500"/>
                                        <p:tgtEl>
                                          <p:spTgt spid="379"/>
                                        </p:tgtEl>
                                      </p:cBhvr>
                                    </p:animEffect>
                                    <p:set>
                                      <p:cBhvr>
                                        <p:cTn id="260" dur="1" fill="hold">
                                          <p:stCondLst>
                                            <p:cond delay="499"/>
                                          </p:stCondLst>
                                        </p:cTn>
                                        <p:tgtEl>
                                          <p:spTgt spid="379"/>
                                        </p:tgtEl>
                                        <p:attrNameLst>
                                          <p:attrName>style.visibility</p:attrName>
                                        </p:attrNameLst>
                                      </p:cBhvr>
                                      <p:to>
                                        <p:strVal val="hidden"/>
                                      </p:to>
                                    </p:set>
                                  </p:childTnLst>
                                </p:cTn>
                              </p:par>
                              <p:par>
                                <p:cTn id="261" presetID="10" presetClass="exit" presetSubtype="0" fill="hold" nodeType="withEffect">
                                  <p:stCondLst>
                                    <p:cond delay="0"/>
                                  </p:stCondLst>
                                  <p:childTnLst>
                                    <p:animEffect transition="out" filter="fade">
                                      <p:cBhvr>
                                        <p:cTn id="262" dur="500"/>
                                        <p:tgtEl>
                                          <p:spTgt spid="382"/>
                                        </p:tgtEl>
                                      </p:cBhvr>
                                    </p:animEffect>
                                    <p:set>
                                      <p:cBhvr>
                                        <p:cTn id="263" dur="1" fill="hold">
                                          <p:stCondLst>
                                            <p:cond delay="499"/>
                                          </p:stCondLst>
                                        </p:cTn>
                                        <p:tgtEl>
                                          <p:spTgt spid="382"/>
                                        </p:tgtEl>
                                        <p:attrNameLst>
                                          <p:attrName>style.visibility</p:attrName>
                                        </p:attrNameLst>
                                      </p:cBhvr>
                                      <p:to>
                                        <p:strVal val="hidden"/>
                                      </p:to>
                                    </p:set>
                                  </p:childTnLst>
                                </p:cTn>
                              </p:par>
                              <p:par>
                                <p:cTn id="264" presetID="10" presetClass="exit" presetSubtype="0" fill="hold" grpId="1" nodeType="withEffect">
                                  <p:stCondLst>
                                    <p:cond delay="0"/>
                                  </p:stCondLst>
                                  <p:childTnLst>
                                    <p:animEffect transition="out" filter="fade">
                                      <p:cBhvr>
                                        <p:cTn id="265" dur="500"/>
                                        <p:tgtEl>
                                          <p:spTgt spid="383"/>
                                        </p:tgtEl>
                                      </p:cBhvr>
                                    </p:animEffect>
                                    <p:set>
                                      <p:cBhvr>
                                        <p:cTn id="266" dur="1" fill="hold">
                                          <p:stCondLst>
                                            <p:cond delay="499"/>
                                          </p:stCondLst>
                                        </p:cTn>
                                        <p:tgtEl>
                                          <p:spTgt spid="383"/>
                                        </p:tgtEl>
                                        <p:attrNameLst>
                                          <p:attrName>style.visibility</p:attrName>
                                        </p:attrNameLst>
                                      </p:cBhvr>
                                      <p:to>
                                        <p:strVal val="hidden"/>
                                      </p:to>
                                    </p:set>
                                  </p:childTnLst>
                                </p:cTn>
                              </p:par>
                            </p:childTnLst>
                          </p:cTn>
                        </p:par>
                      </p:childTnLst>
                    </p:cTn>
                  </p:par>
                  <p:par>
                    <p:cTn id="267" fill="hold">
                      <p:stCondLst>
                        <p:cond delay="indefinite"/>
                      </p:stCondLst>
                      <p:childTnLst>
                        <p:par>
                          <p:cTn id="268" fill="hold">
                            <p:stCondLst>
                              <p:cond delay="0"/>
                            </p:stCondLst>
                            <p:childTnLst>
                              <p:par>
                                <p:cTn id="269" presetID="22" presetClass="entr" presetSubtype="4" fill="hold" nodeType="clickEffect">
                                  <p:stCondLst>
                                    <p:cond delay="0"/>
                                  </p:stCondLst>
                                  <p:childTnLst>
                                    <p:set>
                                      <p:cBhvr>
                                        <p:cTn id="270" dur="1" fill="hold">
                                          <p:stCondLst>
                                            <p:cond delay="0"/>
                                          </p:stCondLst>
                                        </p:cTn>
                                        <p:tgtEl>
                                          <p:spTgt spid="384"/>
                                        </p:tgtEl>
                                        <p:attrNameLst>
                                          <p:attrName>style.visibility</p:attrName>
                                        </p:attrNameLst>
                                      </p:cBhvr>
                                      <p:to>
                                        <p:strVal val="visible"/>
                                      </p:to>
                                    </p:set>
                                    <p:animEffect transition="in" filter="wipe(down)">
                                      <p:cBhvr>
                                        <p:cTn id="271" dur="500"/>
                                        <p:tgtEl>
                                          <p:spTgt spid="384"/>
                                        </p:tgtEl>
                                      </p:cBhvr>
                                    </p:animEffect>
                                  </p:childTnLst>
                                </p:cTn>
                              </p:par>
                              <p:par>
                                <p:cTn id="272" presetID="22" presetClass="entr" presetSubtype="8" fill="hold" nodeType="withEffect">
                                  <p:stCondLst>
                                    <p:cond delay="0"/>
                                  </p:stCondLst>
                                  <p:childTnLst>
                                    <p:set>
                                      <p:cBhvr>
                                        <p:cTn id="273" dur="1" fill="hold">
                                          <p:stCondLst>
                                            <p:cond delay="0"/>
                                          </p:stCondLst>
                                        </p:cTn>
                                        <p:tgtEl>
                                          <p:spTgt spid="385"/>
                                        </p:tgtEl>
                                        <p:attrNameLst>
                                          <p:attrName>style.visibility</p:attrName>
                                        </p:attrNameLst>
                                      </p:cBhvr>
                                      <p:to>
                                        <p:strVal val="visible"/>
                                      </p:to>
                                    </p:set>
                                    <p:animEffect transition="in" filter="wipe(left)">
                                      <p:cBhvr>
                                        <p:cTn id="274" dur="500"/>
                                        <p:tgtEl>
                                          <p:spTgt spid="385"/>
                                        </p:tgtEl>
                                      </p:cBhvr>
                                    </p:animEffect>
                                  </p:childTnLst>
                                </p:cTn>
                              </p:par>
                              <p:par>
                                <p:cTn id="275" presetID="22" presetClass="entr" presetSubtype="1" fill="hold" nodeType="withEffect">
                                  <p:stCondLst>
                                    <p:cond delay="0"/>
                                  </p:stCondLst>
                                  <p:childTnLst>
                                    <p:set>
                                      <p:cBhvr>
                                        <p:cTn id="276" dur="1" fill="hold">
                                          <p:stCondLst>
                                            <p:cond delay="0"/>
                                          </p:stCondLst>
                                        </p:cTn>
                                        <p:tgtEl>
                                          <p:spTgt spid="388"/>
                                        </p:tgtEl>
                                        <p:attrNameLst>
                                          <p:attrName>style.visibility</p:attrName>
                                        </p:attrNameLst>
                                      </p:cBhvr>
                                      <p:to>
                                        <p:strVal val="visible"/>
                                      </p:to>
                                    </p:set>
                                    <p:animEffect transition="in" filter="wipe(up)">
                                      <p:cBhvr>
                                        <p:cTn id="277" dur="500"/>
                                        <p:tgtEl>
                                          <p:spTgt spid="388"/>
                                        </p:tgtEl>
                                      </p:cBhvr>
                                    </p:animEffect>
                                  </p:childTnLst>
                                </p:cTn>
                              </p:par>
                              <p:par>
                                <p:cTn id="278" presetID="22" presetClass="entr" presetSubtype="2" fill="hold" nodeType="withEffect">
                                  <p:stCondLst>
                                    <p:cond delay="0"/>
                                  </p:stCondLst>
                                  <p:childTnLst>
                                    <p:set>
                                      <p:cBhvr>
                                        <p:cTn id="279" dur="1" fill="hold">
                                          <p:stCondLst>
                                            <p:cond delay="0"/>
                                          </p:stCondLst>
                                        </p:cTn>
                                        <p:tgtEl>
                                          <p:spTgt spid="389"/>
                                        </p:tgtEl>
                                        <p:attrNameLst>
                                          <p:attrName>style.visibility</p:attrName>
                                        </p:attrNameLst>
                                      </p:cBhvr>
                                      <p:to>
                                        <p:strVal val="visible"/>
                                      </p:to>
                                    </p:set>
                                    <p:animEffect transition="in" filter="wipe(right)">
                                      <p:cBhvr>
                                        <p:cTn id="280" dur="500"/>
                                        <p:tgtEl>
                                          <p:spTgt spid="389"/>
                                        </p:tgtEl>
                                      </p:cBhvr>
                                    </p:animEffect>
                                  </p:childTnLst>
                                </p:cTn>
                              </p:par>
                            </p:childTnLst>
                          </p:cTn>
                        </p:par>
                      </p:childTnLst>
                    </p:cTn>
                  </p:par>
                  <p:par>
                    <p:cTn id="281" fill="hold">
                      <p:stCondLst>
                        <p:cond delay="indefinite"/>
                      </p:stCondLst>
                      <p:childTnLst>
                        <p:par>
                          <p:cTn id="282" fill="hold">
                            <p:stCondLst>
                              <p:cond delay="0"/>
                            </p:stCondLst>
                            <p:childTnLst>
                              <p:par>
                                <p:cTn id="283" presetID="2" presetClass="entr" presetSubtype="4" fill="hold" nodeType="clickEffect">
                                  <p:stCondLst>
                                    <p:cond delay="0"/>
                                  </p:stCondLst>
                                  <p:childTnLst>
                                    <p:set>
                                      <p:cBhvr>
                                        <p:cTn id="284" dur="1" fill="hold">
                                          <p:stCondLst>
                                            <p:cond delay="0"/>
                                          </p:stCondLst>
                                        </p:cTn>
                                        <p:tgtEl>
                                          <p:spTgt spid="392"/>
                                        </p:tgtEl>
                                        <p:attrNameLst>
                                          <p:attrName>style.visibility</p:attrName>
                                        </p:attrNameLst>
                                      </p:cBhvr>
                                      <p:to>
                                        <p:strVal val="visible"/>
                                      </p:to>
                                    </p:set>
                                    <p:anim calcmode="lin" valueType="num">
                                      <p:cBhvr additive="base">
                                        <p:cTn id="285" dur="500" fill="hold"/>
                                        <p:tgtEl>
                                          <p:spTgt spid="392"/>
                                        </p:tgtEl>
                                        <p:attrNameLst>
                                          <p:attrName>ppt_x</p:attrName>
                                        </p:attrNameLst>
                                      </p:cBhvr>
                                      <p:tavLst>
                                        <p:tav tm="0">
                                          <p:val>
                                            <p:strVal val="#ppt_x"/>
                                          </p:val>
                                        </p:tav>
                                        <p:tav tm="100000">
                                          <p:val>
                                            <p:strVal val="#ppt_x"/>
                                          </p:val>
                                        </p:tav>
                                      </p:tavLst>
                                    </p:anim>
                                    <p:anim calcmode="lin" valueType="num">
                                      <p:cBhvr additive="base">
                                        <p:cTn id="286" dur="500" fill="hold"/>
                                        <p:tgtEl>
                                          <p:spTgt spid="392"/>
                                        </p:tgtEl>
                                        <p:attrNameLst>
                                          <p:attrName>ppt_y</p:attrName>
                                        </p:attrNameLst>
                                      </p:cBhvr>
                                      <p:tavLst>
                                        <p:tav tm="0">
                                          <p:val>
                                            <p:strVal val="1+#ppt_h/2"/>
                                          </p:val>
                                        </p:tav>
                                        <p:tav tm="100000">
                                          <p:val>
                                            <p:strVal val="#ppt_y"/>
                                          </p:val>
                                        </p:tav>
                                      </p:tavLst>
                                    </p:anim>
                                  </p:childTnLst>
                                </p:cTn>
                              </p:par>
                              <p:par>
                                <p:cTn id="287" presetID="2" presetClass="entr" presetSubtype="4" fill="hold" nodeType="withEffect">
                                  <p:stCondLst>
                                    <p:cond delay="0"/>
                                  </p:stCondLst>
                                  <p:childTnLst>
                                    <p:set>
                                      <p:cBhvr>
                                        <p:cTn id="288" dur="1" fill="hold">
                                          <p:stCondLst>
                                            <p:cond delay="0"/>
                                          </p:stCondLst>
                                        </p:cTn>
                                        <p:tgtEl>
                                          <p:spTgt spid="309"/>
                                        </p:tgtEl>
                                        <p:attrNameLst>
                                          <p:attrName>style.visibility</p:attrName>
                                        </p:attrNameLst>
                                      </p:cBhvr>
                                      <p:to>
                                        <p:strVal val="visible"/>
                                      </p:to>
                                    </p:set>
                                    <p:anim calcmode="lin" valueType="num">
                                      <p:cBhvr additive="base">
                                        <p:cTn id="289" dur="500" fill="hold"/>
                                        <p:tgtEl>
                                          <p:spTgt spid="309"/>
                                        </p:tgtEl>
                                        <p:attrNameLst>
                                          <p:attrName>ppt_x</p:attrName>
                                        </p:attrNameLst>
                                      </p:cBhvr>
                                      <p:tavLst>
                                        <p:tav tm="0">
                                          <p:val>
                                            <p:strVal val="#ppt_x"/>
                                          </p:val>
                                        </p:tav>
                                        <p:tav tm="100000">
                                          <p:val>
                                            <p:strVal val="#ppt_x"/>
                                          </p:val>
                                        </p:tav>
                                      </p:tavLst>
                                    </p:anim>
                                    <p:anim calcmode="lin" valueType="num">
                                      <p:cBhvr additive="base">
                                        <p:cTn id="290" dur="500" fill="hold"/>
                                        <p:tgtEl>
                                          <p:spTgt spid="309"/>
                                        </p:tgtEl>
                                        <p:attrNameLst>
                                          <p:attrName>ppt_y</p:attrName>
                                        </p:attrNameLst>
                                      </p:cBhvr>
                                      <p:tavLst>
                                        <p:tav tm="0">
                                          <p:val>
                                            <p:strVal val="1+#ppt_h/2"/>
                                          </p:val>
                                        </p:tav>
                                        <p:tav tm="100000">
                                          <p:val>
                                            <p:strVal val="#ppt_y"/>
                                          </p:val>
                                        </p:tav>
                                      </p:tavLst>
                                    </p:anim>
                                  </p:childTnLst>
                                </p:cTn>
                              </p:par>
                            </p:childTnLst>
                          </p:cTn>
                        </p:par>
                      </p:childTnLst>
                    </p:cTn>
                  </p:par>
                  <p:par>
                    <p:cTn id="291" fill="hold">
                      <p:stCondLst>
                        <p:cond delay="indefinite"/>
                      </p:stCondLst>
                      <p:childTnLst>
                        <p:par>
                          <p:cTn id="292" fill="hold">
                            <p:stCondLst>
                              <p:cond delay="0"/>
                            </p:stCondLst>
                            <p:childTnLst>
                              <p:par>
                                <p:cTn id="293" presetID="10" presetClass="exit" presetSubtype="0" fill="hold" nodeType="clickEffect">
                                  <p:stCondLst>
                                    <p:cond delay="0"/>
                                  </p:stCondLst>
                                  <p:childTnLst>
                                    <p:animEffect transition="out" filter="fade">
                                      <p:cBhvr>
                                        <p:cTn id="294" dur="500"/>
                                        <p:tgtEl>
                                          <p:spTgt spid="384"/>
                                        </p:tgtEl>
                                      </p:cBhvr>
                                    </p:animEffect>
                                    <p:set>
                                      <p:cBhvr>
                                        <p:cTn id="295" dur="1" fill="hold">
                                          <p:stCondLst>
                                            <p:cond delay="499"/>
                                          </p:stCondLst>
                                        </p:cTn>
                                        <p:tgtEl>
                                          <p:spTgt spid="384"/>
                                        </p:tgtEl>
                                        <p:attrNameLst>
                                          <p:attrName>style.visibility</p:attrName>
                                        </p:attrNameLst>
                                      </p:cBhvr>
                                      <p:to>
                                        <p:strVal val="hidden"/>
                                      </p:to>
                                    </p:set>
                                  </p:childTnLst>
                                </p:cTn>
                              </p:par>
                              <p:par>
                                <p:cTn id="296" presetID="10" presetClass="exit" presetSubtype="0" fill="hold" nodeType="withEffect">
                                  <p:stCondLst>
                                    <p:cond delay="0"/>
                                  </p:stCondLst>
                                  <p:childTnLst>
                                    <p:animEffect transition="out" filter="fade">
                                      <p:cBhvr>
                                        <p:cTn id="297" dur="500"/>
                                        <p:tgtEl>
                                          <p:spTgt spid="385"/>
                                        </p:tgtEl>
                                      </p:cBhvr>
                                    </p:animEffect>
                                    <p:set>
                                      <p:cBhvr>
                                        <p:cTn id="298" dur="1" fill="hold">
                                          <p:stCondLst>
                                            <p:cond delay="499"/>
                                          </p:stCondLst>
                                        </p:cTn>
                                        <p:tgtEl>
                                          <p:spTgt spid="385"/>
                                        </p:tgtEl>
                                        <p:attrNameLst>
                                          <p:attrName>style.visibility</p:attrName>
                                        </p:attrNameLst>
                                      </p:cBhvr>
                                      <p:to>
                                        <p:strVal val="hidden"/>
                                      </p:to>
                                    </p:set>
                                  </p:childTnLst>
                                </p:cTn>
                              </p:par>
                              <p:par>
                                <p:cTn id="299" presetID="10" presetClass="exit" presetSubtype="0" fill="hold" nodeType="withEffect">
                                  <p:stCondLst>
                                    <p:cond delay="0"/>
                                  </p:stCondLst>
                                  <p:childTnLst>
                                    <p:animEffect transition="out" filter="fade">
                                      <p:cBhvr>
                                        <p:cTn id="300" dur="500"/>
                                        <p:tgtEl>
                                          <p:spTgt spid="388"/>
                                        </p:tgtEl>
                                      </p:cBhvr>
                                    </p:animEffect>
                                    <p:set>
                                      <p:cBhvr>
                                        <p:cTn id="301" dur="1" fill="hold">
                                          <p:stCondLst>
                                            <p:cond delay="499"/>
                                          </p:stCondLst>
                                        </p:cTn>
                                        <p:tgtEl>
                                          <p:spTgt spid="388"/>
                                        </p:tgtEl>
                                        <p:attrNameLst>
                                          <p:attrName>style.visibility</p:attrName>
                                        </p:attrNameLst>
                                      </p:cBhvr>
                                      <p:to>
                                        <p:strVal val="hidden"/>
                                      </p:to>
                                    </p:set>
                                  </p:childTnLst>
                                </p:cTn>
                              </p:par>
                              <p:par>
                                <p:cTn id="302" presetID="10" presetClass="exit" presetSubtype="0" fill="hold" nodeType="withEffect">
                                  <p:stCondLst>
                                    <p:cond delay="0"/>
                                  </p:stCondLst>
                                  <p:childTnLst>
                                    <p:animEffect transition="out" filter="fade">
                                      <p:cBhvr>
                                        <p:cTn id="303" dur="500"/>
                                        <p:tgtEl>
                                          <p:spTgt spid="389"/>
                                        </p:tgtEl>
                                      </p:cBhvr>
                                    </p:animEffect>
                                    <p:set>
                                      <p:cBhvr>
                                        <p:cTn id="304" dur="1" fill="hold">
                                          <p:stCondLst>
                                            <p:cond delay="499"/>
                                          </p:stCondLst>
                                        </p:cTn>
                                        <p:tgtEl>
                                          <p:spTgt spid="389"/>
                                        </p:tgtEl>
                                        <p:attrNameLst>
                                          <p:attrName>style.visibility</p:attrName>
                                        </p:attrNameLst>
                                      </p:cBhvr>
                                      <p:to>
                                        <p:strVal val="hidden"/>
                                      </p:to>
                                    </p:set>
                                  </p:childTnLst>
                                </p:cTn>
                              </p:par>
                              <p:par>
                                <p:cTn id="305" presetID="10" presetClass="exit" presetSubtype="0" fill="hold" nodeType="withEffect">
                                  <p:stCondLst>
                                    <p:cond delay="0"/>
                                  </p:stCondLst>
                                  <p:childTnLst>
                                    <p:animEffect transition="out" filter="fade">
                                      <p:cBhvr>
                                        <p:cTn id="306" dur="500"/>
                                        <p:tgtEl>
                                          <p:spTgt spid="392"/>
                                        </p:tgtEl>
                                      </p:cBhvr>
                                    </p:animEffect>
                                    <p:set>
                                      <p:cBhvr>
                                        <p:cTn id="307" dur="1" fill="hold">
                                          <p:stCondLst>
                                            <p:cond delay="499"/>
                                          </p:stCondLst>
                                        </p:cTn>
                                        <p:tgtEl>
                                          <p:spTgt spid="392"/>
                                        </p:tgtEl>
                                        <p:attrNameLst>
                                          <p:attrName>style.visibility</p:attrName>
                                        </p:attrNameLst>
                                      </p:cBhvr>
                                      <p:to>
                                        <p:strVal val="hidden"/>
                                      </p:to>
                                    </p:set>
                                  </p:childTnLst>
                                </p:cTn>
                              </p:par>
                              <p:par>
                                <p:cTn id="308" presetID="10" presetClass="exit" presetSubtype="0" fill="hold" nodeType="withEffect">
                                  <p:stCondLst>
                                    <p:cond delay="0"/>
                                  </p:stCondLst>
                                  <p:childTnLst>
                                    <p:animEffect transition="out" filter="fade">
                                      <p:cBhvr>
                                        <p:cTn id="309" dur="500"/>
                                        <p:tgtEl>
                                          <p:spTgt spid="309"/>
                                        </p:tgtEl>
                                      </p:cBhvr>
                                    </p:animEffect>
                                    <p:set>
                                      <p:cBhvr>
                                        <p:cTn id="310" dur="1" fill="hold">
                                          <p:stCondLst>
                                            <p:cond delay="499"/>
                                          </p:stCondLst>
                                        </p:cTn>
                                        <p:tgtEl>
                                          <p:spTgt spid="309"/>
                                        </p:tgtEl>
                                        <p:attrNameLst>
                                          <p:attrName>style.visibility</p:attrName>
                                        </p:attrNameLst>
                                      </p:cBhvr>
                                      <p:to>
                                        <p:strVal val="hidden"/>
                                      </p:to>
                                    </p:set>
                                  </p:childTnLst>
                                </p:cTn>
                              </p:par>
                            </p:childTnLst>
                          </p:cTn>
                        </p:par>
                      </p:childTnLst>
                    </p:cTn>
                  </p:par>
                  <p:par>
                    <p:cTn id="311" fill="hold">
                      <p:stCondLst>
                        <p:cond delay="indefinite"/>
                      </p:stCondLst>
                      <p:childTnLst>
                        <p:par>
                          <p:cTn id="312" fill="hold">
                            <p:stCondLst>
                              <p:cond delay="0"/>
                            </p:stCondLst>
                            <p:childTnLst>
                              <p:par>
                                <p:cTn id="313" presetID="22" presetClass="entr" presetSubtype="4" fill="hold" nodeType="clickEffect">
                                  <p:stCondLst>
                                    <p:cond delay="0"/>
                                  </p:stCondLst>
                                  <p:childTnLst>
                                    <p:set>
                                      <p:cBhvr>
                                        <p:cTn id="314" dur="1" fill="hold">
                                          <p:stCondLst>
                                            <p:cond delay="0"/>
                                          </p:stCondLst>
                                        </p:cTn>
                                        <p:tgtEl>
                                          <p:spTgt spid="310"/>
                                        </p:tgtEl>
                                        <p:attrNameLst>
                                          <p:attrName>style.visibility</p:attrName>
                                        </p:attrNameLst>
                                      </p:cBhvr>
                                      <p:to>
                                        <p:strVal val="visible"/>
                                      </p:to>
                                    </p:set>
                                    <p:animEffect transition="in" filter="wipe(down)">
                                      <p:cBhvr>
                                        <p:cTn id="315" dur="500"/>
                                        <p:tgtEl>
                                          <p:spTgt spid="310"/>
                                        </p:tgtEl>
                                      </p:cBhvr>
                                    </p:animEffect>
                                  </p:childTnLst>
                                </p:cTn>
                              </p:par>
                              <p:par>
                                <p:cTn id="316" presetID="22" presetClass="entr" presetSubtype="4" fill="hold" nodeType="withEffect">
                                  <p:stCondLst>
                                    <p:cond delay="0"/>
                                  </p:stCondLst>
                                  <p:childTnLst>
                                    <p:set>
                                      <p:cBhvr>
                                        <p:cTn id="317" dur="1" fill="hold">
                                          <p:stCondLst>
                                            <p:cond delay="0"/>
                                          </p:stCondLst>
                                        </p:cTn>
                                        <p:tgtEl>
                                          <p:spTgt spid="395"/>
                                        </p:tgtEl>
                                        <p:attrNameLst>
                                          <p:attrName>style.visibility</p:attrName>
                                        </p:attrNameLst>
                                      </p:cBhvr>
                                      <p:to>
                                        <p:strVal val="visible"/>
                                      </p:to>
                                    </p:set>
                                    <p:animEffect transition="in" filter="wipe(down)">
                                      <p:cBhvr>
                                        <p:cTn id="318" dur="500"/>
                                        <p:tgtEl>
                                          <p:spTgt spid="395"/>
                                        </p:tgtEl>
                                      </p:cBhvr>
                                    </p:animEffect>
                                  </p:childTnLst>
                                </p:cTn>
                              </p:par>
                              <p:par>
                                <p:cTn id="319" presetID="22" presetClass="entr" presetSubtype="4" fill="hold" nodeType="withEffect">
                                  <p:stCondLst>
                                    <p:cond delay="0"/>
                                  </p:stCondLst>
                                  <p:childTnLst>
                                    <p:set>
                                      <p:cBhvr>
                                        <p:cTn id="320" dur="1" fill="hold">
                                          <p:stCondLst>
                                            <p:cond delay="0"/>
                                          </p:stCondLst>
                                        </p:cTn>
                                        <p:tgtEl>
                                          <p:spTgt spid="397"/>
                                        </p:tgtEl>
                                        <p:attrNameLst>
                                          <p:attrName>style.visibility</p:attrName>
                                        </p:attrNameLst>
                                      </p:cBhvr>
                                      <p:to>
                                        <p:strVal val="visible"/>
                                      </p:to>
                                    </p:set>
                                    <p:animEffect transition="in" filter="wipe(down)">
                                      <p:cBhvr>
                                        <p:cTn id="321" dur="500"/>
                                        <p:tgtEl>
                                          <p:spTgt spid="397"/>
                                        </p:tgtEl>
                                      </p:cBhvr>
                                    </p:animEffect>
                                  </p:childTnLst>
                                </p:cTn>
                              </p:par>
                              <p:par>
                                <p:cTn id="322" presetID="22" presetClass="entr" presetSubtype="4" fill="hold" nodeType="withEffect">
                                  <p:stCondLst>
                                    <p:cond delay="0"/>
                                  </p:stCondLst>
                                  <p:childTnLst>
                                    <p:set>
                                      <p:cBhvr>
                                        <p:cTn id="323" dur="1" fill="hold">
                                          <p:stCondLst>
                                            <p:cond delay="0"/>
                                          </p:stCondLst>
                                        </p:cTn>
                                        <p:tgtEl>
                                          <p:spTgt spid="399"/>
                                        </p:tgtEl>
                                        <p:attrNameLst>
                                          <p:attrName>style.visibility</p:attrName>
                                        </p:attrNameLst>
                                      </p:cBhvr>
                                      <p:to>
                                        <p:strVal val="visible"/>
                                      </p:to>
                                    </p:set>
                                    <p:animEffect transition="in" filter="wipe(down)">
                                      <p:cBhvr>
                                        <p:cTn id="324" dur="500"/>
                                        <p:tgtEl>
                                          <p:spTgt spid="399"/>
                                        </p:tgtEl>
                                      </p:cBhvr>
                                    </p:animEffect>
                                  </p:childTnLst>
                                </p:cTn>
                              </p:par>
                            </p:childTnLst>
                          </p:cTn>
                        </p:par>
                      </p:childTnLst>
                    </p:cTn>
                  </p:par>
                  <p:par>
                    <p:cTn id="325" fill="hold">
                      <p:stCondLst>
                        <p:cond delay="indefinite"/>
                      </p:stCondLst>
                      <p:childTnLst>
                        <p:par>
                          <p:cTn id="326" fill="hold">
                            <p:stCondLst>
                              <p:cond delay="0"/>
                            </p:stCondLst>
                            <p:childTnLst>
                              <p:par>
                                <p:cTn id="327" presetID="2" presetClass="entr" presetSubtype="4" fill="hold" nodeType="clickEffect">
                                  <p:stCondLst>
                                    <p:cond delay="0"/>
                                  </p:stCondLst>
                                  <p:childTnLst>
                                    <p:set>
                                      <p:cBhvr>
                                        <p:cTn id="328" dur="1" fill="hold">
                                          <p:stCondLst>
                                            <p:cond delay="0"/>
                                          </p:stCondLst>
                                        </p:cTn>
                                        <p:tgtEl>
                                          <p:spTgt spid="400"/>
                                        </p:tgtEl>
                                        <p:attrNameLst>
                                          <p:attrName>style.visibility</p:attrName>
                                        </p:attrNameLst>
                                      </p:cBhvr>
                                      <p:to>
                                        <p:strVal val="visible"/>
                                      </p:to>
                                    </p:set>
                                    <p:anim calcmode="lin" valueType="num">
                                      <p:cBhvr additive="base">
                                        <p:cTn id="329" dur="500" fill="hold"/>
                                        <p:tgtEl>
                                          <p:spTgt spid="400"/>
                                        </p:tgtEl>
                                        <p:attrNameLst>
                                          <p:attrName>ppt_x</p:attrName>
                                        </p:attrNameLst>
                                      </p:cBhvr>
                                      <p:tavLst>
                                        <p:tav tm="0">
                                          <p:val>
                                            <p:strVal val="#ppt_x"/>
                                          </p:val>
                                        </p:tav>
                                        <p:tav tm="100000">
                                          <p:val>
                                            <p:strVal val="#ppt_x"/>
                                          </p:val>
                                        </p:tav>
                                      </p:tavLst>
                                    </p:anim>
                                    <p:anim calcmode="lin" valueType="num">
                                      <p:cBhvr additive="base">
                                        <p:cTn id="330" dur="500" fill="hold"/>
                                        <p:tgtEl>
                                          <p:spTgt spid="400"/>
                                        </p:tgtEl>
                                        <p:attrNameLst>
                                          <p:attrName>ppt_y</p:attrName>
                                        </p:attrNameLst>
                                      </p:cBhvr>
                                      <p:tavLst>
                                        <p:tav tm="0">
                                          <p:val>
                                            <p:strVal val="1+#ppt_h/2"/>
                                          </p:val>
                                        </p:tav>
                                        <p:tav tm="100000">
                                          <p:val>
                                            <p:strVal val="#ppt_y"/>
                                          </p:val>
                                        </p:tav>
                                      </p:tavLst>
                                    </p:anim>
                                  </p:childTnLst>
                                </p:cTn>
                              </p:par>
                              <p:par>
                                <p:cTn id="331" presetID="2" presetClass="entr" presetSubtype="4" fill="hold" grpId="0" nodeType="withEffect">
                                  <p:stCondLst>
                                    <p:cond delay="0"/>
                                  </p:stCondLst>
                                  <p:childTnLst>
                                    <p:set>
                                      <p:cBhvr>
                                        <p:cTn id="332" dur="1" fill="hold">
                                          <p:stCondLst>
                                            <p:cond delay="0"/>
                                          </p:stCondLst>
                                        </p:cTn>
                                        <p:tgtEl>
                                          <p:spTgt spid="403"/>
                                        </p:tgtEl>
                                        <p:attrNameLst>
                                          <p:attrName>style.visibility</p:attrName>
                                        </p:attrNameLst>
                                      </p:cBhvr>
                                      <p:to>
                                        <p:strVal val="visible"/>
                                      </p:to>
                                    </p:set>
                                    <p:anim calcmode="lin" valueType="num">
                                      <p:cBhvr additive="base">
                                        <p:cTn id="333" dur="500" fill="hold"/>
                                        <p:tgtEl>
                                          <p:spTgt spid="403"/>
                                        </p:tgtEl>
                                        <p:attrNameLst>
                                          <p:attrName>ppt_x</p:attrName>
                                        </p:attrNameLst>
                                      </p:cBhvr>
                                      <p:tavLst>
                                        <p:tav tm="0">
                                          <p:val>
                                            <p:strVal val="#ppt_x"/>
                                          </p:val>
                                        </p:tav>
                                        <p:tav tm="100000">
                                          <p:val>
                                            <p:strVal val="#ppt_x"/>
                                          </p:val>
                                        </p:tav>
                                      </p:tavLst>
                                    </p:anim>
                                    <p:anim calcmode="lin" valueType="num">
                                      <p:cBhvr additive="base">
                                        <p:cTn id="334" dur="500" fill="hold"/>
                                        <p:tgtEl>
                                          <p:spTgt spid="403"/>
                                        </p:tgtEl>
                                        <p:attrNameLst>
                                          <p:attrName>ppt_y</p:attrName>
                                        </p:attrNameLst>
                                      </p:cBhvr>
                                      <p:tavLst>
                                        <p:tav tm="0">
                                          <p:val>
                                            <p:strVal val="1+#ppt_h/2"/>
                                          </p:val>
                                        </p:tav>
                                        <p:tav tm="100000">
                                          <p:val>
                                            <p:strVal val="#ppt_y"/>
                                          </p:val>
                                        </p:tav>
                                      </p:tavLst>
                                    </p:anim>
                                  </p:childTnLst>
                                </p:cTn>
                              </p:par>
                            </p:childTnLst>
                          </p:cTn>
                        </p:par>
                      </p:childTnLst>
                    </p:cTn>
                  </p:par>
                  <p:par>
                    <p:cTn id="335" fill="hold">
                      <p:stCondLst>
                        <p:cond delay="indefinite"/>
                      </p:stCondLst>
                      <p:childTnLst>
                        <p:par>
                          <p:cTn id="336" fill="hold">
                            <p:stCondLst>
                              <p:cond delay="0"/>
                            </p:stCondLst>
                            <p:childTnLst>
                              <p:par>
                                <p:cTn id="337" presetID="10" presetClass="exit" presetSubtype="0" fill="hold" nodeType="clickEffect">
                                  <p:stCondLst>
                                    <p:cond delay="0"/>
                                  </p:stCondLst>
                                  <p:childTnLst>
                                    <p:animEffect transition="out" filter="fade">
                                      <p:cBhvr>
                                        <p:cTn id="338" dur="500"/>
                                        <p:tgtEl>
                                          <p:spTgt spid="9"/>
                                        </p:tgtEl>
                                      </p:cBhvr>
                                    </p:animEffect>
                                    <p:set>
                                      <p:cBhvr>
                                        <p:cTn id="339" dur="1" fill="hold">
                                          <p:stCondLst>
                                            <p:cond delay="499"/>
                                          </p:stCondLst>
                                        </p:cTn>
                                        <p:tgtEl>
                                          <p:spTgt spid="9"/>
                                        </p:tgtEl>
                                        <p:attrNameLst>
                                          <p:attrName>style.visibility</p:attrName>
                                        </p:attrNameLst>
                                      </p:cBhvr>
                                      <p:to>
                                        <p:strVal val="hidden"/>
                                      </p:to>
                                    </p:set>
                                  </p:childTnLst>
                                </p:cTn>
                              </p:par>
                              <p:par>
                                <p:cTn id="340" presetID="10" presetClass="exit" presetSubtype="0" fill="hold" nodeType="withEffect">
                                  <p:stCondLst>
                                    <p:cond delay="0"/>
                                  </p:stCondLst>
                                  <p:childTnLst>
                                    <p:animEffect transition="out" filter="fade">
                                      <p:cBhvr>
                                        <p:cTn id="341" dur="500"/>
                                        <p:tgtEl>
                                          <p:spTgt spid="11"/>
                                        </p:tgtEl>
                                      </p:cBhvr>
                                    </p:animEffect>
                                    <p:set>
                                      <p:cBhvr>
                                        <p:cTn id="342" dur="1" fill="hold">
                                          <p:stCondLst>
                                            <p:cond delay="499"/>
                                          </p:stCondLst>
                                        </p:cTn>
                                        <p:tgtEl>
                                          <p:spTgt spid="11"/>
                                        </p:tgtEl>
                                        <p:attrNameLst>
                                          <p:attrName>style.visibility</p:attrName>
                                        </p:attrNameLst>
                                      </p:cBhvr>
                                      <p:to>
                                        <p:strVal val="hidden"/>
                                      </p:to>
                                    </p:set>
                                  </p:childTnLst>
                                </p:cTn>
                              </p:par>
                              <p:par>
                                <p:cTn id="343" presetID="10" presetClass="exit" presetSubtype="0" fill="hold" nodeType="withEffect">
                                  <p:stCondLst>
                                    <p:cond delay="0"/>
                                  </p:stCondLst>
                                  <p:childTnLst>
                                    <p:animEffect transition="out" filter="fade">
                                      <p:cBhvr>
                                        <p:cTn id="344" dur="500"/>
                                        <p:tgtEl>
                                          <p:spTgt spid="293"/>
                                        </p:tgtEl>
                                      </p:cBhvr>
                                    </p:animEffect>
                                    <p:set>
                                      <p:cBhvr>
                                        <p:cTn id="345" dur="1" fill="hold">
                                          <p:stCondLst>
                                            <p:cond delay="499"/>
                                          </p:stCondLst>
                                        </p:cTn>
                                        <p:tgtEl>
                                          <p:spTgt spid="293"/>
                                        </p:tgtEl>
                                        <p:attrNameLst>
                                          <p:attrName>style.visibility</p:attrName>
                                        </p:attrNameLst>
                                      </p:cBhvr>
                                      <p:to>
                                        <p:strVal val="hidden"/>
                                      </p:to>
                                    </p:set>
                                  </p:childTnLst>
                                </p:cTn>
                              </p:par>
                              <p:par>
                                <p:cTn id="346" presetID="10" presetClass="exit" presetSubtype="0" fill="hold" nodeType="withEffect">
                                  <p:stCondLst>
                                    <p:cond delay="0"/>
                                  </p:stCondLst>
                                  <p:childTnLst>
                                    <p:animEffect transition="out" filter="fade">
                                      <p:cBhvr>
                                        <p:cTn id="347" dur="500"/>
                                        <p:tgtEl>
                                          <p:spTgt spid="299"/>
                                        </p:tgtEl>
                                      </p:cBhvr>
                                    </p:animEffect>
                                    <p:set>
                                      <p:cBhvr>
                                        <p:cTn id="348" dur="1" fill="hold">
                                          <p:stCondLst>
                                            <p:cond delay="499"/>
                                          </p:stCondLst>
                                        </p:cTn>
                                        <p:tgtEl>
                                          <p:spTgt spid="299"/>
                                        </p:tgtEl>
                                        <p:attrNameLst>
                                          <p:attrName>style.visibility</p:attrName>
                                        </p:attrNameLst>
                                      </p:cBhvr>
                                      <p:to>
                                        <p:strVal val="hidden"/>
                                      </p:to>
                                    </p:set>
                                  </p:childTnLst>
                                </p:cTn>
                              </p:par>
                              <p:par>
                                <p:cTn id="349" presetID="10" presetClass="exit" presetSubtype="0" fill="hold" nodeType="withEffect">
                                  <p:stCondLst>
                                    <p:cond delay="0"/>
                                  </p:stCondLst>
                                  <p:childTnLst>
                                    <p:animEffect transition="out" filter="fade">
                                      <p:cBhvr>
                                        <p:cTn id="350" dur="500"/>
                                        <p:tgtEl>
                                          <p:spTgt spid="301"/>
                                        </p:tgtEl>
                                      </p:cBhvr>
                                    </p:animEffect>
                                    <p:set>
                                      <p:cBhvr>
                                        <p:cTn id="351" dur="1" fill="hold">
                                          <p:stCondLst>
                                            <p:cond delay="499"/>
                                          </p:stCondLst>
                                        </p:cTn>
                                        <p:tgtEl>
                                          <p:spTgt spid="301"/>
                                        </p:tgtEl>
                                        <p:attrNameLst>
                                          <p:attrName>style.visibility</p:attrName>
                                        </p:attrNameLst>
                                      </p:cBhvr>
                                      <p:to>
                                        <p:strVal val="hidden"/>
                                      </p:to>
                                    </p:set>
                                  </p:childTnLst>
                                </p:cTn>
                              </p:par>
                              <p:par>
                                <p:cTn id="352" presetID="10" presetClass="exit" presetSubtype="0" fill="hold" nodeType="withEffect">
                                  <p:stCondLst>
                                    <p:cond delay="0"/>
                                  </p:stCondLst>
                                  <p:childTnLst>
                                    <p:animEffect transition="out" filter="fade">
                                      <p:cBhvr>
                                        <p:cTn id="353" dur="500"/>
                                        <p:tgtEl>
                                          <p:spTgt spid="328"/>
                                        </p:tgtEl>
                                      </p:cBhvr>
                                    </p:animEffect>
                                    <p:set>
                                      <p:cBhvr>
                                        <p:cTn id="354" dur="1" fill="hold">
                                          <p:stCondLst>
                                            <p:cond delay="499"/>
                                          </p:stCondLst>
                                        </p:cTn>
                                        <p:tgtEl>
                                          <p:spTgt spid="328"/>
                                        </p:tgtEl>
                                        <p:attrNameLst>
                                          <p:attrName>style.visibility</p:attrName>
                                        </p:attrNameLst>
                                      </p:cBhvr>
                                      <p:to>
                                        <p:strVal val="hidden"/>
                                      </p:to>
                                    </p:set>
                                  </p:childTnLst>
                                </p:cTn>
                              </p:par>
                              <p:par>
                                <p:cTn id="355" presetID="10" presetClass="exit" presetSubtype="0" fill="hold" nodeType="withEffect">
                                  <p:stCondLst>
                                    <p:cond delay="0"/>
                                  </p:stCondLst>
                                  <p:childTnLst>
                                    <p:animEffect transition="out" filter="fade">
                                      <p:cBhvr>
                                        <p:cTn id="356" dur="500"/>
                                        <p:tgtEl>
                                          <p:spTgt spid="325"/>
                                        </p:tgtEl>
                                      </p:cBhvr>
                                    </p:animEffect>
                                    <p:set>
                                      <p:cBhvr>
                                        <p:cTn id="357" dur="1" fill="hold">
                                          <p:stCondLst>
                                            <p:cond delay="499"/>
                                          </p:stCondLst>
                                        </p:cTn>
                                        <p:tgtEl>
                                          <p:spTgt spid="325"/>
                                        </p:tgtEl>
                                        <p:attrNameLst>
                                          <p:attrName>style.visibility</p:attrName>
                                        </p:attrNameLst>
                                      </p:cBhvr>
                                      <p:to>
                                        <p:strVal val="hidden"/>
                                      </p:to>
                                    </p:set>
                                  </p:childTnLst>
                                </p:cTn>
                              </p:par>
                              <p:par>
                                <p:cTn id="358" presetID="10" presetClass="exit" presetSubtype="0" fill="hold" nodeType="withEffect">
                                  <p:stCondLst>
                                    <p:cond delay="0"/>
                                  </p:stCondLst>
                                  <p:childTnLst>
                                    <p:animEffect transition="out" filter="fade">
                                      <p:cBhvr>
                                        <p:cTn id="359" dur="500"/>
                                        <p:tgtEl>
                                          <p:spTgt spid="330"/>
                                        </p:tgtEl>
                                      </p:cBhvr>
                                    </p:animEffect>
                                    <p:set>
                                      <p:cBhvr>
                                        <p:cTn id="360" dur="1" fill="hold">
                                          <p:stCondLst>
                                            <p:cond delay="499"/>
                                          </p:stCondLst>
                                        </p:cTn>
                                        <p:tgtEl>
                                          <p:spTgt spid="330"/>
                                        </p:tgtEl>
                                        <p:attrNameLst>
                                          <p:attrName>style.visibility</p:attrName>
                                        </p:attrNameLst>
                                      </p:cBhvr>
                                      <p:to>
                                        <p:strVal val="hidden"/>
                                      </p:to>
                                    </p:set>
                                  </p:childTnLst>
                                </p:cTn>
                              </p:par>
                              <p:par>
                                <p:cTn id="361" presetID="10" presetClass="exit" presetSubtype="0" fill="hold" nodeType="withEffect">
                                  <p:stCondLst>
                                    <p:cond delay="0"/>
                                  </p:stCondLst>
                                  <p:childTnLst>
                                    <p:animEffect transition="out" filter="fade">
                                      <p:cBhvr>
                                        <p:cTn id="362" dur="500"/>
                                        <p:tgtEl>
                                          <p:spTgt spid="322"/>
                                        </p:tgtEl>
                                      </p:cBhvr>
                                    </p:animEffect>
                                    <p:set>
                                      <p:cBhvr>
                                        <p:cTn id="363" dur="1" fill="hold">
                                          <p:stCondLst>
                                            <p:cond delay="499"/>
                                          </p:stCondLst>
                                        </p:cTn>
                                        <p:tgtEl>
                                          <p:spTgt spid="322"/>
                                        </p:tgtEl>
                                        <p:attrNameLst>
                                          <p:attrName>style.visibility</p:attrName>
                                        </p:attrNameLst>
                                      </p:cBhvr>
                                      <p:to>
                                        <p:strVal val="hidden"/>
                                      </p:to>
                                    </p:set>
                                  </p:childTnLst>
                                </p:cTn>
                              </p:par>
                              <p:par>
                                <p:cTn id="364" presetID="10" presetClass="exit" presetSubtype="0" fill="hold" nodeType="withEffect">
                                  <p:stCondLst>
                                    <p:cond delay="0"/>
                                  </p:stCondLst>
                                  <p:childTnLst>
                                    <p:animEffect transition="out" filter="fade">
                                      <p:cBhvr>
                                        <p:cTn id="365" dur="500"/>
                                        <p:tgtEl>
                                          <p:spTgt spid="337"/>
                                        </p:tgtEl>
                                      </p:cBhvr>
                                    </p:animEffect>
                                    <p:set>
                                      <p:cBhvr>
                                        <p:cTn id="366" dur="1" fill="hold">
                                          <p:stCondLst>
                                            <p:cond delay="499"/>
                                          </p:stCondLst>
                                        </p:cTn>
                                        <p:tgtEl>
                                          <p:spTgt spid="337"/>
                                        </p:tgtEl>
                                        <p:attrNameLst>
                                          <p:attrName>style.visibility</p:attrName>
                                        </p:attrNameLst>
                                      </p:cBhvr>
                                      <p:to>
                                        <p:strVal val="hidden"/>
                                      </p:to>
                                    </p:set>
                                  </p:childTnLst>
                                </p:cTn>
                              </p:par>
                              <p:par>
                                <p:cTn id="367" presetID="10" presetClass="exit" presetSubtype="0" fill="hold" nodeType="withEffect">
                                  <p:stCondLst>
                                    <p:cond delay="0"/>
                                  </p:stCondLst>
                                  <p:childTnLst>
                                    <p:animEffect transition="out" filter="fade">
                                      <p:cBhvr>
                                        <p:cTn id="368" dur="500"/>
                                        <p:tgtEl>
                                          <p:spTgt spid="336"/>
                                        </p:tgtEl>
                                      </p:cBhvr>
                                    </p:animEffect>
                                    <p:set>
                                      <p:cBhvr>
                                        <p:cTn id="369" dur="1" fill="hold">
                                          <p:stCondLst>
                                            <p:cond delay="499"/>
                                          </p:stCondLst>
                                        </p:cTn>
                                        <p:tgtEl>
                                          <p:spTgt spid="336"/>
                                        </p:tgtEl>
                                        <p:attrNameLst>
                                          <p:attrName>style.visibility</p:attrName>
                                        </p:attrNameLst>
                                      </p:cBhvr>
                                      <p:to>
                                        <p:strVal val="hidden"/>
                                      </p:to>
                                    </p:set>
                                  </p:childTnLst>
                                </p:cTn>
                              </p:par>
                              <p:par>
                                <p:cTn id="370" presetID="10" presetClass="exit" presetSubtype="0" fill="hold" nodeType="withEffect">
                                  <p:stCondLst>
                                    <p:cond delay="0"/>
                                  </p:stCondLst>
                                  <p:childTnLst>
                                    <p:animEffect transition="out" filter="fade">
                                      <p:cBhvr>
                                        <p:cTn id="371" dur="500"/>
                                        <p:tgtEl>
                                          <p:spTgt spid="342"/>
                                        </p:tgtEl>
                                      </p:cBhvr>
                                    </p:animEffect>
                                    <p:set>
                                      <p:cBhvr>
                                        <p:cTn id="372" dur="1" fill="hold">
                                          <p:stCondLst>
                                            <p:cond delay="499"/>
                                          </p:stCondLst>
                                        </p:cTn>
                                        <p:tgtEl>
                                          <p:spTgt spid="342"/>
                                        </p:tgtEl>
                                        <p:attrNameLst>
                                          <p:attrName>style.visibility</p:attrName>
                                        </p:attrNameLst>
                                      </p:cBhvr>
                                      <p:to>
                                        <p:strVal val="hidden"/>
                                      </p:to>
                                    </p:set>
                                  </p:childTnLst>
                                </p:cTn>
                              </p:par>
                              <p:par>
                                <p:cTn id="373" presetID="10" presetClass="exit" presetSubtype="0" fill="hold" nodeType="withEffect">
                                  <p:stCondLst>
                                    <p:cond delay="0"/>
                                  </p:stCondLst>
                                  <p:childTnLst>
                                    <p:animEffect transition="out" filter="fade">
                                      <p:cBhvr>
                                        <p:cTn id="374" dur="500"/>
                                        <p:tgtEl>
                                          <p:spTgt spid="334"/>
                                        </p:tgtEl>
                                      </p:cBhvr>
                                    </p:animEffect>
                                    <p:set>
                                      <p:cBhvr>
                                        <p:cTn id="375" dur="1" fill="hold">
                                          <p:stCondLst>
                                            <p:cond delay="499"/>
                                          </p:stCondLst>
                                        </p:cTn>
                                        <p:tgtEl>
                                          <p:spTgt spid="334"/>
                                        </p:tgtEl>
                                        <p:attrNameLst>
                                          <p:attrName>style.visibility</p:attrName>
                                        </p:attrNameLst>
                                      </p:cBhvr>
                                      <p:to>
                                        <p:strVal val="hidden"/>
                                      </p:to>
                                    </p:set>
                                  </p:childTnLst>
                                </p:cTn>
                              </p:par>
                              <p:par>
                                <p:cTn id="376" presetID="10" presetClass="exit" presetSubtype="0" fill="hold" nodeType="withEffect">
                                  <p:stCondLst>
                                    <p:cond delay="0"/>
                                  </p:stCondLst>
                                  <p:childTnLst>
                                    <p:animEffect transition="out" filter="fade">
                                      <p:cBhvr>
                                        <p:cTn id="377" dur="500"/>
                                        <p:tgtEl>
                                          <p:spTgt spid="278"/>
                                        </p:tgtEl>
                                      </p:cBhvr>
                                    </p:animEffect>
                                    <p:set>
                                      <p:cBhvr>
                                        <p:cTn id="378" dur="1" fill="hold">
                                          <p:stCondLst>
                                            <p:cond delay="499"/>
                                          </p:stCondLst>
                                        </p:cTn>
                                        <p:tgtEl>
                                          <p:spTgt spid="278"/>
                                        </p:tgtEl>
                                        <p:attrNameLst>
                                          <p:attrName>style.visibility</p:attrName>
                                        </p:attrNameLst>
                                      </p:cBhvr>
                                      <p:to>
                                        <p:strVal val="hidden"/>
                                      </p:to>
                                    </p:set>
                                  </p:childTnLst>
                                </p:cTn>
                              </p:par>
                              <p:par>
                                <p:cTn id="379" presetID="10" presetClass="exit" presetSubtype="0" fill="hold" grpId="2" nodeType="withEffect">
                                  <p:stCondLst>
                                    <p:cond delay="0"/>
                                  </p:stCondLst>
                                  <p:childTnLst>
                                    <p:animEffect transition="out" filter="fade">
                                      <p:cBhvr>
                                        <p:cTn id="380" dur="500"/>
                                        <p:tgtEl>
                                          <p:spTgt spid="350"/>
                                        </p:tgtEl>
                                      </p:cBhvr>
                                    </p:animEffect>
                                    <p:set>
                                      <p:cBhvr>
                                        <p:cTn id="381" dur="1" fill="hold">
                                          <p:stCondLst>
                                            <p:cond delay="499"/>
                                          </p:stCondLst>
                                        </p:cTn>
                                        <p:tgtEl>
                                          <p:spTgt spid="350"/>
                                        </p:tgtEl>
                                        <p:attrNameLst>
                                          <p:attrName>style.visibility</p:attrName>
                                        </p:attrNameLst>
                                      </p:cBhvr>
                                      <p:to>
                                        <p:strVal val="hidden"/>
                                      </p:to>
                                    </p:set>
                                  </p:childTnLst>
                                </p:cTn>
                              </p:par>
                              <p:par>
                                <p:cTn id="382" presetID="10" presetClass="exit" presetSubtype="0" fill="hold" nodeType="withEffect">
                                  <p:stCondLst>
                                    <p:cond delay="0"/>
                                  </p:stCondLst>
                                  <p:childTnLst>
                                    <p:animEffect transition="out" filter="fade">
                                      <p:cBhvr>
                                        <p:cTn id="383" dur="500"/>
                                        <p:tgtEl>
                                          <p:spTgt spid="352"/>
                                        </p:tgtEl>
                                      </p:cBhvr>
                                    </p:animEffect>
                                    <p:set>
                                      <p:cBhvr>
                                        <p:cTn id="384" dur="1" fill="hold">
                                          <p:stCondLst>
                                            <p:cond delay="499"/>
                                          </p:stCondLst>
                                        </p:cTn>
                                        <p:tgtEl>
                                          <p:spTgt spid="352"/>
                                        </p:tgtEl>
                                        <p:attrNameLst>
                                          <p:attrName>style.visibility</p:attrName>
                                        </p:attrNameLst>
                                      </p:cBhvr>
                                      <p:to>
                                        <p:strVal val="hidden"/>
                                      </p:to>
                                    </p:set>
                                  </p:childTnLst>
                                </p:cTn>
                              </p:par>
                              <p:par>
                                <p:cTn id="385" presetID="10" presetClass="exit" presetSubtype="0" fill="hold" nodeType="withEffect">
                                  <p:stCondLst>
                                    <p:cond delay="0"/>
                                  </p:stCondLst>
                                  <p:childTnLst>
                                    <p:animEffect transition="out" filter="fade">
                                      <p:cBhvr>
                                        <p:cTn id="386" dur="500"/>
                                        <p:tgtEl>
                                          <p:spTgt spid="351"/>
                                        </p:tgtEl>
                                      </p:cBhvr>
                                    </p:animEffect>
                                    <p:set>
                                      <p:cBhvr>
                                        <p:cTn id="387" dur="1" fill="hold">
                                          <p:stCondLst>
                                            <p:cond delay="499"/>
                                          </p:stCondLst>
                                        </p:cTn>
                                        <p:tgtEl>
                                          <p:spTgt spid="351"/>
                                        </p:tgtEl>
                                        <p:attrNameLst>
                                          <p:attrName>style.visibility</p:attrName>
                                        </p:attrNameLst>
                                      </p:cBhvr>
                                      <p:to>
                                        <p:strVal val="hidden"/>
                                      </p:to>
                                    </p:set>
                                  </p:childTnLst>
                                </p:cTn>
                              </p:par>
                              <p:par>
                                <p:cTn id="388" presetID="10" presetClass="exit" presetSubtype="0" fill="hold" nodeType="withEffect">
                                  <p:stCondLst>
                                    <p:cond delay="0"/>
                                  </p:stCondLst>
                                  <p:childTnLst>
                                    <p:animEffect transition="out" filter="fade">
                                      <p:cBhvr>
                                        <p:cTn id="389" dur="500"/>
                                        <p:tgtEl>
                                          <p:spTgt spid="358"/>
                                        </p:tgtEl>
                                      </p:cBhvr>
                                    </p:animEffect>
                                    <p:set>
                                      <p:cBhvr>
                                        <p:cTn id="390" dur="1" fill="hold">
                                          <p:stCondLst>
                                            <p:cond delay="499"/>
                                          </p:stCondLst>
                                        </p:cTn>
                                        <p:tgtEl>
                                          <p:spTgt spid="358"/>
                                        </p:tgtEl>
                                        <p:attrNameLst>
                                          <p:attrName>style.visibility</p:attrName>
                                        </p:attrNameLst>
                                      </p:cBhvr>
                                      <p:to>
                                        <p:strVal val="hidden"/>
                                      </p:to>
                                    </p:set>
                                  </p:childTnLst>
                                </p:cTn>
                              </p:par>
                              <p:par>
                                <p:cTn id="391" presetID="10" presetClass="exit" presetSubtype="0" fill="hold" nodeType="withEffect">
                                  <p:stCondLst>
                                    <p:cond delay="0"/>
                                  </p:stCondLst>
                                  <p:childTnLst>
                                    <p:animEffect transition="out" filter="fade">
                                      <p:cBhvr>
                                        <p:cTn id="392" dur="500"/>
                                        <p:tgtEl>
                                          <p:spTgt spid="357"/>
                                        </p:tgtEl>
                                      </p:cBhvr>
                                    </p:animEffect>
                                    <p:set>
                                      <p:cBhvr>
                                        <p:cTn id="393" dur="1" fill="hold">
                                          <p:stCondLst>
                                            <p:cond delay="499"/>
                                          </p:stCondLst>
                                        </p:cTn>
                                        <p:tgtEl>
                                          <p:spTgt spid="357"/>
                                        </p:tgtEl>
                                        <p:attrNameLst>
                                          <p:attrName>style.visibility</p:attrName>
                                        </p:attrNameLst>
                                      </p:cBhvr>
                                      <p:to>
                                        <p:strVal val="hidden"/>
                                      </p:to>
                                    </p:set>
                                  </p:childTnLst>
                                </p:cTn>
                              </p:par>
                              <p:par>
                                <p:cTn id="394" presetID="10" presetClass="exit" presetSubtype="0" fill="hold" nodeType="withEffect">
                                  <p:stCondLst>
                                    <p:cond delay="0"/>
                                  </p:stCondLst>
                                  <p:childTnLst>
                                    <p:animEffect transition="out" filter="fade">
                                      <p:cBhvr>
                                        <p:cTn id="395" dur="500"/>
                                        <p:tgtEl>
                                          <p:spTgt spid="362"/>
                                        </p:tgtEl>
                                      </p:cBhvr>
                                    </p:animEffect>
                                    <p:set>
                                      <p:cBhvr>
                                        <p:cTn id="396" dur="1" fill="hold">
                                          <p:stCondLst>
                                            <p:cond delay="499"/>
                                          </p:stCondLst>
                                        </p:cTn>
                                        <p:tgtEl>
                                          <p:spTgt spid="362"/>
                                        </p:tgtEl>
                                        <p:attrNameLst>
                                          <p:attrName>style.visibility</p:attrName>
                                        </p:attrNameLst>
                                      </p:cBhvr>
                                      <p:to>
                                        <p:strVal val="hidden"/>
                                      </p:to>
                                    </p:set>
                                  </p:childTnLst>
                                </p:cTn>
                              </p:par>
                              <p:par>
                                <p:cTn id="397" presetID="10" presetClass="exit" presetSubtype="0" fill="hold" grpId="2" nodeType="withEffect">
                                  <p:stCondLst>
                                    <p:cond delay="0"/>
                                  </p:stCondLst>
                                  <p:childTnLst>
                                    <p:animEffect transition="out" filter="fade">
                                      <p:cBhvr>
                                        <p:cTn id="398" dur="500"/>
                                        <p:tgtEl>
                                          <p:spTgt spid="363"/>
                                        </p:tgtEl>
                                      </p:cBhvr>
                                    </p:animEffect>
                                    <p:set>
                                      <p:cBhvr>
                                        <p:cTn id="399" dur="1" fill="hold">
                                          <p:stCondLst>
                                            <p:cond delay="499"/>
                                          </p:stCondLst>
                                        </p:cTn>
                                        <p:tgtEl>
                                          <p:spTgt spid="363"/>
                                        </p:tgtEl>
                                        <p:attrNameLst>
                                          <p:attrName>style.visibility</p:attrName>
                                        </p:attrNameLst>
                                      </p:cBhvr>
                                      <p:to>
                                        <p:strVal val="hidden"/>
                                      </p:to>
                                    </p:set>
                                  </p:childTnLst>
                                </p:cTn>
                              </p:par>
                              <p:par>
                                <p:cTn id="400" presetID="10" presetClass="exit" presetSubtype="0" fill="hold" nodeType="withEffect">
                                  <p:stCondLst>
                                    <p:cond delay="0"/>
                                  </p:stCondLst>
                                  <p:childTnLst>
                                    <p:animEffect transition="out" filter="fade">
                                      <p:cBhvr>
                                        <p:cTn id="401" dur="500"/>
                                        <p:tgtEl>
                                          <p:spTgt spid="365"/>
                                        </p:tgtEl>
                                      </p:cBhvr>
                                    </p:animEffect>
                                    <p:set>
                                      <p:cBhvr>
                                        <p:cTn id="402" dur="1" fill="hold">
                                          <p:stCondLst>
                                            <p:cond delay="499"/>
                                          </p:stCondLst>
                                        </p:cTn>
                                        <p:tgtEl>
                                          <p:spTgt spid="365"/>
                                        </p:tgtEl>
                                        <p:attrNameLst>
                                          <p:attrName>style.visibility</p:attrName>
                                        </p:attrNameLst>
                                      </p:cBhvr>
                                      <p:to>
                                        <p:strVal val="hidden"/>
                                      </p:to>
                                    </p:set>
                                  </p:childTnLst>
                                </p:cTn>
                              </p:par>
                              <p:par>
                                <p:cTn id="403" presetID="10" presetClass="exit" presetSubtype="0" fill="hold" nodeType="withEffect">
                                  <p:stCondLst>
                                    <p:cond delay="0"/>
                                  </p:stCondLst>
                                  <p:childTnLst>
                                    <p:animEffect transition="out" filter="fade">
                                      <p:cBhvr>
                                        <p:cTn id="404" dur="500"/>
                                        <p:tgtEl>
                                          <p:spTgt spid="366"/>
                                        </p:tgtEl>
                                      </p:cBhvr>
                                    </p:animEffect>
                                    <p:set>
                                      <p:cBhvr>
                                        <p:cTn id="405" dur="1" fill="hold">
                                          <p:stCondLst>
                                            <p:cond delay="499"/>
                                          </p:stCondLst>
                                        </p:cTn>
                                        <p:tgtEl>
                                          <p:spTgt spid="366"/>
                                        </p:tgtEl>
                                        <p:attrNameLst>
                                          <p:attrName>style.visibility</p:attrName>
                                        </p:attrNameLst>
                                      </p:cBhvr>
                                      <p:to>
                                        <p:strVal val="hidden"/>
                                      </p:to>
                                    </p:set>
                                  </p:childTnLst>
                                </p:cTn>
                              </p:par>
                              <p:par>
                                <p:cTn id="406" presetID="10" presetClass="exit" presetSubtype="0" fill="hold" nodeType="withEffect">
                                  <p:stCondLst>
                                    <p:cond delay="0"/>
                                  </p:stCondLst>
                                  <p:childTnLst>
                                    <p:animEffect transition="out" filter="fade">
                                      <p:cBhvr>
                                        <p:cTn id="407" dur="500"/>
                                        <p:tgtEl>
                                          <p:spTgt spid="369"/>
                                        </p:tgtEl>
                                      </p:cBhvr>
                                    </p:animEffect>
                                    <p:set>
                                      <p:cBhvr>
                                        <p:cTn id="408" dur="1" fill="hold">
                                          <p:stCondLst>
                                            <p:cond delay="499"/>
                                          </p:stCondLst>
                                        </p:cTn>
                                        <p:tgtEl>
                                          <p:spTgt spid="369"/>
                                        </p:tgtEl>
                                        <p:attrNameLst>
                                          <p:attrName>style.visibility</p:attrName>
                                        </p:attrNameLst>
                                      </p:cBhvr>
                                      <p:to>
                                        <p:strVal val="hidden"/>
                                      </p:to>
                                    </p:set>
                                  </p:childTnLst>
                                </p:cTn>
                              </p:par>
                              <p:par>
                                <p:cTn id="409" presetID="10" presetClass="exit" presetSubtype="0" fill="hold" nodeType="withEffect">
                                  <p:stCondLst>
                                    <p:cond delay="0"/>
                                  </p:stCondLst>
                                  <p:childTnLst>
                                    <p:animEffect transition="out" filter="fade">
                                      <p:cBhvr>
                                        <p:cTn id="410" dur="500"/>
                                        <p:tgtEl>
                                          <p:spTgt spid="370"/>
                                        </p:tgtEl>
                                      </p:cBhvr>
                                    </p:animEffect>
                                    <p:set>
                                      <p:cBhvr>
                                        <p:cTn id="411" dur="1" fill="hold">
                                          <p:stCondLst>
                                            <p:cond delay="499"/>
                                          </p:stCondLst>
                                        </p:cTn>
                                        <p:tgtEl>
                                          <p:spTgt spid="370"/>
                                        </p:tgtEl>
                                        <p:attrNameLst>
                                          <p:attrName>style.visibility</p:attrName>
                                        </p:attrNameLst>
                                      </p:cBhvr>
                                      <p:to>
                                        <p:strVal val="hidden"/>
                                      </p:to>
                                    </p:set>
                                  </p:childTnLst>
                                </p:cTn>
                              </p:par>
                              <p:par>
                                <p:cTn id="412" presetID="10" presetClass="exit" presetSubtype="0" fill="hold" nodeType="withEffect">
                                  <p:stCondLst>
                                    <p:cond delay="0"/>
                                  </p:stCondLst>
                                  <p:childTnLst>
                                    <p:animEffect transition="out" filter="fade">
                                      <p:cBhvr>
                                        <p:cTn id="413" dur="500"/>
                                        <p:tgtEl>
                                          <p:spTgt spid="373"/>
                                        </p:tgtEl>
                                      </p:cBhvr>
                                    </p:animEffect>
                                    <p:set>
                                      <p:cBhvr>
                                        <p:cTn id="414" dur="1" fill="hold">
                                          <p:stCondLst>
                                            <p:cond delay="499"/>
                                          </p:stCondLst>
                                        </p:cTn>
                                        <p:tgtEl>
                                          <p:spTgt spid="373"/>
                                        </p:tgtEl>
                                        <p:attrNameLst>
                                          <p:attrName>style.visibility</p:attrName>
                                        </p:attrNameLst>
                                      </p:cBhvr>
                                      <p:to>
                                        <p:strVal val="hidden"/>
                                      </p:to>
                                    </p:set>
                                  </p:childTnLst>
                                </p:cTn>
                              </p:par>
                              <p:par>
                                <p:cTn id="415" presetID="10" presetClass="exit" presetSubtype="0" fill="hold" grpId="2" nodeType="withEffect">
                                  <p:stCondLst>
                                    <p:cond delay="0"/>
                                  </p:stCondLst>
                                  <p:childTnLst>
                                    <p:animEffect transition="out" filter="fade">
                                      <p:cBhvr>
                                        <p:cTn id="416" dur="500"/>
                                        <p:tgtEl>
                                          <p:spTgt spid="374"/>
                                        </p:tgtEl>
                                      </p:cBhvr>
                                    </p:animEffect>
                                    <p:set>
                                      <p:cBhvr>
                                        <p:cTn id="417" dur="1" fill="hold">
                                          <p:stCondLst>
                                            <p:cond delay="499"/>
                                          </p:stCondLst>
                                        </p:cTn>
                                        <p:tgtEl>
                                          <p:spTgt spid="374"/>
                                        </p:tgtEl>
                                        <p:attrNameLst>
                                          <p:attrName>style.visibility</p:attrName>
                                        </p:attrNameLst>
                                      </p:cBhvr>
                                      <p:to>
                                        <p:strVal val="hidden"/>
                                      </p:to>
                                    </p:set>
                                  </p:childTnLst>
                                </p:cTn>
                              </p:par>
                              <p:par>
                                <p:cTn id="418" presetID="10" presetClass="exit" presetSubtype="0" fill="hold" nodeType="withEffect">
                                  <p:stCondLst>
                                    <p:cond delay="0"/>
                                  </p:stCondLst>
                                  <p:childTnLst>
                                    <p:animEffect transition="out" filter="fade">
                                      <p:cBhvr>
                                        <p:cTn id="419" dur="500"/>
                                        <p:tgtEl>
                                          <p:spTgt spid="375"/>
                                        </p:tgtEl>
                                      </p:cBhvr>
                                    </p:animEffect>
                                    <p:set>
                                      <p:cBhvr>
                                        <p:cTn id="420" dur="1" fill="hold">
                                          <p:stCondLst>
                                            <p:cond delay="499"/>
                                          </p:stCondLst>
                                        </p:cTn>
                                        <p:tgtEl>
                                          <p:spTgt spid="375"/>
                                        </p:tgtEl>
                                        <p:attrNameLst>
                                          <p:attrName>style.visibility</p:attrName>
                                        </p:attrNameLst>
                                      </p:cBhvr>
                                      <p:to>
                                        <p:strVal val="hidden"/>
                                      </p:to>
                                    </p:set>
                                  </p:childTnLst>
                                </p:cTn>
                              </p:par>
                              <p:par>
                                <p:cTn id="421" presetID="10" presetClass="exit" presetSubtype="0" fill="hold" nodeType="withEffect">
                                  <p:stCondLst>
                                    <p:cond delay="0"/>
                                  </p:stCondLst>
                                  <p:childTnLst>
                                    <p:animEffect transition="out" filter="fade">
                                      <p:cBhvr>
                                        <p:cTn id="422" dur="500"/>
                                        <p:tgtEl>
                                          <p:spTgt spid="376"/>
                                        </p:tgtEl>
                                      </p:cBhvr>
                                    </p:animEffect>
                                    <p:set>
                                      <p:cBhvr>
                                        <p:cTn id="423" dur="1" fill="hold">
                                          <p:stCondLst>
                                            <p:cond delay="499"/>
                                          </p:stCondLst>
                                        </p:cTn>
                                        <p:tgtEl>
                                          <p:spTgt spid="376"/>
                                        </p:tgtEl>
                                        <p:attrNameLst>
                                          <p:attrName>style.visibility</p:attrName>
                                        </p:attrNameLst>
                                      </p:cBhvr>
                                      <p:to>
                                        <p:strVal val="hidden"/>
                                      </p:to>
                                    </p:set>
                                  </p:childTnLst>
                                </p:cTn>
                              </p:par>
                              <p:par>
                                <p:cTn id="424" presetID="10" presetClass="exit" presetSubtype="0" fill="hold" nodeType="withEffect">
                                  <p:stCondLst>
                                    <p:cond delay="0"/>
                                  </p:stCondLst>
                                  <p:childTnLst>
                                    <p:animEffect transition="out" filter="fade">
                                      <p:cBhvr>
                                        <p:cTn id="425" dur="500"/>
                                        <p:tgtEl>
                                          <p:spTgt spid="377"/>
                                        </p:tgtEl>
                                      </p:cBhvr>
                                    </p:animEffect>
                                    <p:set>
                                      <p:cBhvr>
                                        <p:cTn id="426" dur="1" fill="hold">
                                          <p:stCondLst>
                                            <p:cond delay="499"/>
                                          </p:stCondLst>
                                        </p:cTn>
                                        <p:tgtEl>
                                          <p:spTgt spid="377"/>
                                        </p:tgtEl>
                                        <p:attrNameLst>
                                          <p:attrName>style.visibility</p:attrName>
                                        </p:attrNameLst>
                                      </p:cBhvr>
                                      <p:to>
                                        <p:strVal val="hidden"/>
                                      </p:to>
                                    </p:set>
                                  </p:childTnLst>
                                </p:cTn>
                              </p:par>
                              <p:par>
                                <p:cTn id="427" presetID="10" presetClass="exit" presetSubtype="0" fill="hold" nodeType="withEffect">
                                  <p:stCondLst>
                                    <p:cond delay="0"/>
                                  </p:stCondLst>
                                  <p:childTnLst>
                                    <p:animEffect transition="out" filter="fade">
                                      <p:cBhvr>
                                        <p:cTn id="428" dur="500"/>
                                        <p:tgtEl>
                                          <p:spTgt spid="379"/>
                                        </p:tgtEl>
                                      </p:cBhvr>
                                    </p:animEffect>
                                    <p:set>
                                      <p:cBhvr>
                                        <p:cTn id="429" dur="1" fill="hold">
                                          <p:stCondLst>
                                            <p:cond delay="499"/>
                                          </p:stCondLst>
                                        </p:cTn>
                                        <p:tgtEl>
                                          <p:spTgt spid="379"/>
                                        </p:tgtEl>
                                        <p:attrNameLst>
                                          <p:attrName>style.visibility</p:attrName>
                                        </p:attrNameLst>
                                      </p:cBhvr>
                                      <p:to>
                                        <p:strVal val="hidden"/>
                                      </p:to>
                                    </p:set>
                                  </p:childTnLst>
                                </p:cTn>
                              </p:par>
                              <p:par>
                                <p:cTn id="430" presetID="10" presetClass="exit" presetSubtype="0" fill="hold" nodeType="withEffect">
                                  <p:stCondLst>
                                    <p:cond delay="0"/>
                                  </p:stCondLst>
                                  <p:childTnLst>
                                    <p:animEffect transition="out" filter="fade">
                                      <p:cBhvr>
                                        <p:cTn id="431" dur="500"/>
                                        <p:tgtEl>
                                          <p:spTgt spid="382"/>
                                        </p:tgtEl>
                                      </p:cBhvr>
                                    </p:animEffect>
                                    <p:set>
                                      <p:cBhvr>
                                        <p:cTn id="432" dur="1" fill="hold">
                                          <p:stCondLst>
                                            <p:cond delay="499"/>
                                          </p:stCondLst>
                                        </p:cTn>
                                        <p:tgtEl>
                                          <p:spTgt spid="382"/>
                                        </p:tgtEl>
                                        <p:attrNameLst>
                                          <p:attrName>style.visibility</p:attrName>
                                        </p:attrNameLst>
                                      </p:cBhvr>
                                      <p:to>
                                        <p:strVal val="hidden"/>
                                      </p:to>
                                    </p:set>
                                  </p:childTnLst>
                                </p:cTn>
                              </p:par>
                              <p:par>
                                <p:cTn id="433" presetID="10" presetClass="exit" presetSubtype="0" fill="hold" grpId="2" nodeType="withEffect">
                                  <p:stCondLst>
                                    <p:cond delay="0"/>
                                  </p:stCondLst>
                                  <p:childTnLst>
                                    <p:animEffect transition="out" filter="fade">
                                      <p:cBhvr>
                                        <p:cTn id="434" dur="500"/>
                                        <p:tgtEl>
                                          <p:spTgt spid="383"/>
                                        </p:tgtEl>
                                      </p:cBhvr>
                                    </p:animEffect>
                                    <p:set>
                                      <p:cBhvr>
                                        <p:cTn id="435" dur="1" fill="hold">
                                          <p:stCondLst>
                                            <p:cond delay="499"/>
                                          </p:stCondLst>
                                        </p:cTn>
                                        <p:tgtEl>
                                          <p:spTgt spid="383"/>
                                        </p:tgtEl>
                                        <p:attrNameLst>
                                          <p:attrName>style.visibility</p:attrName>
                                        </p:attrNameLst>
                                      </p:cBhvr>
                                      <p:to>
                                        <p:strVal val="hidden"/>
                                      </p:to>
                                    </p:set>
                                  </p:childTnLst>
                                </p:cTn>
                              </p:par>
                              <p:par>
                                <p:cTn id="436" presetID="10" presetClass="exit" presetSubtype="0" fill="hold" nodeType="withEffect">
                                  <p:stCondLst>
                                    <p:cond delay="0"/>
                                  </p:stCondLst>
                                  <p:childTnLst>
                                    <p:animEffect transition="out" filter="fade">
                                      <p:cBhvr>
                                        <p:cTn id="437" dur="500"/>
                                        <p:tgtEl>
                                          <p:spTgt spid="384"/>
                                        </p:tgtEl>
                                      </p:cBhvr>
                                    </p:animEffect>
                                    <p:set>
                                      <p:cBhvr>
                                        <p:cTn id="438" dur="1" fill="hold">
                                          <p:stCondLst>
                                            <p:cond delay="499"/>
                                          </p:stCondLst>
                                        </p:cTn>
                                        <p:tgtEl>
                                          <p:spTgt spid="384"/>
                                        </p:tgtEl>
                                        <p:attrNameLst>
                                          <p:attrName>style.visibility</p:attrName>
                                        </p:attrNameLst>
                                      </p:cBhvr>
                                      <p:to>
                                        <p:strVal val="hidden"/>
                                      </p:to>
                                    </p:set>
                                  </p:childTnLst>
                                </p:cTn>
                              </p:par>
                              <p:par>
                                <p:cTn id="439" presetID="10" presetClass="exit" presetSubtype="0" fill="hold" nodeType="withEffect">
                                  <p:stCondLst>
                                    <p:cond delay="0"/>
                                  </p:stCondLst>
                                  <p:childTnLst>
                                    <p:animEffect transition="out" filter="fade">
                                      <p:cBhvr>
                                        <p:cTn id="440" dur="500"/>
                                        <p:tgtEl>
                                          <p:spTgt spid="385"/>
                                        </p:tgtEl>
                                      </p:cBhvr>
                                    </p:animEffect>
                                    <p:set>
                                      <p:cBhvr>
                                        <p:cTn id="441" dur="1" fill="hold">
                                          <p:stCondLst>
                                            <p:cond delay="499"/>
                                          </p:stCondLst>
                                        </p:cTn>
                                        <p:tgtEl>
                                          <p:spTgt spid="385"/>
                                        </p:tgtEl>
                                        <p:attrNameLst>
                                          <p:attrName>style.visibility</p:attrName>
                                        </p:attrNameLst>
                                      </p:cBhvr>
                                      <p:to>
                                        <p:strVal val="hidden"/>
                                      </p:to>
                                    </p:set>
                                  </p:childTnLst>
                                </p:cTn>
                              </p:par>
                              <p:par>
                                <p:cTn id="442" presetID="10" presetClass="exit" presetSubtype="0" fill="hold" nodeType="withEffect">
                                  <p:stCondLst>
                                    <p:cond delay="0"/>
                                  </p:stCondLst>
                                  <p:childTnLst>
                                    <p:animEffect transition="out" filter="fade">
                                      <p:cBhvr>
                                        <p:cTn id="443" dur="500"/>
                                        <p:tgtEl>
                                          <p:spTgt spid="388"/>
                                        </p:tgtEl>
                                      </p:cBhvr>
                                    </p:animEffect>
                                    <p:set>
                                      <p:cBhvr>
                                        <p:cTn id="444" dur="1" fill="hold">
                                          <p:stCondLst>
                                            <p:cond delay="499"/>
                                          </p:stCondLst>
                                        </p:cTn>
                                        <p:tgtEl>
                                          <p:spTgt spid="388"/>
                                        </p:tgtEl>
                                        <p:attrNameLst>
                                          <p:attrName>style.visibility</p:attrName>
                                        </p:attrNameLst>
                                      </p:cBhvr>
                                      <p:to>
                                        <p:strVal val="hidden"/>
                                      </p:to>
                                    </p:set>
                                  </p:childTnLst>
                                </p:cTn>
                              </p:par>
                              <p:par>
                                <p:cTn id="445" presetID="10" presetClass="exit" presetSubtype="0" fill="hold" nodeType="withEffect">
                                  <p:stCondLst>
                                    <p:cond delay="0"/>
                                  </p:stCondLst>
                                  <p:childTnLst>
                                    <p:animEffect transition="out" filter="fade">
                                      <p:cBhvr>
                                        <p:cTn id="446" dur="500"/>
                                        <p:tgtEl>
                                          <p:spTgt spid="389"/>
                                        </p:tgtEl>
                                      </p:cBhvr>
                                    </p:animEffect>
                                    <p:set>
                                      <p:cBhvr>
                                        <p:cTn id="447" dur="1" fill="hold">
                                          <p:stCondLst>
                                            <p:cond delay="499"/>
                                          </p:stCondLst>
                                        </p:cTn>
                                        <p:tgtEl>
                                          <p:spTgt spid="389"/>
                                        </p:tgtEl>
                                        <p:attrNameLst>
                                          <p:attrName>style.visibility</p:attrName>
                                        </p:attrNameLst>
                                      </p:cBhvr>
                                      <p:to>
                                        <p:strVal val="hidden"/>
                                      </p:to>
                                    </p:set>
                                  </p:childTnLst>
                                </p:cTn>
                              </p:par>
                              <p:par>
                                <p:cTn id="448" presetID="10" presetClass="exit" presetSubtype="0" fill="hold" nodeType="withEffect">
                                  <p:stCondLst>
                                    <p:cond delay="0"/>
                                  </p:stCondLst>
                                  <p:childTnLst>
                                    <p:animEffect transition="out" filter="fade">
                                      <p:cBhvr>
                                        <p:cTn id="449" dur="500"/>
                                        <p:tgtEl>
                                          <p:spTgt spid="392"/>
                                        </p:tgtEl>
                                      </p:cBhvr>
                                    </p:animEffect>
                                    <p:set>
                                      <p:cBhvr>
                                        <p:cTn id="450" dur="1" fill="hold">
                                          <p:stCondLst>
                                            <p:cond delay="499"/>
                                          </p:stCondLst>
                                        </p:cTn>
                                        <p:tgtEl>
                                          <p:spTgt spid="392"/>
                                        </p:tgtEl>
                                        <p:attrNameLst>
                                          <p:attrName>style.visibility</p:attrName>
                                        </p:attrNameLst>
                                      </p:cBhvr>
                                      <p:to>
                                        <p:strVal val="hidden"/>
                                      </p:to>
                                    </p:set>
                                  </p:childTnLst>
                                </p:cTn>
                              </p:par>
                              <p:par>
                                <p:cTn id="451" presetID="10" presetClass="exit" presetSubtype="0" fill="hold" nodeType="withEffect">
                                  <p:stCondLst>
                                    <p:cond delay="0"/>
                                  </p:stCondLst>
                                  <p:childTnLst>
                                    <p:animEffect transition="out" filter="fade">
                                      <p:cBhvr>
                                        <p:cTn id="452" dur="500"/>
                                        <p:tgtEl>
                                          <p:spTgt spid="309"/>
                                        </p:tgtEl>
                                      </p:cBhvr>
                                    </p:animEffect>
                                    <p:set>
                                      <p:cBhvr>
                                        <p:cTn id="453" dur="1" fill="hold">
                                          <p:stCondLst>
                                            <p:cond delay="499"/>
                                          </p:stCondLst>
                                        </p:cTn>
                                        <p:tgtEl>
                                          <p:spTgt spid="309"/>
                                        </p:tgtEl>
                                        <p:attrNameLst>
                                          <p:attrName>style.visibility</p:attrName>
                                        </p:attrNameLst>
                                      </p:cBhvr>
                                      <p:to>
                                        <p:strVal val="hidden"/>
                                      </p:to>
                                    </p:set>
                                  </p:childTnLst>
                                </p:cTn>
                              </p:par>
                              <p:par>
                                <p:cTn id="454" presetID="10" presetClass="exit" presetSubtype="0" fill="hold" nodeType="withEffect">
                                  <p:stCondLst>
                                    <p:cond delay="0"/>
                                  </p:stCondLst>
                                  <p:childTnLst>
                                    <p:animEffect transition="out" filter="fade">
                                      <p:cBhvr>
                                        <p:cTn id="455" dur="500"/>
                                        <p:tgtEl>
                                          <p:spTgt spid="310"/>
                                        </p:tgtEl>
                                      </p:cBhvr>
                                    </p:animEffect>
                                    <p:set>
                                      <p:cBhvr>
                                        <p:cTn id="456" dur="1" fill="hold">
                                          <p:stCondLst>
                                            <p:cond delay="499"/>
                                          </p:stCondLst>
                                        </p:cTn>
                                        <p:tgtEl>
                                          <p:spTgt spid="310"/>
                                        </p:tgtEl>
                                        <p:attrNameLst>
                                          <p:attrName>style.visibility</p:attrName>
                                        </p:attrNameLst>
                                      </p:cBhvr>
                                      <p:to>
                                        <p:strVal val="hidden"/>
                                      </p:to>
                                    </p:set>
                                  </p:childTnLst>
                                </p:cTn>
                              </p:par>
                              <p:par>
                                <p:cTn id="457" presetID="10" presetClass="exit" presetSubtype="0" fill="hold" nodeType="withEffect">
                                  <p:stCondLst>
                                    <p:cond delay="0"/>
                                  </p:stCondLst>
                                  <p:childTnLst>
                                    <p:animEffect transition="out" filter="fade">
                                      <p:cBhvr>
                                        <p:cTn id="458" dur="500"/>
                                        <p:tgtEl>
                                          <p:spTgt spid="395"/>
                                        </p:tgtEl>
                                      </p:cBhvr>
                                    </p:animEffect>
                                    <p:set>
                                      <p:cBhvr>
                                        <p:cTn id="459" dur="1" fill="hold">
                                          <p:stCondLst>
                                            <p:cond delay="499"/>
                                          </p:stCondLst>
                                        </p:cTn>
                                        <p:tgtEl>
                                          <p:spTgt spid="395"/>
                                        </p:tgtEl>
                                        <p:attrNameLst>
                                          <p:attrName>style.visibility</p:attrName>
                                        </p:attrNameLst>
                                      </p:cBhvr>
                                      <p:to>
                                        <p:strVal val="hidden"/>
                                      </p:to>
                                    </p:set>
                                  </p:childTnLst>
                                </p:cTn>
                              </p:par>
                              <p:par>
                                <p:cTn id="460" presetID="10" presetClass="exit" presetSubtype="0" fill="hold" nodeType="withEffect">
                                  <p:stCondLst>
                                    <p:cond delay="0"/>
                                  </p:stCondLst>
                                  <p:childTnLst>
                                    <p:animEffect transition="out" filter="fade">
                                      <p:cBhvr>
                                        <p:cTn id="461" dur="500"/>
                                        <p:tgtEl>
                                          <p:spTgt spid="397"/>
                                        </p:tgtEl>
                                      </p:cBhvr>
                                    </p:animEffect>
                                    <p:set>
                                      <p:cBhvr>
                                        <p:cTn id="462" dur="1" fill="hold">
                                          <p:stCondLst>
                                            <p:cond delay="499"/>
                                          </p:stCondLst>
                                        </p:cTn>
                                        <p:tgtEl>
                                          <p:spTgt spid="397"/>
                                        </p:tgtEl>
                                        <p:attrNameLst>
                                          <p:attrName>style.visibility</p:attrName>
                                        </p:attrNameLst>
                                      </p:cBhvr>
                                      <p:to>
                                        <p:strVal val="hidden"/>
                                      </p:to>
                                    </p:set>
                                  </p:childTnLst>
                                </p:cTn>
                              </p:par>
                              <p:par>
                                <p:cTn id="463" presetID="10" presetClass="exit" presetSubtype="0" fill="hold" nodeType="withEffect">
                                  <p:stCondLst>
                                    <p:cond delay="0"/>
                                  </p:stCondLst>
                                  <p:childTnLst>
                                    <p:animEffect transition="out" filter="fade">
                                      <p:cBhvr>
                                        <p:cTn id="464" dur="500"/>
                                        <p:tgtEl>
                                          <p:spTgt spid="399"/>
                                        </p:tgtEl>
                                      </p:cBhvr>
                                    </p:animEffect>
                                    <p:set>
                                      <p:cBhvr>
                                        <p:cTn id="465" dur="1" fill="hold">
                                          <p:stCondLst>
                                            <p:cond delay="499"/>
                                          </p:stCondLst>
                                        </p:cTn>
                                        <p:tgtEl>
                                          <p:spTgt spid="399"/>
                                        </p:tgtEl>
                                        <p:attrNameLst>
                                          <p:attrName>style.visibility</p:attrName>
                                        </p:attrNameLst>
                                      </p:cBhvr>
                                      <p:to>
                                        <p:strVal val="hidden"/>
                                      </p:to>
                                    </p:set>
                                  </p:childTnLst>
                                </p:cTn>
                              </p:par>
                              <p:par>
                                <p:cTn id="466" presetID="10" presetClass="exit" presetSubtype="0" fill="hold" nodeType="withEffect">
                                  <p:stCondLst>
                                    <p:cond delay="0"/>
                                  </p:stCondLst>
                                  <p:childTnLst>
                                    <p:animEffect transition="out" filter="fade">
                                      <p:cBhvr>
                                        <p:cTn id="467" dur="500"/>
                                        <p:tgtEl>
                                          <p:spTgt spid="400"/>
                                        </p:tgtEl>
                                      </p:cBhvr>
                                    </p:animEffect>
                                    <p:set>
                                      <p:cBhvr>
                                        <p:cTn id="468" dur="1" fill="hold">
                                          <p:stCondLst>
                                            <p:cond delay="499"/>
                                          </p:stCondLst>
                                        </p:cTn>
                                        <p:tgtEl>
                                          <p:spTgt spid="400"/>
                                        </p:tgtEl>
                                        <p:attrNameLst>
                                          <p:attrName>style.visibility</p:attrName>
                                        </p:attrNameLst>
                                      </p:cBhvr>
                                      <p:to>
                                        <p:strVal val="hidden"/>
                                      </p:to>
                                    </p:set>
                                  </p:childTnLst>
                                </p:cTn>
                              </p:par>
                              <p:par>
                                <p:cTn id="469" presetID="10" presetClass="exit" presetSubtype="0" fill="hold" grpId="1" nodeType="withEffect">
                                  <p:stCondLst>
                                    <p:cond delay="0"/>
                                  </p:stCondLst>
                                  <p:childTnLst>
                                    <p:animEffect transition="out" filter="fade">
                                      <p:cBhvr>
                                        <p:cTn id="470" dur="500"/>
                                        <p:tgtEl>
                                          <p:spTgt spid="403"/>
                                        </p:tgtEl>
                                      </p:cBhvr>
                                    </p:animEffect>
                                    <p:set>
                                      <p:cBhvr>
                                        <p:cTn id="471" dur="1" fill="hold">
                                          <p:stCondLst>
                                            <p:cond delay="499"/>
                                          </p:stCondLst>
                                        </p:cTn>
                                        <p:tgtEl>
                                          <p:spTgt spid="403"/>
                                        </p:tgtEl>
                                        <p:attrNameLst>
                                          <p:attrName>style.visibility</p:attrName>
                                        </p:attrNameLst>
                                      </p:cBhvr>
                                      <p:to>
                                        <p:strVal val="hidden"/>
                                      </p:to>
                                    </p:set>
                                  </p:childTnLst>
                                </p:cTn>
                              </p:par>
                            </p:childTnLst>
                          </p:cTn>
                        </p:par>
                      </p:childTnLst>
                    </p:cTn>
                  </p:par>
                  <p:par>
                    <p:cTn id="472" fill="hold">
                      <p:stCondLst>
                        <p:cond delay="indefinite"/>
                      </p:stCondLst>
                      <p:childTnLst>
                        <p:par>
                          <p:cTn id="473" fill="hold">
                            <p:stCondLst>
                              <p:cond delay="0"/>
                            </p:stCondLst>
                            <p:childTnLst>
                              <p:par>
                                <p:cTn id="474" presetID="2" presetClass="entr" presetSubtype="8" fill="hold" nodeType="clickEffect">
                                  <p:stCondLst>
                                    <p:cond delay="0"/>
                                  </p:stCondLst>
                                  <p:childTnLst>
                                    <p:set>
                                      <p:cBhvr>
                                        <p:cTn id="475" dur="1" fill="hold">
                                          <p:stCondLst>
                                            <p:cond delay="0"/>
                                          </p:stCondLst>
                                        </p:cTn>
                                        <p:tgtEl>
                                          <p:spTgt spid="5"/>
                                        </p:tgtEl>
                                        <p:attrNameLst>
                                          <p:attrName>style.visibility</p:attrName>
                                        </p:attrNameLst>
                                      </p:cBhvr>
                                      <p:to>
                                        <p:strVal val="visible"/>
                                      </p:to>
                                    </p:set>
                                    <p:anim calcmode="lin" valueType="num">
                                      <p:cBhvr additive="base">
                                        <p:cTn id="476" dur="500" fill="hold"/>
                                        <p:tgtEl>
                                          <p:spTgt spid="5"/>
                                        </p:tgtEl>
                                        <p:attrNameLst>
                                          <p:attrName>ppt_x</p:attrName>
                                        </p:attrNameLst>
                                      </p:cBhvr>
                                      <p:tavLst>
                                        <p:tav tm="0">
                                          <p:val>
                                            <p:strVal val="0-#ppt_w/2"/>
                                          </p:val>
                                        </p:tav>
                                        <p:tav tm="100000">
                                          <p:val>
                                            <p:strVal val="#ppt_x"/>
                                          </p:val>
                                        </p:tav>
                                      </p:tavLst>
                                    </p:anim>
                                    <p:anim calcmode="lin" valueType="num">
                                      <p:cBhvr additive="base">
                                        <p:cTn id="477"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478" fill="hold">
                      <p:stCondLst>
                        <p:cond delay="indefinite"/>
                      </p:stCondLst>
                      <p:childTnLst>
                        <p:par>
                          <p:cTn id="479" fill="hold">
                            <p:stCondLst>
                              <p:cond delay="0"/>
                            </p:stCondLst>
                            <p:childTnLst>
                              <p:par>
                                <p:cTn id="480" presetID="2" presetClass="entr" presetSubtype="8" fill="hold" grpId="0" nodeType="clickEffect">
                                  <p:stCondLst>
                                    <p:cond delay="0"/>
                                  </p:stCondLst>
                                  <p:childTnLst>
                                    <p:set>
                                      <p:cBhvr>
                                        <p:cTn id="481" dur="1" fill="hold">
                                          <p:stCondLst>
                                            <p:cond delay="0"/>
                                          </p:stCondLst>
                                        </p:cTn>
                                        <p:tgtEl>
                                          <p:spTgt spid="4"/>
                                        </p:tgtEl>
                                        <p:attrNameLst>
                                          <p:attrName>style.visibility</p:attrName>
                                        </p:attrNameLst>
                                      </p:cBhvr>
                                      <p:to>
                                        <p:strVal val="visible"/>
                                      </p:to>
                                    </p:set>
                                    <p:anim calcmode="lin" valueType="num">
                                      <p:cBhvr additive="base">
                                        <p:cTn id="482" dur="500" fill="hold"/>
                                        <p:tgtEl>
                                          <p:spTgt spid="4"/>
                                        </p:tgtEl>
                                        <p:attrNameLst>
                                          <p:attrName>ppt_x</p:attrName>
                                        </p:attrNameLst>
                                      </p:cBhvr>
                                      <p:tavLst>
                                        <p:tav tm="0">
                                          <p:val>
                                            <p:strVal val="0-#ppt_w/2"/>
                                          </p:val>
                                        </p:tav>
                                        <p:tav tm="100000">
                                          <p:val>
                                            <p:strVal val="#ppt_x"/>
                                          </p:val>
                                        </p:tav>
                                      </p:tavLst>
                                    </p:anim>
                                    <p:anim calcmode="lin" valueType="num">
                                      <p:cBhvr additive="base">
                                        <p:cTn id="483"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484" fill="hold">
                      <p:stCondLst>
                        <p:cond delay="indefinite"/>
                      </p:stCondLst>
                      <p:childTnLst>
                        <p:par>
                          <p:cTn id="485" fill="hold">
                            <p:stCondLst>
                              <p:cond delay="0"/>
                            </p:stCondLst>
                            <p:childTnLst>
                              <p:par>
                                <p:cTn id="486" presetID="2" presetClass="entr" presetSubtype="4" fill="hold" nodeType="clickEffect">
                                  <p:stCondLst>
                                    <p:cond delay="0"/>
                                  </p:stCondLst>
                                  <p:childTnLst>
                                    <p:set>
                                      <p:cBhvr>
                                        <p:cTn id="487" dur="1" fill="hold">
                                          <p:stCondLst>
                                            <p:cond delay="0"/>
                                          </p:stCondLst>
                                        </p:cTn>
                                        <p:tgtEl>
                                          <p:spTgt spid="6"/>
                                        </p:tgtEl>
                                        <p:attrNameLst>
                                          <p:attrName>style.visibility</p:attrName>
                                        </p:attrNameLst>
                                      </p:cBhvr>
                                      <p:to>
                                        <p:strVal val="visible"/>
                                      </p:to>
                                    </p:set>
                                    <p:anim calcmode="lin" valueType="num">
                                      <p:cBhvr additive="base">
                                        <p:cTn id="488" dur="500" fill="hold"/>
                                        <p:tgtEl>
                                          <p:spTgt spid="6"/>
                                        </p:tgtEl>
                                        <p:attrNameLst>
                                          <p:attrName>ppt_x</p:attrName>
                                        </p:attrNameLst>
                                      </p:cBhvr>
                                      <p:tavLst>
                                        <p:tav tm="0">
                                          <p:val>
                                            <p:strVal val="#ppt_x"/>
                                          </p:val>
                                        </p:tav>
                                        <p:tav tm="100000">
                                          <p:val>
                                            <p:strVal val="#ppt_x"/>
                                          </p:val>
                                        </p:tav>
                                      </p:tavLst>
                                    </p:anim>
                                    <p:anim calcmode="lin" valueType="num">
                                      <p:cBhvr additive="base">
                                        <p:cTn id="489"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490" fill="hold">
                      <p:stCondLst>
                        <p:cond delay="indefinite"/>
                      </p:stCondLst>
                      <p:childTnLst>
                        <p:par>
                          <p:cTn id="491" fill="hold">
                            <p:stCondLst>
                              <p:cond delay="0"/>
                            </p:stCondLst>
                            <p:childTnLst>
                              <p:par>
                                <p:cTn id="492" presetID="2" presetClass="entr" presetSubtype="4" fill="hold" nodeType="clickEffect">
                                  <p:stCondLst>
                                    <p:cond delay="0"/>
                                  </p:stCondLst>
                                  <p:childTnLst>
                                    <p:set>
                                      <p:cBhvr>
                                        <p:cTn id="493" dur="1" fill="hold">
                                          <p:stCondLst>
                                            <p:cond delay="0"/>
                                          </p:stCondLst>
                                        </p:cTn>
                                        <p:tgtEl>
                                          <p:spTgt spid="3"/>
                                        </p:tgtEl>
                                        <p:attrNameLst>
                                          <p:attrName>style.visibility</p:attrName>
                                        </p:attrNameLst>
                                      </p:cBhvr>
                                      <p:to>
                                        <p:strVal val="visible"/>
                                      </p:to>
                                    </p:set>
                                    <p:anim calcmode="lin" valueType="num">
                                      <p:cBhvr additive="base">
                                        <p:cTn id="494" dur="500" fill="hold"/>
                                        <p:tgtEl>
                                          <p:spTgt spid="3"/>
                                        </p:tgtEl>
                                        <p:attrNameLst>
                                          <p:attrName>ppt_x</p:attrName>
                                        </p:attrNameLst>
                                      </p:cBhvr>
                                      <p:tavLst>
                                        <p:tav tm="0">
                                          <p:val>
                                            <p:strVal val="#ppt_x"/>
                                          </p:val>
                                        </p:tav>
                                        <p:tav tm="100000">
                                          <p:val>
                                            <p:strVal val="#ppt_x"/>
                                          </p:val>
                                        </p:tav>
                                      </p:tavLst>
                                    </p:anim>
                                    <p:anim calcmode="lin" valueType="num">
                                      <p:cBhvr additive="base">
                                        <p:cTn id="495"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2" grpId="0" animBg="1"/>
      <p:bldP spid="283" grpId="0" animBg="1"/>
      <p:bldP spid="284" grpId="0" animBg="1"/>
      <p:bldP spid="285" grpId="0" animBg="1"/>
      <p:bldP spid="286" grpId="0"/>
      <p:bldP spid="287" grpId="0"/>
      <p:bldP spid="350" grpId="0" animBg="1"/>
      <p:bldP spid="350" grpId="1" animBg="1"/>
      <p:bldP spid="350" grpId="2" animBg="1"/>
      <p:bldP spid="363" grpId="0" animBg="1"/>
      <p:bldP spid="363" grpId="1" animBg="1"/>
      <p:bldP spid="363" grpId="2" animBg="1"/>
      <p:bldP spid="374" grpId="0" animBg="1"/>
      <p:bldP spid="374" grpId="1" animBg="1"/>
      <p:bldP spid="374" grpId="2" animBg="1"/>
      <p:bldP spid="383" grpId="0" animBg="1"/>
      <p:bldP spid="383" grpId="1" animBg="1"/>
      <p:bldP spid="383" grpId="2" animBg="1"/>
      <p:bldP spid="403" grpId="0" animBg="1"/>
      <p:bldP spid="403" grpId="1" animBg="1"/>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6"/>
          <p:cNvGrpSpPr>
            <a:grpSpLocks noChangeAspect="1"/>
          </p:cNvGrpSpPr>
          <p:nvPr/>
        </p:nvGrpSpPr>
        <p:grpSpPr>
          <a:xfrm>
            <a:off x="-5295900" y="-7410450"/>
            <a:ext cx="19865333" cy="19865333"/>
            <a:chOff x="-5958" y="6470"/>
            <a:chExt cx="1708150" cy="1708150"/>
          </a:xfrm>
          <a:solidFill>
            <a:schemeClr val="accent3">
              <a:lumMod val="40000"/>
              <a:lumOff val="60000"/>
            </a:schemeClr>
          </a:solidFill>
        </p:grpSpPr>
        <p:sp>
          <p:nvSpPr>
            <p:cNvPr id="45" name="Freeform 7"/>
            <p:cNvSpPr/>
            <p:nvPr/>
          </p:nvSpPr>
          <p:spPr>
            <a:xfrm>
              <a:off x="-5958" y="647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grpSp>
        <p:nvGrpSpPr>
          <p:cNvPr id="42" name="Group 6"/>
          <p:cNvGrpSpPr>
            <a:grpSpLocks noChangeAspect="1"/>
          </p:cNvGrpSpPr>
          <p:nvPr/>
        </p:nvGrpSpPr>
        <p:grpSpPr>
          <a:xfrm>
            <a:off x="221157" y="-1920405"/>
            <a:ext cx="8763000" cy="8763000"/>
            <a:chOff x="0" y="0"/>
            <a:chExt cx="1708150" cy="1708150"/>
          </a:xfrm>
          <a:solidFill>
            <a:schemeClr val="accent3">
              <a:lumMod val="40000"/>
              <a:lumOff val="60000"/>
            </a:schemeClr>
          </a:solidFill>
        </p:grpSpPr>
        <p:sp>
          <p:nvSpPr>
            <p:cNvPr id="43"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grpSp>
        <p:nvGrpSpPr>
          <p:cNvPr id="40" name="Group 6"/>
          <p:cNvGrpSpPr>
            <a:grpSpLocks noChangeAspect="1"/>
          </p:cNvGrpSpPr>
          <p:nvPr/>
        </p:nvGrpSpPr>
        <p:grpSpPr>
          <a:xfrm>
            <a:off x="2678871" y="585713"/>
            <a:ext cx="3868525" cy="3868525"/>
            <a:chOff x="0" y="0"/>
            <a:chExt cx="1708150" cy="1708150"/>
          </a:xfrm>
          <a:solidFill>
            <a:schemeClr val="accent3">
              <a:lumMod val="40000"/>
              <a:lumOff val="60000"/>
            </a:schemeClr>
          </a:solidFill>
        </p:grpSpPr>
        <p:sp>
          <p:nvSpPr>
            <p:cNvPr id="41"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grpSp>
        <p:nvGrpSpPr>
          <p:cNvPr id="38" name="Group 6"/>
          <p:cNvGrpSpPr>
            <a:grpSpLocks noChangeAspect="1"/>
          </p:cNvGrpSpPr>
          <p:nvPr/>
        </p:nvGrpSpPr>
        <p:grpSpPr>
          <a:xfrm>
            <a:off x="3779588" y="1682915"/>
            <a:ext cx="1675209" cy="1675209"/>
            <a:chOff x="1262" y="1149"/>
            <a:chExt cx="1708150" cy="1708150"/>
          </a:xfrm>
          <a:solidFill>
            <a:schemeClr val="accent3">
              <a:lumMod val="40000"/>
              <a:lumOff val="60000"/>
            </a:schemeClr>
          </a:solidFill>
        </p:grpSpPr>
        <p:sp>
          <p:nvSpPr>
            <p:cNvPr id="39" name="Freeform 7"/>
            <p:cNvSpPr/>
            <p:nvPr/>
          </p:nvSpPr>
          <p:spPr>
            <a:xfrm>
              <a:off x="1262" y="1149"/>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grpSp>
        <p:nvGrpSpPr>
          <p:cNvPr id="6" name="Group 6"/>
          <p:cNvGrpSpPr>
            <a:grpSpLocks noChangeAspect="1"/>
          </p:cNvGrpSpPr>
          <p:nvPr/>
        </p:nvGrpSpPr>
        <p:grpSpPr>
          <a:xfrm>
            <a:off x="4255175" y="2157957"/>
            <a:ext cx="724036" cy="724036"/>
            <a:chOff x="0" y="0"/>
            <a:chExt cx="1708150" cy="1708150"/>
          </a:xfrm>
          <a:solidFill>
            <a:schemeClr val="accent3">
              <a:lumMod val="40000"/>
              <a:lumOff val="60000"/>
            </a:schemeClr>
          </a:solidFill>
        </p:grpSpPr>
        <p:sp>
          <p:nvSpPr>
            <p:cNvPr id="7"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sp>
        <p:nvSpPr>
          <p:cNvPr id="35" name="Freeform 14"/>
          <p:cNvSpPr/>
          <p:nvPr/>
        </p:nvSpPr>
        <p:spPr>
          <a:xfrm>
            <a:off x="4469311" y="2376296"/>
            <a:ext cx="295763" cy="29576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chemeClr val="accent3">
              <a:lumMod val="40000"/>
              <a:lumOff val="60000"/>
            </a:schemeClr>
          </a:solidFill>
        </p:spPr>
      </p:sp>
      <p:grpSp>
        <p:nvGrpSpPr>
          <p:cNvPr id="13" name="Group 13"/>
          <p:cNvGrpSpPr/>
          <p:nvPr/>
        </p:nvGrpSpPr>
        <p:grpSpPr>
          <a:xfrm>
            <a:off x="8716122" y="-2156552"/>
            <a:ext cx="295763" cy="295763"/>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5" name="TextBox 15"/>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4" name="Group 4"/>
          <p:cNvGrpSpPr>
            <a:grpSpLocks noChangeAspect="1"/>
          </p:cNvGrpSpPr>
          <p:nvPr/>
        </p:nvGrpSpPr>
        <p:grpSpPr>
          <a:xfrm>
            <a:off x="412229" y="1935284"/>
            <a:ext cx="372233" cy="372233"/>
            <a:chOff x="0" y="0"/>
            <a:chExt cx="1708150" cy="1708150"/>
          </a:xfrm>
        </p:grpSpPr>
        <p:sp>
          <p:nvSpPr>
            <p:cNvPr id="5" name="Freeform 5"/>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8" name="Group 8"/>
          <p:cNvGrpSpPr>
            <a:grpSpLocks noChangeAspect="1"/>
          </p:cNvGrpSpPr>
          <p:nvPr/>
        </p:nvGrpSpPr>
        <p:grpSpPr>
          <a:xfrm>
            <a:off x="-1311593" y="3831908"/>
            <a:ext cx="2623185" cy="2623185"/>
            <a:chOff x="0" y="0"/>
            <a:chExt cx="1708150" cy="1708150"/>
          </a:xfrm>
          <a:solidFill>
            <a:srgbClr val="3C6489"/>
          </a:solidFill>
        </p:grpSpPr>
        <p:sp>
          <p:nvSpPr>
            <p:cNvPr id="9" name="Freeform 9"/>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grpSp>
        <p:nvGrpSpPr>
          <p:cNvPr id="10" name="Group 10"/>
          <p:cNvGrpSpPr/>
          <p:nvPr/>
        </p:nvGrpSpPr>
        <p:grpSpPr>
          <a:xfrm>
            <a:off x="514350" y="3165638"/>
            <a:ext cx="454163" cy="454163"/>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2" name="TextBox 12"/>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16" name="Group 16"/>
          <p:cNvGrpSpPr/>
          <p:nvPr/>
        </p:nvGrpSpPr>
        <p:grpSpPr>
          <a:xfrm>
            <a:off x="8175487" y="1523699"/>
            <a:ext cx="454163" cy="454163"/>
            <a:chOff x="0" y="0"/>
            <a:chExt cx="812800" cy="812800"/>
          </a:xfrm>
        </p:grpSpPr>
        <p:sp>
          <p:nvSpPr>
            <p:cNvPr id="17" name="Freeform 1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8" name="TextBox 18"/>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21" name="Group 21"/>
          <p:cNvGrpSpPr>
            <a:grpSpLocks noChangeAspect="1"/>
          </p:cNvGrpSpPr>
          <p:nvPr/>
        </p:nvGrpSpPr>
        <p:grpSpPr>
          <a:xfrm>
            <a:off x="3186611" y="3433685"/>
            <a:ext cx="372233" cy="372233"/>
            <a:chOff x="0" y="0"/>
            <a:chExt cx="1708150" cy="1708150"/>
          </a:xfrm>
        </p:grpSpPr>
        <p:sp>
          <p:nvSpPr>
            <p:cNvPr id="22" name="Freeform 22"/>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36" name="Group 6"/>
          <p:cNvGrpSpPr>
            <a:grpSpLocks noChangeAspect="1"/>
          </p:cNvGrpSpPr>
          <p:nvPr/>
        </p:nvGrpSpPr>
        <p:grpSpPr>
          <a:xfrm>
            <a:off x="7987089" y="4207220"/>
            <a:ext cx="372233" cy="372233"/>
            <a:chOff x="0" y="0"/>
            <a:chExt cx="1708150" cy="1708150"/>
          </a:xfrm>
        </p:grpSpPr>
        <p:sp>
          <p:nvSpPr>
            <p:cNvPr id="37"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20" name="Group 19"/>
          <p:cNvGrpSpPr/>
          <p:nvPr/>
        </p:nvGrpSpPr>
        <p:grpSpPr>
          <a:xfrm>
            <a:off x="-796273" y="-4037439"/>
            <a:ext cx="12557591" cy="2117034"/>
            <a:chOff x="-3211757" y="-7593727"/>
            <a:chExt cx="25115181" cy="4234067"/>
          </a:xfrm>
        </p:grpSpPr>
        <p:sp>
          <p:nvSpPr>
            <p:cNvPr id="29" name="Rectangle 28"/>
            <p:cNvSpPr/>
            <p:nvPr/>
          </p:nvSpPr>
          <p:spPr>
            <a:xfrm>
              <a:off x="8431509" y="-7532418"/>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2" name="Rectangle 31"/>
            <p:cNvSpPr/>
            <p:nvPr/>
          </p:nvSpPr>
          <p:spPr>
            <a:xfrm>
              <a:off x="-3211757" y="-7593727"/>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pic>
        <p:nvPicPr>
          <p:cNvPr id="2" name="Picture 1"/>
          <p:cNvPicPr>
            <a:picLocks noChangeAspect="1"/>
          </p:cNvPicPr>
          <p:nvPr/>
        </p:nvPicPr>
        <p:blipFill>
          <a:blip r:embed="rId2"/>
          <a:stretch>
            <a:fillRect/>
          </a:stretch>
        </p:blipFill>
        <p:spPr>
          <a:xfrm>
            <a:off x="2198873" y="1561080"/>
            <a:ext cx="1624997" cy="1661464"/>
          </a:xfrm>
          <a:prstGeom prst="rect">
            <a:avLst/>
          </a:prstGeom>
        </p:spPr>
      </p:pic>
      <p:pic>
        <p:nvPicPr>
          <p:cNvPr id="3" name="Picture 2"/>
          <p:cNvPicPr>
            <a:picLocks noChangeAspect="1"/>
          </p:cNvPicPr>
          <p:nvPr/>
        </p:nvPicPr>
        <p:blipFill>
          <a:blip r:embed="rId3"/>
          <a:stretch>
            <a:fillRect/>
          </a:stretch>
        </p:blipFill>
        <p:spPr>
          <a:xfrm>
            <a:off x="3994702" y="1573207"/>
            <a:ext cx="2980538" cy="2232711"/>
          </a:xfrm>
          <a:prstGeom prst="rect">
            <a:avLst/>
          </a:prstGeom>
        </p:spPr>
      </p:pic>
      <p:sp>
        <p:nvSpPr>
          <p:cNvPr id="28" name="Rectangle 27"/>
          <p:cNvSpPr/>
          <p:nvPr/>
        </p:nvSpPr>
        <p:spPr>
          <a:xfrm>
            <a:off x="2207793" y="1817407"/>
            <a:ext cx="481895" cy="140513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0" name="Rectangle 29"/>
          <p:cNvSpPr/>
          <p:nvPr/>
        </p:nvSpPr>
        <p:spPr>
          <a:xfrm>
            <a:off x="4606129" y="1824569"/>
            <a:ext cx="567024" cy="19813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nvGrpSpPr>
          <p:cNvPr id="53" name="Group 52"/>
          <p:cNvGrpSpPr/>
          <p:nvPr/>
        </p:nvGrpSpPr>
        <p:grpSpPr>
          <a:xfrm>
            <a:off x="1896612" y="3222544"/>
            <a:ext cx="1126184" cy="994322"/>
            <a:chOff x="3793224" y="6445087"/>
            <a:chExt cx="2252367" cy="1988644"/>
          </a:xfrm>
        </p:grpSpPr>
        <p:cxnSp>
          <p:nvCxnSpPr>
            <p:cNvPr id="34" name="Straight Connector 33"/>
            <p:cNvCxnSpPr/>
            <p:nvPr/>
          </p:nvCxnSpPr>
          <p:spPr>
            <a:xfrm>
              <a:off x="4897480" y="6445087"/>
              <a:ext cx="0" cy="709359"/>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3793224" y="7118719"/>
              <a:ext cx="2252367" cy="1315012"/>
              <a:chOff x="3793224" y="7118719"/>
              <a:chExt cx="2252367" cy="1315012"/>
            </a:xfrm>
          </p:grpSpPr>
          <p:sp>
            <p:nvSpPr>
              <p:cNvPr id="50" name="Rounded Rectangle 49"/>
              <p:cNvSpPr/>
              <p:nvPr/>
            </p:nvSpPr>
            <p:spPr>
              <a:xfrm>
                <a:off x="3793224" y="7118719"/>
                <a:ext cx="2208511" cy="875698"/>
              </a:xfrm>
              <a:prstGeom prst="round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1" name="TextBox 50"/>
              <p:cNvSpPr txBox="1"/>
              <p:nvPr/>
            </p:nvSpPr>
            <p:spPr>
              <a:xfrm>
                <a:off x="3893880" y="7264181"/>
                <a:ext cx="2151711" cy="1169550"/>
              </a:xfrm>
              <a:prstGeom prst="rect">
                <a:avLst/>
              </a:prstGeom>
              <a:noFill/>
            </p:spPr>
            <p:txBody>
              <a:bodyPr wrap="square" rtlCol="0">
                <a:spAutoFit/>
              </a:bodyPr>
              <a:lstStyle/>
              <a:p>
                <a:r>
                  <a:rPr lang="en-US" sz="1600">
                    <a:latin typeface="Times New Roman" panose="02020603050405020304" pitchFamily="18" charset="0"/>
                    <a:cs typeface="Times New Roman" panose="02020603050405020304" pitchFamily="18" charset="0"/>
                  </a:rPr>
                  <a:t>Khóa chính</a:t>
                </a:r>
                <a:endParaRPr lang="en-US" sz="1600">
                  <a:latin typeface="Times New Roman" panose="02020603050405020304" pitchFamily="18" charset="0"/>
                  <a:cs typeface="Times New Roman" panose="02020603050405020304" pitchFamily="18" charset="0"/>
                </a:endParaRPr>
              </a:p>
            </p:txBody>
          </p:sp>
        </p:grpSp>
      </p:grpSp>
      <p:grpSp>
        <p:nvGrpSpPr>
          <p:cNvPr id="54" name="Group 53"/>
          <p:cNvGrpSpPr/>
          <p:nvPr/>
        </p:nvGrpSpPr>
        <p:grpSpPr>
          <a:xfrm>
            <a:off x="4316699" y="3809383"/>
            <a:ext cx="1126184" cy="994322"/>
            <a:chOff x="3793224" y="6445087"/>
            <a:chExt cx="2252367" cy="1988644"/>
          </a:xfrm>
        </p:grpSpPr>
        <p:cxnSp>
          <p:nvCxnSpPr>
            <p:cNvPr id="55" name="Straight Connector 54"/>
            <p:cNvCxnSpPr/>
            <p:nvPr/>
          </p:nvCxnSpPr>
          <p:spPr>
            <a:xfrm>
              <a:off x="4897480" y="6445087"/>
              <a:ext cx="0" cy="709359"/>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3793224" y="7118719"/>
              <a:ext cx="2252367" cy="1315012"/>
              <a:chOff x="3793224" y="7118719"/>
              <a:chExt cx="2252367" cy="1315012"/>
            </a:xfrm>
          </p:grpSpPr>
          <p:sp>
            <p:nvSpPr>
              <p:cNvPr id="57" name="Rounded Rectangle 56"/>
              <p:cNvSpPr/>
              <p:nvPr/>
            </p:nvSpPr>
            <p:spPr>
              <a:xfrm>
                <a:off x="3793224" y="7118719"/>
                <a:ext cx="2208511" cy="875698"/>
              </a:xfrm>
              <a:prstGeom prst="round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8" name="TextBox 57"/>
              <p:cNvSpPr txBox="1"/>
              <p:nvPr/>
            </p:nvSpPr>
            <p:spPr>
              <a:xfrm>
                <a:off x="3893880" y="7264181"/>
                <a:ext cx="2151711" cy="1169550"/>
              </a:xfrm>
              <a:prstGeom prst="rect">
                <a:avLst/>
              </a:prstGeom>
              <a:noFill/>
            </p:spPr>
            <p:txBody>
              <a:bodyPr wrap="square" rtlCol="0">
                <a:spAutoFit/>
              </a:bodyPr>
              <a:lstStyle/>
              <a:p>
                <a:r>
                  <a:rPr lang="en-US" sz="1600">
                    <a:latin typeface="Times New Roman" panose="02020603050405020304" pitchFamily="18" charset="0"/>
                    <a:cs typeface="Times New Roman" panose="02020603050405020304" pitchFamily="18" charset="0"/>
                  </a:rPr>
                  <a:t>Khóa ngoài</a:t>
                </a:r>
                <a:endParaRPr lang="en-US" sz="1600">
                  <a:latin typeface="Times New Roman" panose="02020603050405020304" pitchFamily="18" charset="0"/>
                  <a:cs typeface="Times New Roman" panose="02020603050405020304" pitchFamily="18" charset="0"/>
                </a:endParaRPr>
              </a:p>
            </p:txBody>
          </p:sp>
        </p:grpSp>
      </p:grpSp>
      <p:grpSp>
        <p:nvGrpSpPr>
          <p:cNvPr id="27" name="Group 26"/>
          <p:cNvGrpSpPr/>
          <p:nvPr/>
        </p:nvGrpSpPr>
        <p:grpSpPr>
          <a:xfrm>
            <a:off x="2567643" y="1079808"/>
            <a:ext cx="2555033" cy="823489"/>
            <a:chOff x="3085378" y="2068102"/>
            <a:chExt cx="5110066" cy="1646977"/>
          </a:xfrm>
        </p:grpSpPr>
        <p:sp>
          <p:nvSpPr>
            <p:cNvPr id="25" name="Freeform 24"/>
            <p:cNvSpPr/>
            <p:nvPr/>
          </p:nvSpPr>
          <p:spPr>
            <a:xfrm>
              <a:off x="3170710" y="2068102"/>
              <a:ext cx="4968240" cy="1646138"/>
            </a:xfrm>
            <a:custGeom>
              <a:avLst/>
              <a:gdLst>
                <a:gd name="connsiteX0" fmla="*/ 0 w 4968240"/>
                <a:gd name="connsiteY0" fmla="*/ 1646138 h 1646138"/>
                <a:gd name="connsiteX1" fmla="*/ 2377440 w 4968240"/>
                <a:gd name="connsiteY1" fmla="*/ 218 h 1646138"/>
                <a:gd name="connsiteX2" fmla="*/ 4968240 w 4968240"/>
                <a:gd name="connsiteY2" fmla="*/ 1554698 h 1646138"/>
              </a:gdLst>
              <a:ahLst/>
              <a:cxnLst>
                <a:cxn ang="0">
                  <a:pos x="connsiteX0" y="connsiteY0"/>
                </a:cxn>
                <a:cxn ang="0">
                  <a:pos x="connsiteX1" y="connsiteY1"/>
                </a:cxn>
                <a:cxn ang="0">
                  <a:pos x="connsiteX2" y="connsiteY2"/>
                </a:cxn>
              </a:cxnLst>
              <a:rect l="l" t="t" r="r" b="b"/>
              <a:pathLst>
                <a:path w="4968240" h="1646138">
                  <a:moveTo>
                    <a:pt x="0" y="1646138"/>
                  </a:moveTo>
                  <a:cubicBezTo>
                    <a:pt x="774700" y="830798"/>
                    <a:pt x="1549400" y="15458"/>
                    <a:pt x="2377440" y="218"/>
                  </a:cubicBezTo>
                  <a:cubicBezTo>
                    <a:pt x="3205480" y="-15022"/>
                    <a:pt x="4086860" y="769838"/>
                    <a:pt x="4968240" y="1554698"/>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6" name="Down Arrow 25"/>
            <p:cNvSpPr/>
            <p:nvPr/>
          </p:nvSpPr>
          <p:spPr>
            <a:xfrm rot="2710235">
              <a:off x="3157385" y="3542820"/>
              <a:ext cx="100252" cy="2442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9" name="Down Arrow 48"/>
            <p:cNvSpPr/>
            <p:nvPr/>
          </p:nvSpPr>
          <p:spPr>
            <a:xfrm rot="18776292">
              <a:off x="8017816" y="3465789"/>
              <a:ext cx="110595" cy="24466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sp>
        <p:nvSpPr>
          <p:cNvPr id="24" name="TextBox 24"/>
          <p:cNvSpPr txBox="1"/>
          <p:nvPr/>
        </p:nvSpPr>
        <p:spPr>
          <a:xfrm>
            <a:off x="1379877" y="1447184"/>
            <a:ext cx="6067074" cy="1692771"/>
          </a:xfrm>
          <a:prstGeom prst="rect">
            <a:avLst/>
          </a:prstGeom>
        </p:spPr>
        <p:txBody>
          <a:bodyPr wrap="square" lIns="0" tIns="0" rIns="0" bIns="0" rtlCol="0" anchor="t">
            <a:spAutoFit/>
          </a:bodyPr>
          <a:lstStyle/>
          <a:p>
            <a:pPr marL="171450" indent="-171450">
              <a:spcBef>
                <a:spcPct val="0"/>
              </a:spcBef>
              <a:buFont typeface="Wingdings" panose="05000000000000000000" pitchFamily="2" charset="2"/>
              <a:buChar char="Ø"/>
            </a:pP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Mỗi</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bảng</a:t>
            </a:r>
            <a:r>
              <a:rPr lang="en-US" sz="2200" dirty="0">
                <a:latin typeface="Times New Roman" panose="02020603050405020304" pitchFamily="18" charset="0"/>
                <a:cs typeface="Times New Roman" panose="02020603050405020304" pitchFamily="18" charset="0"/>
              </a:rPr>
              <a:t> (A) </a:t>
            </a:r>
            <a:r>
              <a:rPr lang="en-US" sz="2200" dirty="0" err="1">
                <a:latin typeface="Times New Roman" panose="02020603050405020304" pitchFamily="18" charset="0"/>
                <a:cs typeface="Times New Roman" panose="02020603050405020304" pitchFamily="18" charset="0"/>
              </a:rPr>
              <a:t>có</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thể</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có</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một</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trường</a:t>
            </a:r>
            <a:r>
              <a:rPr lang="en-US" sz="2200" dirty="0">
                <a:latin typeface="Times New Roman" panose="02020603050405020304" pitchFamily="18" charset="0"/>
                <a:cs typeface="Times New Roman" panose="02020603050405020304" pitchFamily="18" charset="0"/>
              </a:rPr>
              <a:t> </a:t>
            </a:r>
            <a:r>
              <a:rPr lang="en-US" sz="2200" dirty="0">
                <a:latin typeface="Times New Roman" panose="02020603050405020304" pitchFamily="18" charset="0"/>
                <a:cs typeface="Times New Roman" panose="02020603050405020304" pitchFamily="18" charset="0"/>
              </a:rPr>
              <a:t>hay </a:t>
            </a:r>
            <a:r>
              <a:rPr lang="en-US" sz="2200" dirty="0" err="1">
                <a:latin typeface="Times New Roman" panose="02020603050405020304" pitchFamily="18" charset="0"/>
                <a:cs typeface="Times New Roman" panose="02020603050405020304" pitchFamily="18" charset="0"/>
              </a:rPr>
              <a:t>nhóm</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trường</a:t>
            </a:r>
            <a:r>
              <a:rPr lang="en-US" sz="2200" dirty="0">
                <a:latin typeface="Times New Roman" panose="02020603050405020304" pitchFamily="18" charset="0"/>
                <a:cs typeface="Times New Roman" panose="02020603050405020304" pitchFamily="18" charset="0"/>
              </a:rPr>
              <a:t> (k) </a:t>
            </a:r>
            <a:r>
              <a:rPr lang="en-US" sz="2200" dirty="0" err="1">
                <a:latin typeface="Times New Roman" panose="02020603050405020304" pitchFamily="18" charset="0"/>
                <a:cs typeface="Times New Roman" panose="02020603050405020304" pitchFamily="18" charset="0"/>
              </a:rPr>
              <a:t>làm</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thành</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khóa</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chính</a:t>
            </a:r>
            <a:r>
              <a:rPr lang="en-US" sz="2200" dirty="0">
                <a:latin typeface="Times New Roman" panose="02020603050405020304" pitchFamily="18" charset="0"/>
                <a:cs typeface="Times New Roman" panose="02020603050405020304" pitchFamily="18" charset="0"/>
              </a:rPr>
              <a:t> ở </a:t>
            </a:r>
            <a:r>
              <a:rPr lang="en-US" sz="2200" dirty="0" err="1">
                <a:latin typeface="Times New Roman" panose="02020603050405020304" pitchFamily="18" charset="0"/>
                <a:cs typeface="Times New Roman" panose="02020603050405020304" pitchFamily="18" charset="0"/>
              </a:rPr>
              <a:t>một</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bảng</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khác</a:t>
            </a:r>
            <a:r>
              <a:rPr lang="en-US" sz="2200" dirty="0">
                <a:latin typeface="Times New Roman" panose="02020603050405020304" pitchFamily="18" charset="0"/>
                <a:cs typeface="Times New Roman" panose="02020603050405020304" pitchFamily="18" charset="0"/>
              </a:rPr>
              <a:t> (B). </a:t>
            </a:r>
            <a:r>
              <a:rPr lang="en-US" sz="2200" dirty="0" err="1">
                <a:latin typeface="Times New Roman" panose="02020603050405020304" pitchFamily="18" charset="0"/>
                <a:cs typeface="Times New Roman" panose="02020603050405020304" pitchFamily="18" charset="0"/>
              </a:rPr>
              <a:t>Khi</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đó</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trường</a:t>
            </a:r>
            <a:r>
              <a:rPr lang="en-US" sz="2200" dirty="0">
                <a:latin typeface="Times New Roman" panose="02020603050405020304" pitchFamily="18" charset="0"/>
                <a:cs typeface="Times New Roman" panose="02020603050405020304" pitchFamily="18" charset="0"/>
              </a:rPr>
              <a:t> hay </a:t>
            </a:r>
            <a:r>
              <a:rPr lang="en-US" sz="2200" dirty="0" err="1">
                <a:latin typeface="Times New Roman" panose="02020603050405020304" pitchFamily="18" charset="0"/>
                <a:cs typeface="Times New Roman" panose="02020603050405020304" pitchFamily="18" charset="0"/>
              </a:rPr>
              <a:t>nhóm</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trường</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này</a:t>
            </a:r>
            <a:r>
              <a:rPr lang="en-US" sz="2200" dirty="0">
                <a:latin typeface="Times New Roman" panose="02020603050405020304" pitchFamily="18" charset="0"/>
                <a:cs typeface="Times New Roman" panose="02020603050405020304" pitchFamily="18" charset="0"/>
              </a:rPr>
              <a:t> (k) </a:t>
            </a:r>
            <a:r>
              <a:rPr lang="en-US" sz="2200" dirty="0" err="1">
                <a:latin typeface="Times New Roman" panose="02020603050405020304" pitchFamily="18" charset="0"/>
                <a:cs typeface="Times New Roman" panose="02020603050405020304" pitchFamily="18" charset="0"/>
              </a:rPr>
              <a:t>được</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gọi</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là</a:t>
            </a:r>
            <a:r>
              <a:rPr lang="en-US" sz="2200"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khóa</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ngoài</a:t>
            </a:r>
            <a:r>
              <a:rPr lang="en-US" sz="2200" b="1"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của</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bảng</a:t>
            </a:r>
            <a:r>
              <a:rPr lang="en-US" sz="2200" dirty="0">
                <a:latin typeface="Times New Roman" panose="02020603050405020304" pitchFamily="18" charset="0"/>
                <a:cs typeface="Times New Roman" panose="02020603050405020304" pitchFamily="18" charset="0"/>
              </a:rPr>
              <a:t> (A). </a:t>
            </a:r>
            <a:r>
              <a:rPr lang="en-US" sz="2200" dirty="0" err="1">
                <a:latin typeface="Times New Roman" panose="02020603050405020304" pitchFamily="18" charset="0"/>
                <a:cs typeface="Times New Roman" panose="02020603050405020304" pitchFamily="18" charset="0"/>
              </a:rPr>
              <a:t>Và</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hai</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bảng</a:t>
            </a:r>
            <a:r>
              <a:rPr lang="en-US" sz="2200" dirty="0">
                <a:latin typeface="Times New Roman" panose="02020603050405020304" pitchFamily="18" charset="0"/>
                <a:cs typeface="Times New Roman" panose="02020603050405020304" pitchFamily="18" charset="0"/>
              </a:rPr>
              <a:t> (A) </a:t>
            </a:r>
            <a:r>
              <a:rPr lang="en-US" sz="2200" dirty="0" err="1">
                <a:latin typeface="Times New Roman" panose="02020603050405020304" pitchFamily="18" charset="0"/>
                <a:cs typeface="Times New Roman" panose="02020603050405020304" pitchFamily="18" charset="0"/>
              </a:rPr>
              <a:t>và</a:t>
            </a:r>
            <a:r>
              <a:rPr lang="en-US" sz="2200" dirty="0">
                <a:latin typeface="Times New Roman" panose="02020603050405020304" pitchFamily="18" charset="0"/>
                <a:cs typeface="Times New Roman" panose="02020603050405020304" pitchFamily="18" charset="0"/>
              </a:rPr>
              <a:t> (B) </a:t>
            </a:r>
            <a:r>
              <a:rPr lang="en-US" sz="2200" dirty="0" err="1">
                <a:latin typeface="Times New Roman" panose="02020603050405020304" pitchFamily="18" charset="0"/>
                <a:cs typeface="Times New Roman" panose="02020603050405020304" pitchFamily="18" charset="0"/>
              </a:rPr>
              <a:t>được</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gọi</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là</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có</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quan</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hệ</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với</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nhau</a:t>
            </a:r>
            <a:r>
              <a:rPr lang="en-US" sz="2200" dirty="0">
                <a:latin typeface="Times New Roman" panose="02020603050405020304" pitchFamily="18" charset="0"/>
                <a:cs typeface="Times New Roman" panose="02020603050405020304" pitchFamily="18" charset="0"/>
              </a:rPr>
              <a:t> qua </a:t>
            </a:r>
            <a:r>
              <a:rPr lang="en-US" sz="2200" dirty="0" err="1">
                <a:latin typeface="Times New Roman" panose="02020603050405020304" pitchFamily="18" charset="0"/>
                <a:cs typeface="Times New Roman" panose="02020603050405020304" pitchFamily="18" charset="0"/>
              </a:rPr>
              <a:t>khóa</a:t>
            </a:r>
            <a:r>
              <a:rPr lang="en-US" sz="2200" dirty="0">
                <a:latin typeface="Times New Roman" panose="02020603050405020304" pitchFamily="18" charset="0"/>
                <a:cs typeface="Times New Roman" panose="02020603050405020304" pitchFamily="18" charset="0"/>
              </a:rPr>
              <a:t> </a:t>
            </a:r>
            <a:r>
              <a:rPr lang="en-US" sz="2200" dirty="0" err="1">
                <a:latin typeface="Times New Roman" panose="02020603050405020304" pitchFamily="18" charset="0"/>
                <a:cs typeface="Times New Roman" panose="02020603050405020304" pitchFamily="18" charset="0"/>
              </a:rPr>
              <a:t>ngoài</a:t>
            </a:r>
            <a:r>
              <a:rPr lang="en-US" sz="2200" dirty="0">
                <a:latin typeface="Times New Roman" panose="02020603050405020304" pitchFamily="18" charset="0"/>
                <a:cs typeface="Times New Roman" panose="02020603050405020304" pitchFamily="18" charset="0"/>
              </a:rPr>
              <a:t> </a:t>
            </a:r>
          </a:p>
        </p:txBody>
      </p:sp>
      <p:sp>
        <p:nvSpPr>
          <p:cNvPr id="59" name="Parallelogram 58">
            <a:extLst>
              <a:ext uri="{FF2B5EF4-FFF2-40B4-BE49-F238E27FC236}">
                <a16:creationId xmlns:a16="http://schemas.microsoft.com/office/drawing/2014/main" id="{9D14E69E-F30D-42D6-9D78-7A5370CD97EA}"/>
              </a:ext>
            </a:extLst>
          </p:cNvPr>
          <p:cNvSpPr/>
          <p:nvPr/>
        </p:nvSpPr>
        <p:spPr>
          <a:xfrm>
            <a:off x="829162" y="161738"/>
            <a:ext cx="8679050" cy="627681"/>
          </a:xfrm>
          <a:prstGeom prst="parallelogram">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sp>
        <p:nvSpPr>
          <p:cNvPr id="60" name="TextBox 59">
            <a:extLst>
              <a:ext uri="{FF2B5EF4-FFF2-40B4-BE49-F238E27FC236}">
                <a16:creationId xmlns:a16="http://schemas.microsoft.com/office/drawing/2014/main" id="{F59E042B-8E41-4EB6-ABE7-F018540CFA3A}"/>
              </a:ext>
            </a:extLst>
          </p:cNvPr>
          <p:cNvSpPr txBox="1"/>
          <p:nvPr/>
        </p:nvSpPr>
        <p:spPr>
          <a:xfrm>
            <a:off x="1478420" y="175300"/>
            <a:ext cx="6013344" cy="461665"/>
          </a:xfrm>
          <a:prstGeom prst="rect">
            <a:avLst/>
          </a:prstGeom>
          <a:noFill/>
        </p:spPr>
        <p:txBody>
          <a:bodyPr wrap="square" rtlCol="0">
            <a:spAutoFit/>
          </a:bodyPr>
          <a:lstStyle/>
          <a:p>
            <a:r>
              <a:rPr lang="en-US" sz="2400" dirty="0">
                <a:solidFill>
                  <a:schemeClr val="bg1"/>
                </a:solidFill>
                <a:latin typeface="Times New Roman" panose="02020603050405020304" pitchFamily="18" charset="0"/>
                <a:cs typeface="Times New Roman" panose="02020603050405020304" pitchFamily="18" charset="0"/>
              </a:rPr>
              <a:t>                   </a:t>
            </a:r>
            <a:r>
              <a:rPr lang="en-US" sz="2400" dirty="0" smtClean="0">
                <a:solidFill>
                  <a:schemeClr val="bg1"/>
                </a:solidFill>
                <a:latin typeface="Times New Roman" panose="02020603050405020304" pitchFamily="18" charset="0"/>
                <a:cs typeface="Times New Roman" panose="02020603050405020304" pitchFamily="18" charset="0"/>
              </a:rPr>
              <a:t>c)  </a:t>
            </a:r>
            <a:r>
              <a:rPr lang="en-US" sz="2400" dirty="0" err="1">
                <a:solidFill>
                  <a:schemeClr val="bg1"/>
                </a:solidFill>
                <a:latin typeface="Times New Roman" panose="02020603050405020304" pitchFamily="18" charset="0"/>
                <a:cs typeface="Times New Roman" panose="02020603050405020304" pitchFamily="18" charset="0"/>
              </a:rPr>
              <a:t>Khóa</a:t>
            </a:r>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smtClean="0">
                <a:solidFill>
                  <a:schemeClr val="bg1"/>
                </a:solidFill>
                <a:latin typeface="Times New Roman" panose="02020603050405020304" pitchFamily="18" charset="0"/>
                <a:cs typeface="Times New Roman" panose="02020603050405020304" pitchFamily="18" charset="0"/>
              </a:rPr>
              <a:t>ngoài</a:t>
            </a:r>
            <a:endParaRPr lang="en-US" sz="2400"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839572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
                                        <p:tgtEl>
                                          <p:spTgt spid="35"/>
                                        </p:tgtEl>
                                      </p:cBhvr>
                                    </p:animEffect>
                                  </p:childTnLst>
                                </p:cTn>
                              </p:par>
                            </p:childTnLst>
                          </p:cTn>
                        </p:par>
                        <p:par>
                          <p:cTn id="8" fill="hold">
                            <p:stCondLst>
                              <p:cond delay="1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
                                        <p:tgtEl>
                                          <p:spTgt spid="6"/>
                                        </p:tgtEl>
                                      </p:cBhvr>
                                    </p:animEffect>
                                  </p:childTnLst>
                                </p:cTn>
                              </p:par>
                            </p:childTnLst>
                          </p:cTn>
                        </p:par>
                        <p:par>
                          <p:cTn id="12" fill="hold">
                            <p:stCondLst>
                              <p:cond delay="200"/>
                            </p:stCondLst>
                            <p:childTnLst>
                              <p:par>
                                <p:cTn id="13" presetID="10" presetClass="entr" presetSubtype="0" fill="hold"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100"/>
                                        <p:tgtEl>
                                          <p:spTgt spid="38"/>
                                        </p:tgtEl>
                                      </p:cBhvr>
                                    </p:animEffect>
                                  </p:childTnLst>
                                </p:cTn>
                              </p:par>
                            </p:childTnLst>
                          </p:cTn>
                        </p:par>
                        <p:par>
                          <p:cTn id="16" fill="hold">
                            <p:stCondLst>
                              <p:cond delay="300"/>
                            </p:stCondLst>
                            <p:childTnLst>
                              <p:par>
                                <p:cTn id="17" presetID="10" presetClass="entr" presetSubtype="0" fill="hold" nodeType="after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100"/>
                                        <p:tgtEl>
                                          <p:spTgt spid="40"/>
                                        </p:tgtEl>
                                      </p:cBhvr>
                                    </p:animEffect>
                                  </p:childTnLst>
                                </p:cTn>
                              </p:par>
                            </p:childTnLst>
                          </p:cTn>
                        </p:par>
                        <p:par>
                          <p:cTn id="20" fill="hold">
                            <p:stCondLst>
                              <p:cond delay="400"/>
                            </p:stCondLst>
                            <p:childTnLst>
                              <p:par>
                                <p:cTn id="21" presetID="10" presetClass="entr" presetSubtype="0" fill="hold" nodeType="after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100"/>
                                        <p:tgtEl>
                                          <p:spTgt spid="42"/>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100"/>
                                        <p:tgtEl>
                                          <p:spTgt spid="44"/>
                                        </p:tgtEl>
                                      </p:cBhvr>
                                    </p:animEffect>
                                  </p:childTnLst>
                                </p:cTn>
                              </p:par>
                            </p:childTnLst>
                          </p:cTn>
                        </p:par>
                        <p:par>
                          <p:cTn id="28" fill="hold">
                            <p:stCondLst>
                              <p:cond delay="600"/>
                            </p:stCondLst>
                            <p:childTnLst>
                              <p:par>
                                <p:cTn id="29" presetID="10" presetClass="exit" presetSubtype="0" fill="hold" nodeType="afterEffect">
                                  <p:stCondLst>
                                    <p:cond delay="0"/>
                                  </p:stCondLst>
                                  <p:childTnLst>
                                    <p:animEffect transition="out" filter="fade">
                                      <p:cBhvr>
                                        <p:cTn id="30" dur="100"/>
                                        <p:tgtEl>
                                          <p:spTgt spid="35"/>
                                        </p:tgtEl>
                                      </p:cBhvr>
                                    </p:animEffect>
                                    <p:set>
                                      <p:cBhvr>
                                        <p:cTn id="31" dur="1" fill="hold">
                                          <p:stCondLst>
                                            <p:cond delay="99"/>
                                          </p:stCondLst>
                                        </p:cTn>
                                        <p:tgtEl>
                                          <p:spTgt spid="35"/>
                                        </p:tgtEl>
                                        <p:attrNameLst>
                                          <p:attrName>style.visibility</p:attrName>
                                        </p:attrNameLst>
                                      </p:cBhvr>
                                      <p:to>
                                        <p:strVal val="hidden"/>
                                      </p:to>
                                    </p:set>
                                  </p:childTnLst>
                                </p:cTn>
                              </p:par>
                            </p:childTnLst>
                          </p:cTn>
                        </p:par>
                        <p:par>
                          <p:cTn id="32" fill="hold">
                            <p:stCondLst>
                              <p:cond delay="700"/>
                            </p:stCondLst>
                            <p:childTnLst>
                              <p:par>
                                <p:cTn id="33" presetID="10" presetClass="exit" presetSubtype="0" fill="hold" nodeType="afterEffect">
                                  <p:stCondLst>
                                    <p:cond delay="0"/>
                                  </p:stCondLst>
                                  <p:childTnLst>
                                    <p:animEffect transition="out" filter="fade">
                                      <p:cBhvr>
                                        <p:cTn id="34" dur="100"/>
                                        <p:tgtEl>
                                          <p:spTgt spid="6"/>
                                        </p:tgtEl>
                                      </p:cBhvr>
                                    </p:animEffect>
                                    <p:set>
                                      <p:cBhvr>
                                        <p:cTn id="35" dur="1" fill="hold">
                                          <p:stCondLst>
                                            <p:cond delay="99"/>
                                          </p:stCondLst>
                                        </p:cTn>
                                        <p:tgtEl>
                                          <p:spTgt spid="6"/>
                                        </p:tgtEl>
                                        <p:attrNameLst>
                                          <p:attrName>style.visibility</p:attrName>
                                        </p:attrNameLst>
                                      </p:cBhvr>
                                      <p:to>
                                        <p:strVal val="hidden"/>
                                      </p:to>
                                    </p:set>
                                  </p:childTnLst>
                                </p:cTn>
                              </p:par>
                            </p:childTnLst>
                          </p:cTn>
                        </p:par>
                        <p:par>
                          <p:cTn id="36" fill="hold">
                            <p:stCondLst>
                              <p:cond delay="800"/>
                            </p:stCondLst>
                            <p:childTnLst>
                              <p:par>
                                <p:cTn id="37" presetID="10" presetClass="exit" presetSubtype="0" fill="hold" nodeType="afterEffect">
                                  <p:stCondLst>
                                    <p:cond delay="0"/>
                                  </p:stCondLst>
                                  <p:childTnLst>
                                    <p:animEffect transition="out" filter="fade">
                                      <p:cBhvr>
                                        <p:cTn id="38" dur="100"/>
                                        <p:tgtEl>
                                          <p:spTgt spid="38"/>
                                        </p:tgtEl>
                                      </p:cBhvr>
                                    </p:animEffect>
                                    <p:set>
                                      <p:cBhvr>
                                        <p:cTn id="39" dur="1" fill="hold">
                                          <p:stCondLst>
                                            <p:cond delay="99"/>
                                          </p:stCondLst>
                                        </p:cTn>
                                        <p:tgtEl>
                                          <p:spTgt spid="38"/>
                                        </p:tgtEl>
                                        <p:attrNameLst>
                                          <p:attrName>style.visibility</p:attrName>
                                        </p:attrNameLst>
                                      </p:cBhvr>
                                      <p:to>
                                        <p:strVal val="hidden"/>
                                      </p:to>
                                    </p:set>
                                  </p:childTnLst>
                                </p:cTn>
                              </p:par>
                            </p:childTnLst>
                          </p:cTn>
                        </p:par>
                        <p:par>
                          <p:cTn id="40" fill="hold">
                            <p:stCondLst>
                              <p:cond delay="900"/>
                            </p:stCondLst>
                            <p:childTnLst>
                              <p:par>
                                <p:cTn id="41" presetID="10" presetClass="exit" presetSubtype="0" fill="hold" nodeType="afterEffect">
                                  <p:stCondLst>
                                    <p:cond delay="0"/>
                                  </p:stCondLst>
                                  <p:childTnLst>
                                    <p:animEffect transition="out" filter="fade">
                                      <p:cBhvr>
                                        <p:cTn id="42" dur="100"/>
                                        <p:tgtEl>
                                          <p:spTgt spid="40"/>
                                        </p:tgtEl>
                                      </p:cBhvr>
                                    </p:animEffect>
                                    <p:set>
                                      <p:cBhvr>
                                        <p:cTn id="43" dur="1" fill="hold">
                                          <p:stCondLst>
                                            <p:cond delay="99"/>
                                          </p:stCondLst>
                                        </p:cTn>
                                        <p:tgtEl>
                                          <p:spTgt spid="40"/>
                                        </p:tgtEl>
                                        <p:attrNameLst>
                                          <p:attrName>style.visibility</p:attrName>
                                        </p:attrNameLst>
                                      </p:cBhvr>
                                      <p:to>
                                        <p:strVal val="hidden"/>
                                      </p:to>
                                    </p:set>
                                  </p:childTnLst>
                                </p:cTn>
                              </p:par>
                            </p:childTnLst>
                          </p:cTn>
                        </p:par>
                        <p:par>
                          <p:cTn id="44" fill="hold">
                            <p:stCondLst>
                              <p:cond delay="1000"/>
                            </p:stCondLst>
                            <p:childTnLst>
                              <p:par>
                                <p:cTn id="45" presetID="10" presetClass="exit" presetSubtype="0" fill="hold" nodeType="afterEffect">
                                  <p:stCondLst>
                                    <p:cond delay="0"/>
                                  </p:stCondLst>
                                  <p:childTnLst>
                                    <p:animEffect transition="out" filter="fade">
                                      <p:cBhvr>
                                        <p:cTn id="46" dur="100"/>
                                        <p:tgtEl>
                                          <p:spTgt spid="42"/>
                                        </p:tgtEl>
                                      </p:cBhvr>
                                    </p:animEffect>
                                    <p:set>
                                      <p:cBhvr>
                                        <p:cTn id="47" dur="1" fill="hold">
                                          <p:stCondLst>
                                            <p:cond delay="99"/>
                                          </p:stCondLst>
                                        </p:cTn>
                                        <p:tgtEl>
                                          <p:spTgt spid="42"/>
                                        </p:tgtEl>
                                        <p:attrNameLst>
                                          <p:attrName>style.visibility</p:attrName>
                                        </p:attrNameLst>
                                      </p:cBhvr>
                                      <p:to>
                                        <p:strVal val="hidden"/>
                                      </p:to>
                                    </p:set>
                                  </p:childTnLst>
                                </p:cTn>
                              </p:par>
                            </p:childTnLst>
                          </p:cTn>
                        </p:par>
                        <p:par>
                          <p:cTn id="48" fill="hold">
                            <p:stCondLst>
                              <p:cond delay="1100"/>
                            </p:stCondLst>
                            <p:childTnLst>
                              <p:par>
                                <p:cTn id="49" presetID="10" presetClass="exit" presetSubtype="0" fill="hold" nodeType="afterEffect">
                                  <p:stCondLst>
                                    <p:cond delay="0"/>
                                  </p:stCondLst>
                                  <p:childTnLst>
                                    <p:animEffect transition="out" filter="fade">
                                      <p:cBhvr>
                                        <p:cTn id="50" dur="100"/>
                                        <p:tgtEl>
                                          <p:spTgt spid="44"/>
                                        </p:tgtEl>
                                      </p:cBhvr>
                                    </p:animEffect>
                                    <p:set>
                                      <p:cBhvr>
                                        <p:cTn id="51" dur="1" fill="hold">
                                          <p:stCondLst>
                                            <p:cond delay="99"/>
                                          </p:stCondLst>
                                        </p:cTn>
                                        <p:tgtEl>
                                          <p:spTgt spid="44"/>
                                        </p:tgtEl>
                                        <p:attrNameLst>
                                          <p:attrName>style.visibility</p:attrName>
                                        </p:attrNameLst>
                                      </p:cBhvr>
                                      <p:to>
                                        <p:strVal val="hidden"/>
                                      </p:to>
                                    </p:set>
                                  </p:childTnLst>
                                </p:cTn>
                              </p:par>
                            </p:childTnLst>
                          </p:cTn>
                        </p:par>
                        <p:par>
                          <p:cTn id="52" fill="hold">
                            <p:stCondLst>
                              <p:cond delay="1200"/>
                            </p:stCondLst>
                            <p:childTnLst>
                              <p:par>
                                <p:cTn id="53" presetID="42" presetClass="path" presetSubtype="0" accel="50000" decel="50000" fill="hold" nodeType="afterEffect">
                                  <p:stCondLst>
                                    <p:cond delay="0"/>
                                  </p:stCondLst>
                                  <p:childTnLst>
                                    <p:animMotion origin="layout" path="M 4.02778E-6 -3.33333E-6 L -0.01624 0.65695 " pathEditMode="relative" rAng="0" ptsTypes="AA">
                                      <p:cBhvr>
                                        <p:cTn id="54" dur="1000" fill="hold"/>
                                        <p:tgtEl>
                                          <p:spTgt spid="20"/>
                                        </p:tgtEl>
                                        <p:attrNameLst>
                                          <p:attrName>ppt_x</p:attrName>
                                          <p:attrName>ppt_y</p:attrName>
                                        </p:attrNameLst>
                                      </p:cBhvr>
                                      <p:rCtr x="-816" y="32855"/>
                                    </p:animMotion>
                                  </p:childTnLst>
                                </p:cTn>
                              </p:par>
                            </p:childTnLst>
                          </p:cTn>
                        </p:par>
                        <p:par>
                          <p:cTn id="55" fill="hold">
                            <p:stCondLst>
                              <p:cond delay="2200"/>
                            </p:stCondLst>
                            <p:childTnLst>
                              <p:par>
                                <p:cTn id="56" presetID="10" presetClass="entr" presetSubtype="0" fill="hold" nodeType="after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150"/>
                                        <p:tgtEl>
                                          <p:spTgt spid="4"/>
                                        </p:tgtEl>
                                      </p:cBhvr>
                                    </p:animEffect>
                                  </p:childTnLst>
                                </p:cTn>
                              </p:par>
                            </p:childTnLst>
                          </p:cTn>
                        </p:par>
                        <p:par>
                          <p:cTn id="59" fill="hold">
                            <p:stCondLst>
                              <p:cond delay="2350"/>
                            </p:stCondLst>
                            <p:childTnLst>
                              <p:par>
                                <p:cTn id="60" presetID="10" presetClass="entr" presetSubtype="0" fill="hold" nodeType="afterEffect">
                                  <p:stCondLst>
                                    <p:cond delay="0"/>
                                  </p:stCondLst>
                                  <p:childTnLst>
                                    <p:set>
                                      <p:cBhvr>
                                        <p:cTn id="61" dur="1" fill="hold">
                                          <p:stCondLst>
                                            <p:cond delay="0"/>
                                          </p:stCondLst>
                                        </p:cTn>
                                        <p:tgtEl>
                                          <p:spTgt spid="36"/>
                                        </p:tgtEl>
                                        <p:attrNameLst>
                                          <p:attrName>style.visibility</p:attrName>
                                        </p:attrNameLst>
                                      </p:cBhvr>
                                      <p:to>
                                        <p:strVal val="visible"/>
                                      </p:to>
                                    </p:set>
                                    <p:animEffect transition="in" filter="fade">
                                      <p:cBhvr>
                                        <p:cTn id="62" dur="150"/>
                                        <p:tgtEl>
                                          <p:spTgt spid="36"/>
                                        </p:tgtEl>
                                      </p:cBhvr>
                                    </p:animEffect>
                                  </p:childTnLst>
                                </p:cTn>
                              </p:par>
                            </p:childTnLst>
                          </p:cTn>
                        </p:par>
                        <p:par>
                          <p:cTn id="63" fill="hold">
                            <p:stCondLst>
                              <p:cond delay="2500"/>
                            </p:stCondLst>
                            <p:childTnLst>
                              <p:par>
                                <p:cTn id="64" presetID="10" presetClass="entr" presetSubtype="0" fill="hold" nodeType="afterEffect">
                                  <p:stCondLst>
                                    <p:cond delay="0"/>
                                  </p:stCondLst>
                                  <p:childTnLst>
                                    <p:set>
                                      <p:cBhvr>
                                        <p:cTn id="65" dur="1" fill="hold">
                                          <p:stCondLst>
                                            <p:cond delay="0"/>
                                          </p:stCondLst>
                                        </p:cTn>
                                        <p:tgtEl>
                                          <p:spTgt spid="16"/>
                                        </p:tgtEl>
                                        <p:attrNameLst>
                                          <p:attrName>style.visibility</p:attrName>
                                        </p:attrNameLst>
                                      </p:cBhvr>
                                      <p:to>
                                        <p:strVal val="visible"/>
                                      </p:to>
                                    </p:set>
                                    <p:animEffect transition="in" filter="fade">
                                      <p:cBhvr>
                                        <p:cTn id="66" dur="150"/>
                                        <p:tgtEl>
                                          <p:spTgt spid="16"/>
                                        </p:tgtEl>
                                      </p:cBhvr>
                                    </p:animEffect>
                                  </p:childTnLst>
                                </p:cTn>
                              </p:par>
                            </p:childTnLst>
                          </p:cTn>
                        </p:par>
                        <p:par>
                          <p:cTn id="67" fill="hold">
                            <p:stCondLst>
                              <p:cond delay="2650"/>
                            </p:stCondLst>
                            <p:childTnLst>
                              <p:par>
                                <p:cTn id="68" presetID="10" presetClass="entr" presetSubtype="0" fill="hold" nodeType="after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500"/>
                                        <p:tgtEl>
                                          <p:spTgt spid="21"/>
                                        </p:tgtEl>
                                      </p:cBhvr>
                                    </p:animEffect>
                                  </p:childTnLst>
                                </p:cTn>
                              </p:par>
                            </p:childTnLst>
                          </p:cTn>
                        </p:par>
                        <p:par>
                          <p:cTn id="71" fill="hold">
                            <p:stCondLst>
                              <p:cond delay="3150"/>
                            </p:stCondLst>
                            <p:childTnLst>
                              <p:par>
                                <p:cTn id="72" presetID="10" presetClass="entr" presetSubtype="0" fill="hold" nodeType="afterEffect">
                                  <p:stCondLst>
                                    <p:cond delay="0"/>
                                  </p:stCondLst>
                                  <p:childTnLst>
                                    <p:set>
                                      <p:cBhvr>
                                        <p:cTn id="73" dur="1" fill="hold">
                                          <p:stCondLst>
                                            <p:cond delay="0"/>
                                          </p:stCondLst>
                                        </p:cTn>
                                        <p:tgtEl>
                                          <p:spTgt spid="10"/>
                                        </p:tgtEl>
                                        <p:attrNameLst>
                                          <p:attrName>style.visibility</p:attrName>
                                        </p:attrNameLst>
                                      </p:cBhvr>
                                      <p:to>
                                        <p:strVal val="visible"/>
                                      </p:to>
                                    </p:set>
                                    <p:animEffect transition="in" filter="fade">
                                      <p:cBhvr>
                                        <p:cTn id="74" dur="150"/>
                                        <p:tgtEl>
                                          <p:spTgt spid="10"/>
                                        </p:tgtEl>
                                      </p:cBhvr>
                                    </p:animEffect>
                                  </p:childTnLst>
                                </p:cTn>
                              </p:par>
                            </p:childTnLst>
                          </p:cTn>
                        </p:par>
                        <p:par>
                          <p:cTn id="75" fill="hold">
                            <p:stCondLst>
                              <p:cond delay="3300"/>
                            </p:stCondLst>
                            <p:childTnLst>
                              <p:par>
                                <p:cTn id="76" presetID="10" presetClass="entr" presetSubtype="0" fill="hold" nodeType="afterEffect">
                                  <p:stCondLst>
                                    <p:cond delay="0"/>
                                  </p:stCondLst>
                                  <p:childTnLst>
                                    <p:set>
                                      <p:cBhvr>
                                        <p:cTn id="77" dur="1" fill="hold">
                                          <p:stCondLst>
                                            <p:cond delay="0"/>
                                          </p:stCondLst>
                                        </p:cTn>
                                        <p:tgtEl>
                                          <p:spTgt spid="8"/>
                                        </p:tgtEl>
                                        <p:attrNameLst>
                                          <p:attrName>style.visibility</p:attrName>
                                        </p:attrNameLst>
                                      </p:cBhvr>
                                      <p:to>
                                        <p:strVal val="visible"/>
                                      </p:to>
                                    </p:set>
                                    <p:animEffect transition="in" filter="fade">
                                      <p:cBhvr>
                                        <p:cTn id="78" dur="150"/>
                                        <p:tgtEl>
                                          <p:spTgt spid="8"/>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2"/>
                                        </p:tgtEl>
                                        <p:attrNameLst>
                                          <p:attrName>style.visibility</p:attrName>
                                        </p:attrNameLst>
                                      </p:cBhvr>
                                      <p:to>
                                        <p:strVal val="visible"/>
                                      </p:to>
                                    </p:set>
                                    <p:animEffect transition="in" filter="fade">
                                      <p:cBhvr>
                                        <p:cTn id="83" dur="500"/>
                                        <p:tgtEl>
                                          <p:spTgt spid="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nodeType="clickEffect">
                                  <p:stCondLst>
                                    <p:cond delay="0"/>
                                  </p:stCondLst>
                                  <p:childTnLst>
                                    <p:set>
                                      <p:cBhvr>
                                        <p:cTn id="87" dur="1" fill="hold">
                                          <p:stCondLst>
                                            <p:cond delay="0"/>
                                          </p:stCondLst>
                                        </p:cTn>
                                        <p:tgtEl>
                                          <p:spTgt spid="3"/>
                                        </p:tgtEl>
                                        <p:attrNameLst>
                                          <p:attrName>style.visibility</p:attrName>
                                        </p:attrNameLst>
                                      </p:cBhvr>
                                      <p:to>
                                        <p:strVal val="visible"/>
                                      </p:to>
                                    </p:set>
                                    <p:animEffect transition="in" filter="fade">
                                      <p:cBhvr>
                                        <p:cTn id="88" dur="500"/>
                                        <p:tgtEl>
                                          <p:spTgt spid="3"/>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27"/>
                                        </p:tgtEl>
                                        <p:attrNameLst>
                                          <p:attrName>style.visibility</p:attrName>
                                        </p:attrNameLst>
                                      </p:cBhvr>
                                      <p:to>
                                        <p:strVal val="visible"/>
                                      </p:to>
                                    </p:set>
                                    <p:animEffect transition="in" filter="fade">
                                      <p:cBhvr>
                                        <p:cTn id="93" dur="500"/>
                                        <p:tgtEl>
                                          <p:spTgt spid="27"/>
                                        </p:tgtEl>
                                      </p:cBhvr>
                                    </p:animEffect>
                                  </p:childTnLst>
                                </p:cTn>
                              </p:par>
                            </p:childTnLst>
                          </p:cTn>
                        </p:par>
                      </p:childTnLst>
                    </p:cTn>
                  </p:par>
                  <p:par>
                    <p:cTn id="94" fill="hold">
                      <p:stCondLst>
                        <p:cond delay="indefinite"/>
                      </p:stCondLst>
                      <p:childTnLst>
                        <p:par>
                          <p:cTn id="95" fill="hold">
                            <p:stCondLst>
                              <p:cond delay="0"/>
                            </p:stCondLst>
                            <p:childTnLst>
                              <p:par>
                                <p:cTn id="96" presetID="13" presetClass="entr" presetSubtype="16" fill="hold" grpId="0" nodeType="clickEffect">
                                  <p:stCondLst>
                                    <p:cond delay="0"/>
                                  </p:stCondLst>
                                  <p:childTnLst>
                                    <p:set>
                                      <p:cBhvr>
                                        <p:cTn id="97" dur="1" fill="hold">
                                          <p:stCondLst>
                                            <p:cond delay="0"/>
                                          </p:stCondLst>
                                        </p:cTn>
                                        <p:tgtEl>
                                          <p:spTgt spid="28"/>
                                        </p:tgtEl>
                                        <p:attrNameLst>
                                          <p:attrName>style.visibility</p:attrName>
                                        </p:attrNameLst>
                                      </p:cBhvr>
                                      <p:to>
                                        <p:strVal val="visible"/>
                                      </p:to>
                                    </p:set>
                                    <p:animEffect transition="in" filter="plus(in)">
                                      <p:cBhvr>
                                        <p:cTn id="98" dur="1250"/>
                                        <p:tgtEl>
                                          <p:spTgt spid="28"/>
                                        </p:tgtEl>
                                      </p:cBhvr>
                                    </p:animEffect>
                                  </p:childTnLst>
                                </p:cTn>
                              </p:par>
                            </p:childTnLst>
                          </p:cTn>
                        </p:par>
                      </p:childTnLst>
                    </p:cTn>
                  </p:par>
                  <p:par>
                    <p:cTn id="99" fill="hold">
                      <p:stCondLst>
                        <p:cond delay="indefinite"/>
                      </p:stCondLst>
                      <p:childTnLst>
                        <p:par>
                          <p:cTn id="100" fill="hold">
                            <p:stCondLst>
                              <p:cond delay="0"/>
                            </p:stCondLst>
                            <p:childTnLst>
                              <p:par>
                                <p:cTn id="101" presetID="13" presetClass="entr" presetSubtype="16" fill="hold" grpId="0" nodeType="clickEffect">
                                  <p:stCondLst>
                                    <p:cond delay="0"/>
                                  </p:stCondLst>
                                  <p:childTnLst>
                                    <p:set>
                                      <p:cBhvr>
                                        <p:cTn id="102" dur="1" fill="hold">
                                          <p:stCondLst>
                                            <p:cond delay="0"/>
                                          </p:stCondLst>
                                        </p:cTn>
                                        <p:tgtEl>
                                          <p:spTgt spid="30"/>
                                        </p:tgtEl>
                                        <p:attrNameLst>
                                          <p:attrName>style.visibility</p:attrName>
                                        </p:attrNameLst>
                                      </p:cBhvr>
                                      <p:to>
                                        <p:strVal val="visible"/>
                                      </p:to>
                                    </p:set>
                                    <p:animEffect transition="in" filter="plus(in)">
                                      <p:cBhvr>
                                        <p:cTn id="103" dur="1250"/>
                                        <p:tgtEl>
                                          <p:spTgt spid="30"/>
                                        </p:tgtEl>
                                      </p:cBhvr>
                                    </p:animEffect>
                                  </p:childTnLst>
                                </p:cTn>
                              </p:par>
                            </p:childTnLst>
                          </p:cTn>
                        </p:par>
                        <p:par>
                          <p:cTn id="104" fill="hold">
                            <p:stCondLst>
                              <p:cond delay="1250"/>
                            </p:stCondLst>
                            <p:childTnLst>
                              <p:par>
                                <p:cTn id="105" presetID="22" presetClass="entr" presetSubtype="4" fill="hold" nodeType="afterEffect">
                                  <p:stCondLst>
                                    <p:cond delay="0"/>
                                  </p:stCondLst>
                                  <p:childTnLst>
                                    <p:set>
                                      <p:cBhvr>
                                        <p:cTn id="106" dur="1" fill="hold">
                                          <p:stCondLst>
                                            <p:cond delay="0"/>
                                          </p:stCondLst>
                                        </p:cTn>
                                        <p:tgtEl>
                                          <p:spTgt spid="53"/>
                                        </p:tgtEl>
                                        <p:attrNameLst>
                                          <p:attrName>style.visibility</p:attrName>
                                        </p:attrNameLst>
                                      </p:cBhvr>
                                      <p:to>
                                        <p:strVal val="visible"/>
                                      </p:to>
                                    </p:set>
                                    <p:animEffect transition="in" filter="wipe(down)">
                                      <p:cBhvr>
                                        <p:cTn id="107" dur="500"/>
                                        <p:tgtEl>
                                          <p:spTgt spid="53"/>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4" fill="hold" nodeType="clickEffect">
                                  <p:stCondLst>
                                    <p:cond delay="0"/>
                                  </p:stCondLst>
                                  <p:childTnLst>
                                    <p:set>
                                      <p:cBhvr>
                                        <p:cTn id="111" dur="1" fill="hold">
                                          <p:stCondLst>
                                            <p:cond delay="0"/>
                                          </p:stCondLst>
                                        </p:cTn>
                                        <p:tgtEl>
                                          <p:spTgt spid="54"/>
                                        </p:tgtEl>
                                        <p:attrNameLst>
                                          <p:attrName>style.visibility</p:attrName>
                                        </p:attrNameLst>
                                      </p:cBhvr>
                                      <p:to>
                                        <p:strVal val="visible"/>
                                      </p:to>
                                    </p:set>
                                    <p:animEffect transition="in" filter="wipe(down)">
                                      <p:cBhvr>
                                        <p:cTn id="112" dur="500"/>
                                        <p:tgtEl>
                                          <p:spTgt spid="54"/>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xit" presetSubtype="0" fill="hold" nodeType="clickEffect">
                                  <p:stCondLst>
                                    <p:cond delay="0"/>
                                  </p:stCondLst>
                                  <p:childTnLst>
                                    <p:animEffect transition="out" filter="fade">
                                      <p:cBhvr>
                                        <p:cTn id="116" dur="500"/>
                                        <p:tgtEl>
                                          <p:spTgt spid="2"/>
                                        </p:tgtEl>
                                      </p:cBhvr>
                                    </p:animEffect>
                                    <p:set>
                                      <p:cBhvr>
                                        <p:cTn id="117" dur="1" fill="hold">
                                          <p:stCondLst>
                                            <p:cond delay="499"/>
                                          </p:stCondLst>
                                        </p:cTn>
                                        <p:tgtEl>
                                          <p:spTgt spid="2"/>
                                        </p:tgtEl>
                                        <p:attrNameLst>
                                          <p:attrName>style.visibility</p:attrName>
                                        </p:attrNameLst>
                                      </p:cBhvr>
                                      <p:to>
                                        <p:strVal val="hidden"/>
                                      </p:to>
                                    </p:set>
                                  </p:childTnLst>
                                </p:cTn>
                              </p:par>
                              <p:par>
                                <p:cTn id="118" presetID="10" presetClass="exit" presetSubtype="0" fill="hold" nodeType="withEffect">
                                  <p:stCondLst>
                                    <p:cond delay="0"/>
                                  </p:stCondLst>
                                  <p:childTnLst>
                                    <p:animEffect transition="out" filter="fade">
                                      <p:cBhvr>
                                        <p:cTn id="119" dur="500"/>
                                        <p:tgtEl>
                                          <p:spTgt spid="3"/>
                                        </p:tgtEl>
                                      </p:cBhvr>
                                    </p:animEffect>
                                    <p:set>
                                      <p:cBhvr>
                                        <p:cTn id="120" dur="1" fill="hold">
                                          <p:stCondLst>
                                            <p:cond delay="499"/>
                                          </p:stCondLst>
                                        </p:cTn>
                                        <p:tgtEl>
                                          <p:spTgt spid="3"/>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500"/>
                                        <p:tgtEl>
                                          <p:spTgt spid="27"/>
                                        </p:tgtEl>
                                      </p:cBhvr>
                                    </p:animEffect>
                                    <p:set>
                                      <p:cBhvr>
                                        <p:cTn id="123" dur="1" fill="hold">
                                          <p:stCondLst>
                                            <p:cond delay="499"/>
                                          </p:stCondLst>
                                        </p:cTn>
                                        <p:tgtEl>
                                          <p:spTgt spid="27"/>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28"/>
                                        </p:tgtEl>
                                      </p:cBhvr>
                                    </p:animEffect>
                                    <p:set>
                                      <p:cBhvr>
                                        <p:cTn id="126" dur="1" fill="hold">
                                          <p:stCondLst>
                                            <p:cond delay="499"/>
                                          </p:stCondLst>
                                        </p:cTn>
                                        <p:tgtEl>
                                          <p:spTgt spid="28"/>
                                        </p:tgtEl>
                                        <p:attrNameLst>
                                          <p:attrName>style.visibility</p:attrName>
                                        </p:attrNameLst>
                                      </p:cBhvr>
                                      <p:to>
                                        <p:strVal val="hidden"/>
                                      </p:to>
                                    </p:set>
                                  </p:childTnLst>
                                </p:cTn>
                              </p:par>
                              <p:par>
                                <p:cTn id="127" presetID="10" presetClass="exit" presetSubtype="0" fill="hold" grpId="1" nodeType="withEffect">
                                  <p:stCondLst>
                                    <p:cond delay="0"/>
                                  </p:stCondLst>
                                  <p:childTnLst>
                                    <p:animEffect transition="out" filter="fade">
                                      <p:cBhvr>
                                        <p:cTn id="128" dur="500"/>
                                        <p:tgtEl>
                                          <p:spTgt spid="30"/>
                                        </p:tgtEl>
                                      </p:cBhvr>
                                    </p:animEffect>
                                    <p:set>
                                      <p:cBhvr>
                                        <p:cTn id="129" dur="1" fill="hold">
                                          <p:stCondLst>
                                            <p:cond delay="499"/>
                                          </p:stCondLst>
                                        </p:cTn>
                                        <p:tgtEl>
                                          <p:spTgt spid="30"/>
                                        </p:tgtEl>
                                        <p:attrNameLst>
                                          <p:attrName>style.visibility</p:attrName>
                                        </p:attrNameLst>
                                      </p:cBhvr>
                                      <p:to>
                                        <p:strVal val="hidden"/>
                                      </p:to>
                                    </p:set>
                                  </p:childTnLst>
                                </p:cTn>
                              </p:par>
                              <p:par>
                                <p:cTn id="130" presetID="10" presetClass="exit" presetSubtype="0" fill="hold" nodeType="withEffect">
                                  <p:stCondLst>
                                    <p:cond delay="0"/>
                                  </p:stCondLst>
                                  <p:childTnLst>
                                    <p:animEffect transition="out" filter="fade">
                                      <p:cBhvr>
                                        <p:cTn id="131" dur="500"/>
                                        <p:tgtEl>
                                          <p:spTgt spid="53"/>
                                        </p:tgtEl>
                                      </p:cBhvr>
                                    </p:animEffect>
                                    <p:set>
                                      <p:cBhvr>
                                        <p:cTn id="132" dur="1" fill="hold">
                                          <p:stCondLst>
                                            <p:cond delay="499"/>
                                          </p:stCondLst>
                                        </p:cTn>
                                        <p:tgtEl>
                                          <p:spTgt spid="53"/>
                                        </p:tgtEl>
                                        <p:attrNameLst>
                                          <p:attrName>style.visibility</p:attrName>
                                        </p:attrNameLst>
                                      </p:cBhvr>
                                      <p:to>
                                        <p:strVal val="hidden"/>
                                      </p:to>
                                    </p:set>
                                  </p:childTnLst>
                                </p:cTn>
                              </p:par>
                              <p:par>
                                <p:cTn id="133" presetID="10" presetClass="exit" presetSubtype="0" fill="hold" nodeType="withEffect">
                                  <p:stCondLst>
                                    <p:cond delay="0"/>
                                  </p:stCondLst>
                                  <p:childTnLst>
                                    <p:animEffect transition="out" filter="fade">
                                      <p:cBhvr>
                                        <p:cTn id="134" dur="500"/>
                                        <p:tgtEl>
                                          <p:spTgt spid="54"/>
                                        </p:tgtEl>
                                      </p:cBhvr>
                                    </p:animEffect>
                                    <p:set>
                                      <p:cBhvr>
                                        <p:cTn id="135" dur="1" fill="hold">
                                          <p:stCondLst>
                                            <p:cond delay="499"/>
                                          </p:stCondLst>
                                        </p:cTn>
                                        <p:tgtEl>
                                          <p:spTgt spid="54"/>
                                        </p:tgtEl>
                                        <p:attrNameLst>
                                          <p:attrName>style.visibility</p:attrName>
                                        </p:attrNameLst>
                                      </p:cBhvr>
                                      <p:to>
                                        <p:strVal val="hidden"/>
                                      </p:to>
                                    </p:set>
                                  </p:childTnLst>
                                </p:cTn>
                              </p:par>
                            </p:childTnLst>
                          </p:cTn>
                        </p:par>
                      </p:childTnLst>
                    </p:cTn>
                  </p:par>
                  <p:par>
                    <p:cTn id="136" fill="hold">
                      <p:stCondLst>
                        <p:cond delay="indefinite"/>
                      </p:stCondLst>
                      <p:childTnLst>
                        <p:par>
                          <p:cTn id="137" fill="hold">
                            <p:stCondLst>
                              <p:cond delay="0"/>
                            </p:stCondLst>
                            <p:childTnLst>
                              <p:par>
                                <p:cTn id="138" presetID="10" presetClass="entr" presetSubtype="0" fill="hold" grpId="0" nodeType="clickEffect">
                                  <p:stCondLst>
                                    <p:cond delay="0"/>
                                  </p:stCondLst>
                                  <p:childTnLst>
                                    <p:set>
                                      <p:cBhvr>
                                        <p:cTn id="139" dur="1" fill="hold">
                                          <p:stCondLst>
                                            <p:cond delay="0"/>
                                          </p:stCondLst>
                                        </p:cTn>
                                        <p:tgtEl>
                                          <p:spTgt spid="24"/>
                                        </p:tgtEl>
                                        <p:attrNameLst>
                                          <p:attrName>style.visibility</p:attrName>
                                        </p:attrNameLst>
                                      </p:cBhvr>
                                      <p:to>
                                        <p:strVal val="visible"/>
                                      </p:to>
                                    </p:set>
                                    <p:animEffect transition="in" filter="fade">
                                      <p:cBhvr>
                                        <p:cTn id="140" dur="500"/>
                                        <p:tgtEl>
                                          <p:spTgt spid="24"/>
                                        </p:tgtEl>
                                      </p:cBhvr>
                                    </p:animEffect>
                                  </p:childTnLst>
                                </p:cTn>
                              </p:par>
                              <p:par>
                                <p:cTn id="141" presetID="2" presetClass="entr" presetSubtype="2" fill="hold" grpId="0" nodeType="withEffect">
                                  <p:stCondLst>
                                    <p:cond delay="0"/>
                                  </p:stCondLst>
                                  <p:childTnLst>
                                    <p:set>
                                      <p:cBhvr>
                                        <p:cTn id="142" dur="1" fill="hold">
                                          <p:stCondLst>
                                            <p:cond delay="0"/>
                                          </p:stCondLst>
                                        </p:cTn>
                                        <p:tgtEl>
                                          <p:spTgt spid="59"/>
                                        </p:tgtEl>
                                        <p:attrNameLst>
                                          <p:attrName>style.visibility</p:attrName>
                                        </p:attrNameLst>
                                      </p:cBhvr>
                                      <p:to>
                                        <p:strVal val="visible"/>
                                      </p:to>
                                    </p:set>
                                    <p:anim calcmode="lin" valueType="num">
                                      <p:cBhvr additive="base">
                                        <p:cTn id="143" dur="500" fill="hold"/>
                                        <p:tgtEl>
                                          <p:spTgt spid="59"/>
                                        </p:tgtEl>
                                        <p:attrNameLst>
                                          <p:attrName>ppt_x</p:attrName>
                                        </p:attrNameLst>
                                      </p:cBhvr>
                                      <p:tavLst>
                                        <p:tav tm="0">
                                          <p:val>
                                            <p:strVal val="1+#ppt_w/2"/>
                                          </p:val>
                                        </p:tav>
                                        <p:tav tm="100000">
                                          <p:val>
                                            <p:strVal val="#ppt_x"/>
                                          </p:val>
                                        </p:tav>
                                      </p:tavLst>
                                    </p:anim>
                                    <p:anim calcmode="lin" valueType="num">
                                      <p:cBhvr additive="base">
                                        <p:cTn id="144" dur="500" fill="hold"/>
                                        <p:tgtEl>
                                          <p:spTgt spid="59"/>
                                        </p:tgtEl>
                                        <p:attrNameLst>
                                          <p:attrName>ppt_y</p:attrName>
                                        </p:attrNameLst>
                                      </p:cBhvr>
                                      <p:tavLst>
                                        <p:tav tm="0">
                                          <p:val>
                                            <p:strVal val="#ppt_y"/>
                                          </p:val>
                                        </p:tav>
                                        <p:tav tm="100000">
                                          <p:val>
                                            <p:strVal val="#ppt_y"/>
                                          </p:val>
                                        </p:tav>
                                      </p:tavLst>
                                    </p:anim>
                                  </p:childTnLst>
                                </p:cTn>
                              </p:par>
                            </p:childTnLst>
                          </p:cTn>
                        </p:par>
                      </p:childTnLst>
                    </p:cTn>
                  </p:par>
                  <p:par>
                    <p:cTn id="145" fill="hold">
                      <p:stCondLst>
                        <p:cond delay="indefinite"/>
                      </p:stCondLst>
                      <p:childTnLst>
                        <p:par>
                          <p:cTn id="146" fill="hold">
                            <p:stCondLst>
                              <p:cond delay="0"/>
                            </p:stCondLst>
                            <p:childTnLst>
                              <p:par>
                                <p:cTn id="147" presetID="2" presetClass="entr" presetSubtype="2" fill="hold" grpId="0" nodeType="clickEffect">
                                  <p:stCondLst>
                                    <p:cond delay="0"/>
                                  </p:stCondLst>
                                  <p:childTnLst>
                                    <p:set>
                                      <p:cBhvr>
                                        <p:cTn id="148" dur="1" fill="hold">
                                          <p:stCondLst>
                                            <p:cond delay="0"/>
                                          </p:stCondLst>
                                        </p:cTn>
                                        <p:tgtEl>
                                          <p:spTgt spid="60"/>
                                        </p:tgtEl>
                                        <p:attrNameLst>
                                          <p:attrName>style.visibility</p:attrName>
                                        </p:attrNameLst>
                                      </p:cBhvr>
                                      <p:to>
                                        <p:strVal val="visible"/>
                                      </p:to>
                                    </p:set>
                                    <p:anim calcmode="lin" valueType="num">
                                      <p:cBhvr additive="base">
                                        <p:cTn id="149" dur="500" fill="hold"/>
                                        <p:tgtEl>
                                          <p:spTgt spid="60"/>
                                        </p:tgtEl>
                                        <p:attrNameLst>
                                          <p:attrName>ppt_x</p:attrName>
                                        </p:attrNameLst>
                                      </p:cBhvr>
                                      <p:tavLst>
                                        <p:tav tm="0">
                                          <p:val>
                                            <p:strVal val="1+#ppt_w/2"/>
                                          </p:val>
                                        </p:tav>
                                        <p:tav tm="100000">
                                          <p:val>
                                            <p:strVal val="#ppt_x"/>
                                          </p:val>
                                        </p:tav>
                                      </p:tavLst>
                                    </p:anim>
                                    <p:anim calcmode="lin" valueType="num">
                                      <p:cBhvr additive="base">
                                        <p:cTn id="150" dur="500" fill="hold"/>
                                        <p:tgtEl>
                                          <p:spTgt spid="6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30" grpId="0" animBg="1"/>
      <p:bldP spid="30" grpId="1" animBg="1"/>
      <p:bldP spid="24" grpId="0"/>
      <p:bldP spid="59" grpId="0" animBg="1"/>
      <p:bldP spid="6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7"/>
          <p:cNvSpPr/>
          <p:nvPr/>
        </p:nvSpPr>
        <p:spPr>
          <a:xfrm>
            <a:off x="-5295900" y="-7410450"/>
            <a:ext cx="19865333" cy="19865333"/>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chemeClr val="accent3">
              <a:lumMod val="40000"/>
              <a:lumOff val="60000"/>
            </a:schemeClr>
          </a:solidFill>
        </p:spPr>
      </p:sp>
      <p:grpSp>
        <p:nvGrpSpPr>
          <p:cNvPr id="51" name="Group 6"/>
          <p:cNvGrpSpPr>
            <a:grpSpLocks noChangeAspect="1"/>
          </p:cNvGrpSpPr>
          <p:nvPr/>
        </p:nvGrpSpPr>
        <p:grpSpPr>
          <a:xfrm>
            <a:off x="230637" y="-1857323"/>
            <a:ext cx="8763000" cy="8763000"/>
            <a:chOff x="0" y="0"/>
            <a:chExt cx="1708150" cy="1708150"/>
          </a:xfrm>
          <a:solidFill>
            <a:schemeClr val="accent3">
              <a:lumMod val="40000"/>
              <a:lumOff val="60000"/>
            </a:schemeClr>
          </a:solidFill>
        </p:grpSpPr>
        <p:sp>
          <p:nvSpPr>
            <p:cNvPr id="52"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grpSp>
        <p:nvGrpSpPr>
          <p:cNvPr id="49" name="Group 6"/>
          <p:cNvGrpSpPr>
            <a:grpSpLocks noChangeAspect="1"/>
          </p:cNvGrpSpPr>
          <p:nvPr/>
        </p:nvGrpSpPr>
        <p:grpSpPr>
          <a:xfrm>
            <a:off x="2678871" y="585713"/>
            <a:ext cx="3868525" cy="3868525"/>
            <a:chOff x="0" y="0"/>
            <a:chExt cx="1708150" cy="1708150"/>
          </a:xfrm>
          <a:solidFill>
            <a:schemeClr val="accent3">
              <a:lumMod val="40000"/>
              <a:lumOff val="60000"/>
            </a:schemeClr>
          </a:solidFill>
        </p:grpSpPr>
        <p:sp>
          <p:nvSpPr>
            <p:cNvPr id="50"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grpSp>
        <p:nvGrpSpPr>
          <p:cNvPr id="47" name="Group 6"/>
          <p:cNvGrpSpPr>
            <a:grpSpLocks noChangeAspect="1"/>
          </p:cNvGrpSpPr>
          <p:nvPr/>
        </p:nvGrpSpPr>
        <p:grpSpPr>
          <a:xfrm>
            <a:off x="3779588" y="1682915"/>
            <a:ext cx="1675209" cy="1675209"/>
            <a:chOff x="1262" y="1149"/>
            <a:chExt cx="1708150" cy="1708150"/>
          </a:xfrm>
          <a:solidFill>
            <a:schemeClr val="accent3">
              <a:lumMod val="40000"/>
              <a:lumOff val="60000"/>
            </a:schemeClr>
          </a:solidFill>
        </p:grpSpPr>
        <p:sp>
          <p:nvSpPr>
            <p:cNvPr id="48" name="Freeform 7"/>
            <p:cNvSpPr/>
            <p:nvPr/>
          </p:nvSpPr>
          <p:spPr>
            <a:xfrm>
              <a:off x="1262" y="1149"/>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grpSp>
        <p:nvGrpSpPr>
          <p:cNvPr id="45" name="Group 6"/>
          <p:cNvGrpSpPr>
            <a:grpSpLocks noChangeAspect="1"/>
          </p:cNvGrpSpPr>
          <p:nvPr/>
        </p:nvGrpSpPr>
        <p:grpSpPr>
          <a:xfrm>
            <a:off x="4255175" y="2157957"/>
            <a:ext cx="724036" cy="724036"/>
            <a:chOff x="0" y="0"/>
            <a:chExt cx="1708150" cy="1708150"/>
          </a:xfrm>
          <a:solidFill>
            <a:schemeClr val="accent3">
              <a:lumMod val="40000"/>
              <a:lumOff val="60000"/>
            </a:schemeClr>
          </a:solidFill>
        </p:grpSpPr>
        <p:sp>
          <p:nvSpPr>
            <p:cNvPr id="46"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grpFill/>
          </p:spPr>
        </p:sp>
      </p:grpSp>
      <p:sp>
        <p:nvSpPr>
          <p:cNvPr id="44" name="Freeform 14"/>
          <p:cNvSpPr/>
          <p:nvPr/>
        </p:nvSpPr>
        <p:spPr>
          <a:xfrm>
            <a:off x="4469311" y="2370861"/>
            <a:ext cx="295763" cy="295763"/>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chemeClr val="accent3">
              <a:lumMod val="40000"/>
              <a:lumOff val="60000"/>
            </a:schemeClr>
          </a:solidFill>
        </p:spPr>
      </p:sp>
      <p:grpSp>
        <p:nvGrpSpPr>
          <p:cNvPr id="2" name="Group 2"/>
          <p:cNvGrpSpPr>
            <a:grpSpLocks noChangeAspect="1"/>
          </p:cNvGrpSpPr>
          <p:nvPr/>
        </p:nvGrpSpPr>
        <p:grpSpPr>
          <a:xfrm>
            <a:off x="7832408" y="-1311593"/>
            <a:ext cx="2623185" cy="2623185"/>
            <a:chOff x="0" y="0"/>
            <a:chExt cx="1708150" cy="1708150"/>
          </a:xfrm>
        </p:grpSpPr>
        <p:sp>
          <p:nvSpPr>
            <p:cNvPr id="3" name="Freeform 3"/>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4" name="Group 4"/>
          <p:cNvGrpSpPr>
            <a:grpSpLocks noChangeAspect="1"/>
          </p:cNvGrpSpPr>
          <p:nvPr/>
        </p:nvGrpSpPr>
        <p:grpSpPr>
          <a:xfrm>
            <a:off x="955324" y="1296067"/>
            <a:ext cx="372233" cy="372233"/>
            <a:chOff x="0" y="0"/>
            <a:chExt cx="1708150" cy="1708150"/>
          </a:xfrm>
        </p:grpSpPr>
        <p:sp>
          <p:nvSpPr>
            <p:cNvPr id="5" name="Freeform 5"/>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6" name="Group 6"/>
          <p:cNvGrpSpPr>
            <a:grpSpLocks noChangeAspect="1"/>
          </p:cNvGrpSpPr>
          <p:nvPr/>
        </p:nvGrpSpPr>
        <p:grpSpPr>
          <a:xfrm>
            <a:off x="7910889" y="4131020"/>
            <a:ext cx="372233" cy="372233"/>
            <a:chOff x="0" y="0"/>
            <a:chExt cx="1708150" cy="1708150"/>
          </a:xfrm>
        </p:grpSpPr>
        <p:sp>
          <p:nvSpPr>
            <p:cNvPr id="7"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8" name="Group 8"/>
          <p:cNvGrpSpPr>
            <a:grpSpLocks noChangeAspect="1"/>
          </p:cNvGrpSpPr>
          <p:nvPr/>
        </p:nvGrpSpPr>
        <p:grpSpPr>
          <a:xfrm>
            <a:off x="-1311593" y="3831908"/>
            <a:ext cx="2623185" cy="2623185"/>
            <a:chOff x="0" y="0"/>
            <a:chExt cx="1708150" cy="1708150"/>
          </a:xfrm>
        </p:grpSpPr>
        <p:sp>
          <p:nvSpPr>
            <p:cNvPr id="9" name="Freeform 9"/>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10" name="Group 10"/>
          <p:cNvGrpSpPr/>
          <p:nvPr/>
        </p:nvGrpSpPr>
        <p:grpSpPr>
          <a:xfrm>
            <a:off x="514350" y="3165638"/>
            <a:ext cx="454163" cy="454163"/>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2" name="TextBox 12"/>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13" name="Group 13"/>
          <p:cNvGrpSpPr/>
          <p:nvPr/>
        </p:nvGrpSpPr>
        <p:grpSpPr>
          <a:xfrm>
            <a:off x="6295435" y="1093427"/>
            <a:ext cx="295763" cy="295763"/>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5" name="TextBox 15"/>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16" name="Group 16"/>
          <p:cNvGrpSpPr/>
          <p:nvPr/>
        </p:nvGrpSpPr>
        <p:grpSpPr>
          <a:xfrm>
            <a:off x="8175487" y="1523699"/>
            <a:ext cx="454163" cy="454163"/>
            <a:chOff x="0" y="0"/>
            <a:chExt cx="812800" cy="812800"/>
          </a:xfrm>
        </p:grpSpPr>
        <p:sp>
          <p:nvSpPr>
            <p:cNvPr id="17" name="Freeform 1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8" name="TextBox 18"/>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26" name="Group 25"/>
          <p:cNvGrpSpPr/>
          <p:nvPr/>
        </p:nvGrpSpPr>
        <p:grpSpPr>
          <a:xfrm>
            <a:off x="-990600" y="-2311982"/>
            <a:ext cx="12596853" cy="2086379"/>
            <a:chOff x="-3267212" y="-7169514"/>
            <a:chExt cx="25193706" cy="4172758"/>
          </a:xfrm>
        </p:grpSpPr>
        <p:sp>
          <p:nvSpPr>
            <p:cNvPr id="27" name="Rectangle 31"/>
            <p:cNvSpPr/>
            <p:nvPr/>
          </p:nvSpPr>
          <p:spPr>
            <a:xfrm>
              <a:off x="-3267212" y="-7148084"/>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8" name="Rectangle 28"/>
            <p:cNvSpPr/>
            <p:nvPr/>
          </p:nvSpPr>
          <p:spPr>
            <a:xfrm>
              <a:off x="8454579" y="-7169514"/>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nvGrpSpPr>
          <p:cNvPr id="29" name="Group 28"/>
          <p:cNvGrpSpPr/>
          <p:nvPr/>
        </p:nvGrpSpPr>
        <p:grpSpPr>
          <a:xfrm>
            <a:off x="-796273" y="-4037439"/>
            <a:ext cx="12557591" cy="2117034"/>
            <a:chOff x="-3211757" y="-7593727"/>
            <a:chExt cx="25115181" cy="4234067"/>
          </a:xfrm>
        </p:grpSpPr>
        <p:sp>
          <p:nvSpPr>
            <p:cNvPr id="30" name="Rectangle 28"/>
            <p:cNvSpPr/>
            <p:nvPr/>
          </p:nvSpPr>
          <p:spPr>
            <a:xfrm>
              <a:off x="8431509" y="-7532418"/>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1" name="Rectangle 31"/>
            <p:cNvSpPr/>
            <p:nvPr/>
          </p:nvSpPr>
          <p:spPr>
            <a:xfrm>
              <a:off x="-3211757" y="-7593727"/>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nvGrpSpPr>
          <p:cNvPr id="32" name="Group 31"/>
          <p:cNvGrpSpPr/>
          <p:nvPr/>
        </p:nvGrpSpPr>
        <p:grpSpPr>
          <a:xfrm>
            <a:off x="-720073" y="-3961239"/>
            <a:ext cx="12557591" cy="2117034"/>
            <a:chOff x="-3211757" y="-7593727"/>
            <a:chExt cx="25115181" cy="4234067"/>
          </a:xfrm>
        </p:grpSpPr>
        <p:sp>
          <p:nvSpPr>
            <p:cNvPr id="33" name="Rectangle 28"/>
            <p:cNvSpPr/>
            <p:nvPr/>
          </p:nvSpPr>
          <p:spPr>
            <a:xfrm>
              <a:off x="8431509" y="-7532418"/>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4" name="Rectangle 31"/>
            <p:cNvSpPr/>
            <p:nvPr/>
          </p:nvSpPr>
          <p:spPr>
            <a:xfrm>
              <a:off x="-3211757" y="-7593727"/>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sp>
        <p:nvSpPr>
          <p:cNvPr id="23" name="TextBox 23"/>
          <p:cNvSpPr txBox="1"/>
          <p:nvPr/>
        </p:nvSpPr>
        <p:spPr>
          <a:xfrm>
            <a:off x="186835" y="309092"/>
            <a:ext cx="3826180" cy="346249"/>
          </a:xfrm>
          <a:prstGeom prst="rect">
            <a:avLst/>
          </a:prstGeom>
        </p:spPr>
        <p:txBody>
          <a:bodyPr wrap="square" lIns="0" tIns="0" rIns="0" bIns="0" rtlCol="0" anchor="t">
            <a:spAutoFit/>
          </a:bodyPr>
          <a:lstStyle/>
          <a:p>
            <a:pPr>
              <a:lnSpc>
                <a:spcPts val="2740"/>
              </a:lnSpc>
              <a:spcBef>
                <a:spcPct val="0"/>
              </a:spcBef>
            </a:pPr>
            <a:r>
              <a:rPr lang="en-US" sz="3011" dirty="0" smtClean="0">
                <a:solidFill>
                  <a:schemeClr val="bg1"/>
                </a:solidFill>
                <a:latin typeface="Segoe UI Black" panose="020B0A02040204020203" pitchFamily="34" charset="0"/>
                <a:ea typeface="Segoe UI Black" panose="020B0A02040204020203" pitchFamily="34" charset="0"/>
              </a:rPr>
              <a:t>d) </a:t>
            </a:r>
            <a:r>
              <a:rPr lang="en-US" sz="3011" dirty="0" err="1" smtClean="0">
                <a:solidFill>
                  <a:schemeClr val="bg1"/>
                </a:solidFill>
                <a:latin typeface="Segoe UI Black" panose="020B0A02040204020203" pitchFamily="34" charset="0"/>
                <a:ea typeface="Segoe UI Black" panose="020B0A02040204020203" pitchFamily="34" charset="0"/>
              </a:rPr>
              <a:t>Liên</a:t>
            </a:r>
            <a:r>
              <a:rPr lang="en-US" sz="3011" dirty="0" smtClean="0">
                <a:solidFill>
                  <a:schemeClr val="bg1"/>
                </a:solidFill>
                <a:latin typeface="Segoe UI Black" panose="020B0A02040204020203" pitchFamily="34" charset="0"/>
                <a:ea typeface="Segoe UI Black" panose="020B0A02040204020203" pitchFamily="34" charset="0"/>
              </a:rPr>
              <a:t> </a:t>
            </a:r>
            <a:r>
              <a:rPr lang="en-US" sz="3011" dirty="0" err="1" smtClean="0">
                <a:solidFill>
                  <a:schemeClr val="bg1"/>
                </a:solidFill>
                <a:latin typeface="Segoe UI Black" panose="020B0A02040204020203" pitchFamily="34" charset="0"/>
                <a:ea typeface="Segoe UI Black" panose="020B0A02040204020203" pitchFamily="34" charset="0"/>
              </a:rPr>
              <a:t>kết</a:t>
            </a:r>
            <a:r>
              <a:rPr lang="en-US" sz="3011" dirty="0" smtClean="0">
                <a:solidFill>
                  <a:schemeClr val="bg1"/>
                </a:solidFill>
                <a:latin typeface="Segoe UI Black" panose="020B0A02040204020203" pitchFamily="34" charset="0"/>
                <a:ea typeface="Segoe UI Black" panose="020B0A02040204020203" pitchFamily="34" charset="0"/>
              </a:rPr>
              <a:t> </a:t>
            </a:r>
            <a:r>
              <a:rPr lang="en-US" sz="3011" dirty="0" err="1" smtClean="0">
                <a:solidFill>
                  <a:schemeClr val="bg1"/>
                </a:solidFill>
                <a:latin typeface="Segoe UI Black" panose="020B0A02040204020203" pitchFamily="34" charset="0"/>
                <a:ea typeface="Segoe UI Black" panose="020B0A02040204020203" pitchFamily="34" charset="0"/>
              </a:rPr>
              <a:t>dữ</a:t>
            </a:r>
            <a:r>
              <a:rPr lang="en-US" sz="3011" dirty="0" smtClean="0">
                <a:solidFill>
                  <a:schemeClr val="bg1"/>
                </a:solidFill>
                <a:latin typeface="Segoe UI Black" panose="020B0A02040204020203" pitchFamily="34" charset="0"/>
                <a:ea typeface="Segoe UI Black" panose="020B0A02040204020203" pitchFamily="34" charset="0"/>
              </a:rPr>
              <a:t> </a:t>
            </a:r>
            <a:r>
              <a:rPr lang="en-US" sz="3011" dirty="0" err="1" smtClean="0">
                <a:solidFill>
                  <a:schemeClr val="bg1"/>
                </a:solidFill>
                <a:latin typeface="Segoe UI Black" panose="020B0A02040204020203" pitchFamily="34" charset="0"/>
                <a:ea typeface="Segoe UI Black" panose="020B0A02040204020203" pitchFamily="34" charset="0"/>
              </a:rPr>
              <a:t>liệu</a:t>
            </a:r>
            <a:endParaRPr lang="en-US" sz="3011" dirty="0">
              <a:solidFill>
                <a:schemeClr val="bg1"/>
              </a:solidFill>
              <a:latin typeface="Segoe UI Black" panose="020B0A02040204020203" pitchFamily="34" charset="0"/>
              <a:ea typeface="Segoe UI Black" panose="020B0A02040204020203" pitchFamily="34" charset="0"/>
            </a:endParaRPr>
          </a:p>
        </p:txBody>
      </p:sp>
      <p:sp>
        <p:nvSpPr>
          <p:cNvPr id="58" name="Rounded Rectangle 57"/>
          <p:cNvSpPr/>
          <p:nvPr/>
        </p:nvSpPr>
        <p:spPr>
          <a:xfrm>
            <a:off x="1533161" y="1522453"/>
            <a:ext cx="3716472" cy="1592263"/>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pic>
        <p:nvPicPr>
          <p:cNvPr id="56" name="Picture 55"/>
          <p:cNvPicPr>
            <a:picLocks noChangeAspect="1"/>
          </p:cNvPicPr>
          <p:nvPr/>
        </p:nvPicPr>
        <p:blipFill>
          <a:blip r:embed="rId2"/>
          <a:stretch>
            <a:fillRect/>
          </a:stretch>
        </p:blipFill>
        <p:spPr>
          <a:xfrm>
            <a:off x="1699985" y="1603995"/>
            <a:ext cx="1249946" cy="1277997"/>
          </a:xfrm>
          <a:prstGeom prst="rect">
            <a:avLst/>
          </a:prstGeom>
        </p:spPr>
      </p:pic>
      <p:pic>
        <p:nvPicPr>
          <p:cNvPr id="57" name="Picture 56"/>
          <p:cNvPicPr>
            <a:picLocks noChangeAspect="1"/>
          </p:cNvPicPr>
          <p:nvPr/>
        </p:nvPicPr>
        <p:blipFill>
          <a:blip r:embed="rId3"/>
          <a:stretch>
            <a:fillRect/>
          </a:stretch>
        </p:blipFill>
        <p:spPr>
          <a:xfrm>
            <a:off x="3024277" y="1591521"/>
            <a:ext cx="2033789" cy="1482619"/>
          </a:xfrm>
          <a:prstGeom prst="rect">
            <a:avLst/>
          </a:prstGeom>
        </p:spPr>
      </p:pic>
      <p:sp>
        <p:nvSpPr>
          <p:cNvPr id="61" name="Rectangle 60"/>
          <p:cNvSpPr/>
          <p:nvPr/>
        </p:nvSpPr>
        <p:spPr>
          <a:xfrm>
            <a:off x="1680795" y="1801062"/>
            <a:ext cx="395845" cy="10809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62" name="Rectangle 61"/>
          <p:cNvSpPr/>
          <p:nvPr/>
        </p:nvSpPr>
        <p:spPr>
          <a:xfrm>
            <a:off x="3422749" y="1773039"/>
            <a:ext cx="425352" cy="13011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5" name="TextBox 25"/>
          <p:cNvSpPr txBox="1"/>
          <p:nvPr/>
        </p:nvSpPr>
        <p:spPr>
          <a:xfrm>
            <a:off x="1362051" y="1877347"/>
            <a:ext cx="5667726" cy="1107996"/>
          </a:xfrm>
          <a:prstGeom prst="rect">
            <a:avLst/>
          </a:prstGeom>
        </p:spPr>
        <p:txBody>
          <a:bodyPr wrap="square" lIns="0" tIns="0" rIns="0" bIns="0" rtlCol="0" anchor="t">
            <a:spAutoFit/>
          </a:bodyPr>
          <a:lstStyle/>
          <a:p>
            <a:pPr marL="342900" indent="-342900">
              <a:spcBef>
                <a:spcPct val="0"/>
              </a:spcBef>
              <a:buFont typeface="Wingdings" panose="05000000000000000000" pitchFamily="2" charset="2"/>
              <a:buChar char="Ø"/>
            </a:pPr>
            <a:r>
              <a:rPr lang="en-US" sz="2400" b="1">
                <a:latin typeface="Times New Roman" panose="02020603050405020304" pitchFamily="18" charset="0"/>
                <a:cs typeface="Times New Roman" panose="02020603050405020304" pitchFamily="18" charset="0"/>
              </a:rPr>
              <a:t>Lí do</a:t>
            </a:r>
            <a:r>
              <a:rPr lang="en-US" sz="2400">
                <a:latin typeface="Times New Roman" panose="02020603050405020304" pitchFamily="18" charset="0"/>
                <a:cs typeface="Times New Roman" panose="02020603050405020304" pitchFamily="18" charset="0"/>
              </a:rPr>
              <a:t>: hạn chế dư thừa dữ liệu, thuận lợi trong việc đảm bảo tính nhất quán, tính toàn vẹn của dữ liệu khi cập nhật dữ liệu </a:t>
            </a:r>
          </a:p>
        </p:txBody>
      </p:sp>
      <p:sp>
        <p:nvSpPr>
          <p:cNvPr id="63" name="Curved Left Arrow 62"/>
          <p:cNvSpPr/>
          <p:nvPr/>
        </p:nvSpPr>
        <p:spPr>
          <a:xfrm rot="20615302" flipH="1">
            <a:off x="2318390" y="2984023"/>
            <a:ext cx="673362" cy="1643556"/>
          </a:xfrm>
          <a:prstGeom prst="curvedLef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pic>
        <p:nvPicPr>
          <p:cNvPr id="64" name="Picture 63"/>
          <p:cNvPicPr>
            <a:picLocks noChangeAspect="1"/>
          </p:cNvPicPr>
          <p:nvPr/>
        </p:nvPicPr>
        <p:blipFill>
          <a:blip r:embed="rId4"/>
          <a:stretch>
            <a:fillRect/>
          </a:stretch>
        </p:blipFill>
        <p:spPr>
          <a:xfrm>
            <a:off x="3254018" y="3492139"/>
            <a:ext cx="4177237" cy="1270397"/>
          </a:xfrm>
          <a:prstGeom prst="rect">
            <a:avLst/>
          </a:prstGeom>
        </p:spPr>
      </p:pic>
    </p:spTree>
    <p:extLst>
      <p:ext uri="{BB962C8B-B14F-4D97-AF65-F5344CB8AC3E}">
        <p14:creationId xmlns:p14="http://schemas.microsoft.com/office/powerpoint/2010/main" val="263328294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
                                        <p:tgtEl>
                                          <p:spTgt spid="44"/>
                                        </p:tgtEl>
                                      </p:cBhvr>
                                    </p:animEffect>
                                  </p:childTnLst>
                                </p:cTn>
                              </p:par>
                            </p:childTnLst>
                          </p:cTn>
                        </p:par>
                        <p:par>
                          <p:cTn id="8" fill="hold">
                            <p:stCondLst>
                              <p:cond delay="1100"/>
                            </p:stCondLst>
                            <p:childTnLst>
                              <p:par>
                                <p:cTn id="9" presetID="10" presetClass="entr" presetSubtype="0" fill="hold"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100"/>
                                        <p:tgtEl>
                                          <p:spTgt spid="45"/>
                                        </p:tgtEl>
                                      </p:cBhvr>
                                    </p:animEffect>
                                  </p:childTnLst>
                                </p:cTn>
                              </p:par>
                            </p:childTnLst>
                          </p:cTn>
                        </p:par>
                        <p:par>
                          <p:cTn id="12" fill="hold">
                            <p:stCondLst>
                              <p:cond delay="12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
                                        <p:tgtEl>
                                          <p:spTgt spid="47"/>
                                        </p:tgtEl>
                                      </p:cBhvr>
                                    </p:animEffect>
                                  </p:childTnLst>
                                </p:cTn>
                              </p:par>
                            </p:childTnLst>
                          </p:cTn>
                        </p:par>
                        <p:par>
                          <p:cTn id="16" fill="hold">
                            <p:stCondLst>
                              <p:cond delay="1300"/>
                            </p:stCondLst>
                            <p:childTnLst>
                              <p:par>
                                <p:cTn id="17" presetID="10" presetClass="entr" presetSubtype="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100"/>
                                        <p:tgtEl>
                                          <p:spTgt spid="49"/>
                                        </p:tgtEl>
                                      </p:cBhvr>
                                    </p:animEffect>
                                  </p:childTnLst>
                                </p:cTn>
                              </p:par>
                            </p:childTnLst>
                          </p:cTn>
                        </p:par>
                        <p:par>
                          <p:cTn id="20" fill="hold">
                            <p:stCondLst>
                              <p:cond delay="1400"/>
                            </p:stCondLst>
                            <p:childTnLst>
                              <p:par>
                                <p:cTn id="21" presetID="10" presetClass="entr" presetSubtype="0" fill="hold" nodeType="after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fade">
                                      <p:cBhvr>
                                        <p:cTn id="23" dur="100"/>
                                        <p:tgtEl>
                                          <p:spTgt spid="51"/>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100"/>
                                        <p:tgtEl>
                                          <p:spTgt spid="53"/>
                                        </p:tgtEl>
                                      </p:cBhvr>
                                    </p:animEffect>
                                  </p:childTnLst>
                                </p:cTn>
                              </p:par>
                            </p:childTnLst>
                          </p:cTn>
                        </p:par>
                        <p:par>
                          <p:cTn id="28" fill="hold">
                            <p:stCondLst>
                              <p:cond delay="1600"/>
                            </p:stCondLst>
                            <p:childTnLst>
                              <p:par>
                                <p:cTn id="29" presetID="10" presetClass="exit" presetSubtype="0" fill="hold" nodeType="afterEffect">
                                  <p:stCondLst>
                                    <p:cond delay="0"/>
                                  </p:stCondLst>
                                  <p:childTnLst>
                                    <p:animEffect transition="out" filter="fade">
                                      <p:cBhvr>
                                        <p:cTn id="30" dur="100"/>
                                        <p:tgtEl>
                                          <p:spTgt spid="44"/>
                                        </p:tgtEl>
                                      </p:cBhvr>
                                    </p:animEffect>
                                    <p:set>
                                      <p:cBhvr>
                                        <p:cTn id="31" dur="1" fill="hold">
                                          <p:stCondLst>
                                            <p:cond delay="99"/>
                                          </p:stCondLst>
                                        </p:cTn>
                                        <p:tgtEl>
                                          <p:spTgt spid="44"/>
                                        </p:tgtEl>
                                        <p:attrNameLst>
                                          <p:attrName>style.visibility</p:attrName>
                                        </p:attrNameLst>
                                      </p:cBhvr>
                                      <p:to>
                                        <p:strVal val="hidden"/>
                                      </p:to>
                                    </p:set>
                                  </p:childTnLst>
                                </p:cTn>
                              </p:par>
                            </p:childTnLst>
                          </p:cTn>
                        </p:par>
                        <p:par>
                          <p:cTn id="32" fill="hold">
                            <p:stCondLst>
                              <p:cond delay="1700"/>
                            </p:stCondLst>
                            <p:childTnLst>
                              <p:par>
                                <p:cTn id="33" presetID="10" presetClass="exit" presetSubtype="0" fill="hold" nodeType="afterEffect">
                                  <p:stCondLst>
                                    <p:cond delay="0"/>
                                  </p:stCondLst>
                                  <p:childTnLst>
                                    <p:animEffect transition="out" filter="fade">
                                      <p:cBhvr>
                                        <p:cTn id="34" dur="100"/>
                                        <p:tgtEl>
                                          <p:spTgt spid="45"/>
                                        </p:tgtEl>
                                      </p:cBhvr>
                                    </p:animEffect>
                                    <p:set>
                                      <p:cBhvr>
                                        <p:cTn id="35" dur="1" fill="hold">
                                          <p:stCondLst>
                                            <p:cond delay="99"/>
                                          </p:stCondLst>
                                        </p:cTn>
                                        <p:tgtEl>
                                          <p:spTgt spid="45"/>
                                        </p:tgtEl>
                                        <p:attrNameLst>
                                          <p:attrName>style.visibility</p:attrName>
                                        </p:attrNameLst>
                                      </p:cBhvr>
                                      <p:to>
                                        <p:strVal val="hidden"/>
                                      </p:to>
                                    </p:set>
                                  </p:childTnLst>
                                </p:cTn>
                              </p:par>
                            </p:childTnLst>
                          </p:cTn>
                        </p:par>
                        <p:par>
                          <p:cTn id="36" fill="hold">
                            <p:stCondLst>
                              <p:cond delay="1800"/>
                            </p:stCondLst>
                            <p:childTnLst>
                              <p:par>
                                <p:cTn id="37" presetID="10" presetClass="exit" presetSubtype="0" fill="hold" nodeType="afterEffect">
                                  <p:stCondLst>
                                    <p:cond delay="0"/>
                                  </p:stCondLst>
                                  <p:childTnLst>
                                    <p:animEffect transition="out" filter="fade">
                                      <p:cBhvr>
                                        <p:cTn id="38" dur="100"/>
                                        <p:tgtEl>
                                          <p:spTgt spid="47"/>
                                        </p:tgtEl>
                                      </p:cBhvr>
                                    </p:animEffect>
                                    <p:set>
                                      <p:cBhvr>
                                        <p:cTn id="39" dur="1" fill="hold">
                                          <p:stCondLst>
                                            <p:cond delay="99"/>
                                          </p:stCondLst>
                                        </p:cTn>
                                        <p:tgtEl>
                                          <p:spTgt spid="47"/>
                                        </p:tgtEl>
                                        <p:attrNameLst>
                                          <p:attrName>style.visibility</p:attrName>
                                        </p:attrNameLst>
                                      </p:cBhvr>
                                      <p:to>
                                        <p:strVal val="hidden"/>
                                      </p:to>
                                    </p:set>
                                  </p:childTnLst>
                                </p:cTn>
                              </p:par>
                            </p:childTnLst>
                          </p:cTn>
                        </p:par>
                        <p:par>
                          <p:cTn id="40" fill="hold">
                            <p:stCondLst>
                              <p:cond delay="1900"/>
                            </p:stCondLst>
                            <p:childTnLst>
                              <p:par>
                                <p:cTn id="41" presetID="10" presetClass="exit" presetSubtype="0" fill="hold" nodeType="afterEffect">
                                  <p:stCondLst>
                                    <p:cond delay="0"/>
                                  </p:stCondLst>
                                  <p:childTnLst>
                                    <p:animEffect transition="out" filter="fade">
                                      <p:cBhvr>
                                        <p:cTn id="42" dur="100"/>
                                        <p:tgtEl>
                                          <p:spTgt spid="49"/>
                                        </p:tgtEl>
                                      </p:cBhvr>
                                    </p:animEffect>
                                    <p:set>
                                      <p:cBhvr>
                                        <p:cTn id="43" dur="1" fill="hold">
                                          <p:stCondLst>
                                            <p:cond delay="99"/>
                                          </p:stCondLst>
                                        </p:cTn>
                                        <p:tgtEl>
                                          <p:spTgt spid="49"/>
                                        </p:tgtEl>
                                        <p:attrNameLst>
                                          <p:attrName>style.visibility</p:attrName>
                                        </p:attrNameLst>
                                      </p:cBhvr>
                                      <p:to>
                                        <p:strVal val="hidden"/>
                                      </p:to>
                                    </p:set>
                                  </p:childTnLst>
                                </p:cTn>
                              </p:par>
                            </p:childTnLst>
                          </p:cTn>
                        </p:par>
                        <p:par>
                          <p:cTn id="44" fill="hold">
                            <p:stCondLst>
                              <p:cond delay="2000"/>
                            </p:stCondLst>
                            <p:childTnLst>
                              <p:par>
                                <p:cTn id="45" presetID="10" presetClass="exit" presetSubtype="0" fill="hold" nodeType="afterEffect">
                                  <p:stCondLst>
                                    <p:cond delay="0"/>
                                  </p:stCondLst>
                                  <p:childTnLst>
                                    <p:animEffect transition="out" filter="fade">
                                      <p:cBhvr>
                                        <p:cTn id="46" dur="100"/>
                                        <p:tgtEl>
                                          <p:spTgt spid="51"/>
                                        </p:tgtEl>
                                      </p:cBhvr>
                                    </p:animEffect>
                                    <p:set>
                                      <p:cBhvr>
                                        <p:cTn id="47" dur="1" fill="hold">
                                          <p:stCondLst>
                                            <p:cond delay="99"/>
                                          </p:stCondLst>
                                        </p:cTn>
                                        <p:tgtEl>
                                          <p:spTgt spid="51"/>
                                        </p:tgtEl>
                                        <p:attrNameLst>
                                          <p:attrName>style.visibility</p:attrName>
                                        </p:attrNameLst>
                                      </p:cBhvr>
                                      <p:to>
                                        <p:strVal val="hidden"/>
                                      </p:to>
                                    </p:set>
                                  </p:childTnLst>
                                </p:cTn>
                              </p:par>
                            </p:childTnLst>
                          </p:cTn>
                        </p:par>
                        <p:par>
                          <p:cTn id="48" fill="hold">
                            <p:stCondLst>
                              <p:cond delay="2100"/>
                            </p:stCondLst>
                            <p:childTnLst>
                              <p:par>
                                <p:cTn id="49" presetID="10" presetClass="exit" presetSubtype="0" fill="hold" nodeType="afterEffect">
                                  <p:stCondLst>
                                    <p:cond delay="0"/>
                                  </p:stCondLst>
                                  <p:childTnLst>
                                    <p:animEffect transition="out" filter="fade">
                                      <p:cBhvr>
                                        <p:cTn id="50" dur="100"/>
                                        <p:tgtEl>
                                          <p:spTgt spid="53"/>
                                        </p:tgtEl>
                                      </p:cBhvr>
                                    </p:animEffect>
                                    <p:set>
                                      <p:cBhvr>
                                        <p:cTn id="51" dur="1" fill="hold">
                                          <p:stCondLst>
                                            <p:cond delay="99"/>
                                          </p:stCondLst>
                                        </p:cTn>
                                        <p:tgtEl>
                                          <p:spTgt spid="53"/>
                                        </p:tgtEl>
                                        <p:attrNameLst>
                                          <p:attrName>style.visibility</p:attrName>
                                        </p:attrNameLst>
                                      </p:cBhvr>
                                      <p:to>
                                        <p:strVal val="hidden"/>
                                      </p:to>
                                    </p:set>
                                  </p:childTnLst>
                                </p:cTn>
                              </p:par>
                            </p:childTnLst>
                          </p:cTn>
                        </p:par>
                        <p:par>
                          <p:cTn id="52" fill="hold">
                            <p:stCondLst>
                              <p:cond delay="2200"/>
                            </p:stCondLst>
                            <p:childTnLst>
                              <p:par>
                                <p:cTn id="53" presetID="42" presetClass="path" presetSubtype="0" accel="50000" decel="50000" fill="hold" nodeType="afterEffect">
                                  <p:stCondLst>
                                    <p:cond delay="0"/>
                                  </p:stCondLst>
                                  <p:childTnLst>
                                    <p:animMotion origin="layout" path="M 1.25E-6 4.93827E-6 L -0.00964 0.3824 " pathEditMode="relative" rAng="0" ptsTypes="AA">
                                      <p:cBhvr>
                                        <p:cTn id="54" dur="1000" fill="hold"/>
                                        <p:tgtEl>
                                          <p:spTgt spid="26"/>
                                        </p:tgtEl>
                                        <p:attrNameLst>
                                          <p:attrName>ppt_x</p:attrName>
                                          <p:attrName>ppt_y</p:attrName>
                                        </p:attrNameLst>
                                      </p:cBhvr>
                                      <p:rCtr x="-486" y="19120"/>
                                    </p:animMotion>
                                  </p:childTnLst>
                                </p:cTn>
                              </p:par>
                            </p:childTnLst>
                          </p:cTn>
                        </p:par>
                        <p:par>
                          <p:cTn id="55" fill="hold">
                            <p:stCondLst>
                              <p:cond delay="3200"/>
                            </p:stCondLst>
                            <p:childTnLst>
                              <p:par>
                                <p:cTn id="56" presetID="42" presetClass="path" presetSubtype="0" accel="50000" decel="50000" fill="hold" nodeType="afterEffect">
                                  <p:stCondLst>
                                    <p:cond delay="0"/>
                                  </p:stCondLst>
                                  <p:childTnLst>
                                    <p:animMotion origin="layout" path="M 4.02778E-6 -3.33333E-6 L -0.02874 0.67778 " pathEditMode="relative" rAng="0" ptsTypes="AA">
                                      <p:cBhvr>
                                        <p:cTn id="57" dur="1000" fill="hold"/>
                                        <p:tgtEl>
                                          <p:spTgt spid="29"/>
                                        </p:tgtEl>
                                        <p:attrNameLst>
                                          <p:attrName>ppt_x</p:attrName>
                                          <p:attrName>ppt_y</p:attrName>
                                        </p:attrNameLst>
                                      </p:cBhvr>
                                      <p:rCtr x="-1441" y="33889"/>
                                    </p:animMotion>
                                  </p:childTnLst>
                                </p:cTn>
                              </p:par>
                            </p:childTnLst>
                          </p:cTn>
                        </p:par>
                        <p:par>
                          <p:cTn id="58" fill="hold">
                            <p:stCondLst>
                              <p:cond delay="4200"/>
                            </p:stCondLst>
                            <p:childTnLst>
                              <p:par>
                                <p:cTn id="59" presetID="10" presetClass="entr" presetSubtype="0" fill="hold" grpId="0" nodeType="afterEffect">
                                  <p:stCondLst>
                                    <p:cond delay="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500"/>
                                        <p:tgtEl>
                                          <p:spTgt spid="23"/>
                                        </p:tgtEl>
                                      </p:cBhvr>
                                    </p:animEffect>
                                  </p:childTnLst>
                                </p:cTn>
                              </p:par>
                            </p:childTnLst>
                          </p:cTn>
                        </p:par>
                        <p:par>
                          <p:cTn id="62" fill="hold">
                            <p:stCondLst>
                              <p:cond delay="4700"/>
                            </p:stCondLst>
                            <p:childTnLst>
                              <p:par>
                                <p:cTn id="63" presetID="10" presetClass="entr" presetSubtype="0" fill="hold" nodeType="afterEffect">
                                  <p:stCondLst>
                                    <p:cond delay="0"/>
                                  </p:stCondLst>
                                  <p:childTnLst>
                                    <p:set>
                                      <p:cBhvr>
                                        <p:cTn id="64" dur="1" fill="hold">
                                          <p:stCondLst>
                                            <p:cond delay="0"/>
                                          </p:stCondLst>
                                        </p:cTn>
                                        <p:tgtEl>
                                          <p:spTgt spid="4"/>
                                        </p:tgtEl>
                                        <p:attrNameLst>
                                          <p:attrName>style.visibility</p:attrName>
                                        </p:attrNameLst>
                                      </p:cBhvr>
                                      <p:to>
                                        <p:strVal val="visible"/>
                                      </p:to>
                                    </p:set>
                                    <p:animEffect transition="in" filter="fade">
                                      <p:cBhvr>
                                        <p:cTn id="65" dur="100"/>
                                        <p:tgtEl>
                                          <p:spTgt spid="4"/>
                                        </p:tgtEl>
                                      </p:cBhvr>
                                    </p:animEffect>
                                  </p:childTnLst>
                                </p:cTn>
                              </p:par>
                            </p:childTnLst>
                          </p:cTn>
                        </p:par>
                        <p:par>
                          <p:cTn id="66" fill="hold">
                            <p:stCondLst>
                              <p:cond delay="4800"/>
                            </p:stCondLst>
                            <p:childTnLst>
                              <p:par>
                                <p:cTn id="67" presetID="10" presetClass="entr" presetSubtype="0" fill="hold" nodeType="after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100"/>
                                        <p:tgtEl>
                                          <p:spTgt spid="6"/>
                                        </p:tgtEl>
                                      </p:cBhvr>
                                    </p:animEffect>
                                  </p:childTnLst>
                                </p:cTn>
                              </p:par>
                            </p:childTnLst>
                          </p:cTn>
                        </p:par>
                        <p:par>
                          <p:cTn id="70" fill="hold">
                            <p:stCondLst>
                              <p:cond delay="4900"/>
                            </p:stCondLst>
                            <p:childTnLst>
                              <p:par>
                                <p:cTn id="71" presetID="10" presetClass="entr" presetSubtype="0" fill="hold" nodeType="afterEffect">
                                  <p:stCondLst>
                                    <p:cond delay="0"/>
                                  </p:stCondLst>
                                  <p:childTnLst>
                                    <p:set>
                                      <p:cBhvr>
                                        <p:cTn id="72" dur="1" fill="hold">
                                          <p:stCondLst>
                                            <p:cond delay="0"/>
                                          </p:stCondLst>
                                        </p:cTn>
                                        <p:tgtEl>
                                          <p:spTgt spid="13"/>
                                        </p:tgtEl>
                                        <p:attrNameLst>
                                          <p:attrName>style.visibility</p:attrName>
                                        </p:attrNameLst>
                                      </p:cBhvr>
                                      <p:to>
                                        <p:strVal val="visible"/>
                                      </p:to>
                                    </p:set>
                                    <p:animEffect transition="in" filter="fade">
                                      <p:cBhvr>
                                        <p:cTn id="73" dur="100"/>
                                        <p:tgtEl>
                                          <p:spTgt spid="13"/>
                                        </p:tgtEl>
                                      </p:cBhvr>
                                    </p:animEffect>
                                  </p:childTnLst>
                                </p:cTn>
                              </p:par>
                            </p:childTnLst>
                          </p:cTn>
                        </p:par>
                        <p:par>
                          <p:cTn id="74" fill="hold">
                            <p:stCondLst>
                              <p:cond delay="5000"/>
                            </p:stCondLst>
                            <p:childTnLst>
                              <p:par>
                                <p:cTn id="75" presetID="10" presetClass="entr" presetSubtype="0" fill="hold" nodeType="afterEffect">
                                  <p:stCondLst>
                                    <p:cond delay="0"/>
                                  </p:stCondLst>
                                  <p:childTnLst>
                                    <p:set>
                                      <p:cBhvr>
                                        <p:cTn id="76" dur="1" fill="hold">
                                          <p:stCondLst>
                                            <p:cond delay="0"/>
                                          </p:stCondLst>
                                        </p:cTn>
                                        <p:tgtEl>
                                          <p:spTgt spid="10"/>
                                        </p:tgtEl>
                                        <p:attrNameLst>
                                          <p:attrName>style.visibility</p:attrName>
                                        </p:attrNameLst>
                                      </p:cBhvr>
                                      <p:to>
                                        <p:strVal val="visible"/>
                                      </p:to>
                                    </p:set>
                                    <p:animEffect transition="in" filter="fade">
                                      <p:cBhvr>
                                        <p:cTn id="77" dur="100"/>
                                        <p:tgtEl>
                                          <p:spTgt spid="10"/>
                                        </p:tgtEl>
                                      </p:cBhvr>
                                    </p:animEffect>
                                  </p:childTnLst>
                                </p:cTn>
                              </p:par>
                            </p:childTnLst>
                          </p:cTn>
                        </p:par>
                        <p:par>
                          <p:cTn id="78" fill="hold">
                            <p:stCondLst>
                              <p:cond delay="5100"/>
                            </p:stCondLst>
                            <p:childTnLst>
                              <p:par>
                                <p:cTn id="79" presetID="10" presetClass="entr" presetSubtype="0" fill="hold" nodeType="afterEffect">
                                  <p:stCondLst>
                                    <p:cond delay="0"/>
                                  </p:stCondLst>
                                  <p:childTnLst>
                                    <p:set>
                                      <p:cBhvr>
                                        <p:cTn id="80" dur="1" fill="hold">
                                          <p:stCondLst>
                                            <p:cond delay="0"/>
                                          </p:stCondLst>
                                        </p:cTn>
                                        <p:tgtEl>
                                          <p:spTgt spid="16"/>
                                        </p:tgtEl>
                                        <p:attrNameLst>
                                          <p:attrName>style.visibility</p:attrName>
                                        </p:attrNameLst>
                                      </p:cBhvr>
                                      <p:to>
                                        <p:strVal val="visible"/>
                                      </p:to>
                                    </p:set>
                                    <p:animEffect transition="in" filter="fade">
                                      <p:cBhvr>
                                        <p:cTn id="81" dur="100"/>
                                        <p:tgtEl>
                                          <p:spTgt spid="16"/>
                                        </p:tgtEl>
                                      </p:cBhvr>
                                    </p:animEffect>
                                  </p:childTnLst>
                                </p:cTn>
                              </p:par>
                            </p:childTnLst>
                          </p:cTn>
                        </p:par>
                        <p:par>
                          <p:cTn id="82" fill="hold">
                            <p:stCondLst>
                              <p:cond delay="5200"/>
                            </p:stCondLst>
                            <p:childTnLst>
                              <p:par>
                                <p:cTn id="83" presetID="10" presetClass="entr" presetSubtype="0" fill="hold" nodeType="afterEffect">
                                  <p:stCondLst>
                                    <p:cond delay="0"/>
                                  </p:stCondLst>
                                  <p:childTnLst>
                                    <p:set>
                                      <p:cBhvr>
                                        <p:cTn id="84" dur="1" fill="hold">
                                          <p:stCondLst>
                                            <p:cond delay="0"/>
                                          </p:stCondLst>
                                        </p:cTn>
                                        <p:tgtEl>
                                          <p:spTgt spid="8"/>
                                        </p:tgtEl>
                                        <p:attrNameLst>
                                          <p:attrName>style.visibility</p:attrName>
                                        </p:attrNameLst>
                                      </p:cBhvr>
                                      <p:to>
                                        <p:strVal val="visible"/>
                                      </p:to>
                                    </p:set>
                                    <p:animEffect transition="in" filter="fade">
                                      <p:cBhvr>
                                        <p:cTn id="85" dur="100"/>
                                        <p:tgtEl>
                                          <p:spTgt spid="8"/>
                                        </p:tgtEl>
                                      </p:cBhvr>
                                    </p:animEffect>
                                  </p:childTnLst>
                                </p:cTn>
                              </p:par>
                            </p:childTnLst>
                          </p:cTn>
                        </p:par>
                        <p:par>
                          <p:cTn id="86" fill="hold">
                            <p:stCondLst>
                              <p:cond delay="5300"/>
                            </p:stCondLst>
                            <p:childTnLst>
                              <p:par>
                                <p:cTn id="87" presetID="10" presetClass="entr" presetSubtype="0" fill="hold" nodeType="afterEffect">
                                  <p:stCondLst>
                                    <p:cond delay="0"/>
                                  </p:stCondLst>
                                  <p:childTnLst>
                                    <p:set>
                                      <p:cBhvr>
                                        <p:cTn id="88" dur="1" fill="hold">
                                          <p:stCondLst>
                                            <p:cond delay="0"/>
                                          </p:stCondLst>
                                        </p:cTn>
                                        <p:tgtEl>
                                          <p:spTgt spid="2"/>
                                        </p:tgtEl>
                                        <p:attrNameLst>
                                          <p:attrName>style.visibility</p:attrName>
                                        </p:attrNameLst>
                                      </p:cBhvr>
                                      <p:to>
                                        <p:strVal val="visible"/>
                                      </p:to>
                                    </p:set>
                                    <p:animEffect transition="in" filter="fade">
                                      <p:cBhvr>
                                        <p:cTn id="89" dur="100"/>
                                        <p:tgtEl>
                                          <p:spTgt spid="2"/>
                                        </p:tgtEl>
                                      </p:cBhvr>
                                    </p:animEffect>
                                  </p:childTnLst>
                                </p:cTn>
                              </p:par>
                            </p:childTnLst>
                          </p:cTn>
                        </p:par>
                      </p:childTnLst>
                    </p:cTn>
                  </p:par>
                  <p:par>
                    <p:cTn id="90" fill="hold">
                      <p:stCondLst>
                        <p:cond delay="indefinite"/>
                      </p:stCondLst>
                      <p:childTnLst>
                        <p:par>
                          <p:cTn id="91" fill="hold">
                            <p:stCondLst>
                              <p:cond delay="0"/>
                            </p:stCondLst>
                            <p:childTnLst>
                              <p:par>
                                <p:cTn id="92" presetID="42" presetClass="entr" presetSubtype="0" fill="hold" grpId="0" nodeType="click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fade">
                                      <p:cBhvr>
                                        <p:cTn id="94" dur="1000"/>
                                        <p:tgtEl>
                                          <p:spTgt spid="58"/>
                                        </p:tgtEl>
                                      </p:cBhvr>
                                    </p:animEffect>
                                    <p:anim calcmode="lin" valueType="num">
                                      <p:cBhvr>
                                        <p:cTn id="95" dur="1000" fill="hold"/>
                                        <p:tgtEl>
                                          <p:spTgt spid="58"/>
                                        </p:tgtEl>
                                        <p:attrNameLst>
                                          <p:attrName>ppt_x</p:attrName>
                                        </p:attrNameLst>
                                      </p:cBhvr>
                                      <p:tavLst>
                                        <p:tav tm="0">
                                          <p:val>
                                            <p:strVal val="#ppt_x"/>
                                          </p:val>
                                        </p:tav>
                                        <p:tav tm="100000">
                                          <p:val>
                                            <p:strVal val="#ppt_x"/>
                                          </p:val>
                                        </p:tav>
                                      </p:tavLst>
                                    </p:anim>
                                    <p:anim calcmode="lin" valueType="num">
                                      <p:cBhvr>
                                        <p:cTn id="96"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56"/>
                                        </p:tgtEl>
                                        <p:attrNameLst>
                                          <p:attrName>style.visibility</p:attrName>
                                        </p:attrNameLst>
                                      </p:cBhvr>
                                      <p:to>
                                        <p:strVal val="visible"/>
                                      </p:to>
                                    </p:set>
                                    <p:animEffect transition="in" filter="fade">
                                      <p:cBhvr>
                                        <p:cTn id="101" dur="500"/>
                                        <p:tgtEl>
                                          <p:spTgt spid="56"/>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nodeType="clickEffect">
                                  <p:stCondLst>
                                    <p:cond delay="0"/>
                                  </p:stCondLst>
                                  <p:childTnLst>
                                    <p:set>
                                      <p:cBhvr>
                                        <p:cTn id="105" dur="1" fill="hold">
                                          <p:stCondLst>
                                            <p:cond delay="0"/>
                                          </p:stCondLst>
                                        </p:cTn>
                                        <p:tgtEl>
                                          <p:spTgt spid="57"/>
                                        </p:tgtEl>
                                        <p:attrNameLst>
                                          <p:attrName>style.visibility</p:attrName>
                                        </p:attrNameLst>
                                      </p:cBhvr>
                                      <p:to>
                                        <p:strVal val="visible"/>
                                      </p:to>
                                    </p:set>
                                    <p:animEffect transition="in" filter="fade">
                                      <p:cBhvr>
                                        <p:cTn id="106" dur="500"/>
                                        <p:tgtEl>
                                          <p:spTgt spid="57"/>
                                        </p:tgtEl>
                                      </p:cBhvr>
                                    </p:animEffect>
                                  </p:childTnLst>
                                </p:cTn>
                              </p:par>
                            </p:childTnLst>
                          </p:cTn>
                        </p:par>
                      </p:childTnLst>
                    </p:cTn>
                  </p:par>
                  <p:par>
                    <p:cTn id="107" fill="hold">
                      <p:stCondLst>
                        <p:cond delay="indefinite"/>
                      </p:stCondLst>
                      <p:childTnLst>
                        <p:par>
                          <p:cTn id="108" fill="hold">
                            <p:stCondLst>
                              <p:cond delay="0"/>
                            </p:stCondLst>
                            <p:childTnLst>
                              <p:par>
                                <p:cTn id="109" presetID="13" presetClass="entr" presetSubtype="16" fill="hold" grpId="0" nodeType="clickEffect">
                                  <p:stCondLst>
                                    <p:cond delay="0"/>
                                  </p:stCondLst>
                                  <p:childTnLst>
                                    <p:set>
                                      <p:cBhvr>
                                        <p:cTn id="110" dur="1" fill="hold">
                                          <p:stCondLst>
                                            <p:cond delay="0"/>
                                          </p:stCondLst>
                                        </p:cTn>
                                        <p:tgtEl>
                                          <p:spTgt spid="61"/>
                                        </p:tgtEl>
                                        <p:attrNameLst>
                                          <p:attrName>style.visibility</p:attrName>
                                        </p:attrNameLst>
                                      </p:cBhvr>
                                      <p:to>
                                        <p:strVal val="visible"/>
                                      </p:to>
                                    </p:set>
                                    <p:animEffect transition="in" filter="plus(in)">
                                      <p:cBhvr>
                                        <p:cTn id="111" dur="750"/>
                                        <p:tgtEl>
                                          <p:spTgt spid="61"/>
                                        </p:tgtEl>
                                      </p:cBhvr>
                                    </p:animEffect>
                                  </p:childTnLst>
                                </p:cTn>
                              </p:par>
                            </p:childTnLst>
                          </p:cTn>
                        </p:par>
                      </p:childTnLst>
                    </p:cTn>
                  </p:par>
                  <p:par>
                    <p:cTn id="112" fill="hold">
                      <p:stCondLst>
                        <p:cond delay="indefinite"/>
                      </p:stCondLst>
                      <p:childTnLst>
                        <p:par>
                          <p:cTn id="113" fill="hold">
                            <p:stCondLst>
                              <p:cond delay="0"/>
                            </p:stCondLst>
                            <p:childTnLst>
                              <p:par>
                                <p:cTn id="114" presetID="13" presetClass="entr" presetSubtype="16" fill="hold" grpId="0" nodeType="clickEffect">
                                  <p:stCondLst>
                                    <p:cond delay="0"/>
                                  </p:stCondLst>
                                  <p:childTnLst>
                                    <p:set>
                                      <p:cBhvr>
                                        <p:cTn id="115" dur="1" fill="hold">
                                          <p:stCondLst>
                                            <p:cond delay="0"/>
                                          </p:stCondLst>
                                        </p:cTn>
                                        <p:tgtEl>
                                          <p:spTgt spid="62"/>
                                        </p:tgtEl>
                                        <p:attrNameLst>
                                          <p:attrName>style.visibility</p:attrName>
                                        </p:attrNameLst>
                                      </p:cBhvr>
                                      <p:to>
                                        <p:strVal val="visible"/>
                                      </p:to>
                                    </p:set>
                                    <p:animEffect transition="in" filter="plus(in)">
                                      <p:cBhvr>
                                        <p:cTn id="116" dur="750"/>
                                        <p:tgtEl>
                                          <p:spTgt spid="62"/>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63"/>
                                        </p:tgtEl>
                                        <p:attrNameLst>
                                          <p:attrName>style.visibility</p:attrName>
                                        </p:attrNameLst>
                                      </p:cBhvr>
                                      <p:to>
                                        <p:strVal val="visible"/>
                                      </p:to>
                                    </p:set>
                                    <p:animEffect transition="in" filter="fade">
                                      <p:cBhvr>
                                        <p:cTn id="121" dur="500"/>
                                        <p:tgtEl>
                                          <p:spTgt spid="63"/>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ntr" presetSubtype="0" fill="hold" nodeType="clickEffect">
                                  <p:stCondLst>
                                    <p:cond delay="0"/>
                                  </p:stCondLst>
                                  <p:childTnLst>
                                    <p:set>
                                      <p:cBhvr>
                                        <p:cTn id="125" dur="1" fill="hold">
                                          <p:stCondLst>
                                            <p:cond delay="0"/>
                                          </p:stCondLst>
                                        </p:cTn>
                                        <p:tgtEl>
                                          <p:spTgt spid="64"/>
                                        </p:tgtEl>
                                        <p:attrNameLst>
                                          <p:attrName>style.visibility</p:attrName>
                                        </p:attrNameLst>
                                      </p:cBhvr>
                                      <p:to>
                                        <p:strVal val="visible"/>
                                      </p:to>
                                    </p:set>
                                    <p:animEffect transition="in" filter="fade">
                                      <p:cBhvr>
                                        <p:cTn id="126" dur="500"/>
                                        <p:tgtEl>
                                          <p:spTgt spid="64"/>
                                        </p:tgtEl>
                                      </p:cBhvr>
                                    </p:animEffect>
                                  </p:childTnLst>
                                </p:cTn>
                              </p:par>
                            </p:childTnLst>
                          </p:cTn>
                        </p:par>
                      </p:childTnLst>
                    </p:cTn>
                  </p:par>
                  <p:par>
                    <p:cTn id="127" fill="hold">
                      <p:stCondLst>
                        <p:cond delay="indefinite"/>
                      </p:stCondLst>
                      <p:childTnLst>
                        <p:par>
                          <p:cTn id="128" fill="hold">
                            <p:stCondLst>
                              <p:cond delay="0"/>
                            </p:stCondLst>
                            <p:childTnLst>
                              <p:par>
                                <p:cTn id="129" presetID="10" presetClass="exit" presetSubtype="0" fill="hold" grpId="1" nodeType="clickEffect">
                                  <p:stCondLst>
                                    <p:cond delay="0"/>
                                  </p:stCondLst>
                                  <p:childTnLst>
                                    <p:animEffect transition="out" filter="fade">
                                      <p:cBhvr>
                                        <p:cTn id="130" dur="500"/>
                                        <p:tgtEl>
                                          <p:spTgt spid="58"/>
                                        </p:tgtEl>
                                      </p:cBhvr>
                                    </p:animEffect>
                                    <p:set>
                                      <p:cBhvr>
                                        <p:cTn id="131" dur="1" fill="hold">
                                          <p:stCondLst>
                                            <p:cond delay="499"/>
                                          </p:stCondLst>
                                        </p:cTn>
                                        <p:tgtEl>
                                          <p:spTgt spid="58"/>
                                        </p:tgtEl>
                                        <p:attrNameLst>
                                          <p:attrName>style.visibility</p:attrName>
                                        </p:attrNameLst>
                                      </p:cBhvr>
                                      <p:to>
                                        <p:strVal val="hidden"/>
                                      </p:to>
                                    </p:set>
                                  </p:childTnLst>
                                </p:cTn>
                              </p:par>
                            </p:childTnLst>
                          </p:cTn>
                        </p:par>
                        <p:par>
                          <p:cTn id="132" fill="hold">
                            <p:stCondLst>
                              <p:cond delay="500"/>
                            </p:stCondLst>
                            <p:childTnLst>
                              <p:par>
                                <p:cTn id="133" presetID="10" presetClass="exit" presetSubtype="0" fill="hold" nodeType="afterEffect">
                                  <p:stCondLst>
                                    <p:cond delay="0"/>
                                  </p:stCondLst>
                                  <p:childTnLst>
                                    <p:animEffect transition="out" filter="fade">
                                      <p:cBhvr>
                                        <p:cTn id="134" dur="500"/>
                                        <p:tgtEl>
                                          <p:spTgt spid="56"/>
                                        </p:tgtEl>
                                      </p:cBhvr>
                                    </p:animEffect>
                                    <p:set>
                                      <p:cBhvr>
                                        <p:cTn id="135" dur="1" fill="hold">
                                          <p:stCondLst>
                                            <p:cond delay="499"/>
                                          </p:stCondLst>
                                        </p:cTn>
                                        <p:tgtEl>
                                          <p:spTgt spid="56"/>
                                        </p:tgtEl>
                                        <p:attrNameLst>
                                          <p:attrName>style.visibility</p:attrName>
                                        </p:attrNameLst>
                                      </p:cBhvr>
                                      <p:to>
                                        <p:strVal val="hidden"/>
                                      </p:to>
                                    </p:set>
                                  </p:childTnLst>
                                </p:cTn>
                              </p:par>
                            </p:childTnLst>
                          </p:cTn>
                        </p:par>
                        <p:par>
                          <p:cTn id="136" fill="hold">
                            <p:stCondLst>
                              <p:cond delay="1000"/>
                            </p:stCondLst>
                            <p:childTnLst>
                              <p:par>
                                <p:cTn id="137" presetID="10" presetClass="exit" presetSubtype="0" fill="hold" nodeType="afterEffect">
                                  <p:stCondLst>
                                    <p:cond delay="0"/>
                                  </p:stCondLst>
                                  <p:childTnLst>
                                    <p:animEffect transition="out" filter="fade">
                                      <p:cBhvr>
                                        <p:cTn id="138" dur="500"/>
                                        <p:tgtEl>
                                          <p:spTgt spid="57"/>
                                        </p:tgtEl>
                                      </p:cBhvr>
                                    </p:animEffect>
                                    <p:set>
                                      <p:cBhvr>
                                        <p:cTn id="139" dur="1" fill="hold">
                                          <p:stCondLst>
                                            <p:cond delay="499"/>
                                          </p:stCondLst>
                                        </p:cTn>
                                        <p:tgtEl>
                                          <p:spTgt spid="57"/>
                                        </p:tgtEl>
                                        <p:attrNameLst>
                                          <p:attrName>style.visibility</p:attrName>
                                        </p:attrNameLst>
                                      </p:cBhvr>
                                      <p:to>
                                        <p:strVal val="hidden"/>
                                      </p:to>
                                    </p:set>
                                  </p:childTnLst>
                                </p:cTn>
                              </p:par>
                            </p:childTnLst>
                          </p:cTn>
                        </p:par>
                        <p:par>
                          <p:cTn id="140" fill="hold">
                            <p:stCondLst>
                              <p:cond delay="1500"/>
                            </p:stCondLst>
                            <p:childTnLst>
                              <p:par>
                                <p:cTn id="141" presetID="10" presetClass="exit" presetSubtype="0" fill="hold" grpId="1" nodeType="afterEffect">
                                  <p:stCondLst>
                                    <p:cond delay="0"/>
                                  </p:stCondLst>
                                  <p:childTnLst>
                                    <p:animEffect transition="out" filter="fade">
                                      <p:cBhvr>
                                        <p:cTn id="142" dur="500"/>
                                        <p:tgtEl>
                                          <p:spTgt spid="61"/>
                                        </p:tgtEl>
                                      </p:cBhvr>
                                    </p:animEffect>
                                    <p:set>
                                      <p:cBhvr>
                                        <p:cTn id="143" dur="1" fill="hold">
                                          <p:stCondLst>
                                            <p:cond delay="499"/>
                                          </p:stCondLst>
                                        </p:cTn>
                                        <p:tgtEl>
                                          <p:spTgt spid="61"/>
                                        </p:tgtEl>
                                        <p:attrNameLst>
                                          <p:attrName>style.visibility</p:attrName>
                                        </p:attrNameLst>
                                      </p:cBhvr>
                                      <p:to>
                                        <p:strVal val="hidden"/>
                                      </p:to>
                                    </p:set>
                                  </p:childTnLst>
                                </p:cTn>
                              </p:par>
                            </p:childTnLst>
                          </p:cTn>
                        </p:par>
                        <p:par>
                          <p:cTn id="144" fill="hold">
                            <p:stCondLst>
                              <p:cond delay="2000"/>
                            </p:stCondLst>
                            <p:childTnLst>
                              <p:par>
                                <p:cTn id="145" presetID="10" presetClass="exit" presetSubtype="0" fill="hold" grpId="1" nodeType="afterEffect">
                                  <p:stCondLst>
                                    <p:cond delay="0"/>
                                  </p:stCondLst>
                                  <p:childTnLst>
                                    <p:animEffect transition="out" filter="fade">
                                      <p:cBhvr>
                                        <p:cTn id="146" dur="500"/>
                                        <p:tgtEl>
                                          <p:spTgt spid="63"/>
                                        </p:tgtEl>
                                      </p:cBhvr>
                                    </p:animEffect>
                                    <p:set>
                                      <p:cBhvr>
                                        <p:cTn id="147" dur="1" fill="hold">
                                          <p:stCondLst>
                                            <p:cond delay="499"/>
                                          </p:stCondLst>
                                        </p:cTn>
                                        <p:tgtEl>
                                          <p:spTgt spid="63"/>
                                        </p:tgtEl>
                                        <p:attrNameLst>
                                          <p:attrName>style.visibility</p:attrName>
                                        </p:attrNameLst>
                                      </p:cBhvr>
                                      <p:to>
                                        <p:strVal val="hidden"/>
                                      </p:to>
                                    </p:set>
                                  </p:childTnLst>
                                </p:cTn>
                              </p:par>
                            </p:childTnLst>
                          </p:cTn>
                        </p:par>
                        <p:par>
                          <p:cTn id="148" fill="hold">
                            <p:stCondLst>
                              <p:cond delay="2500"/>
                            </p:stCondLst>
                            <p:childTnLst>
                              <p:par>
                                <p:cTn id="149" presetID="10" presetClass="exit" presetSubtype="0" fill="hold" nodeType="afterEffect">
                                  <p:stCondLst>
                                    <p:cond delay="0"/>
                                  </p:stCondLst>
                                  <p:childTnLst>
                                    <p:animEffect transition="out" filter="fade">
                                      <p:cBhvr>
                                        <p:cTn id="150" dur="500"/>
                                        <p:tgtEl>
                                          <p:spTgt spid="64"/>
                                        </p:tgtEl>
                                      </p:cBhvr>
                                    </p:animEffect>
                                    <p:set>
                                      <p:cBhvr>
                                        <p:cTn id="151" dur="1" fill="hold">
                                          <p:stCondLst>
                                            <p:cond delay="499"/>
                                          </p:stCondLst>
                                        </p:cTn>
                                        <p:tgtEl>
                                          <p:spTgt spid="64"/>
                                        </p:tgtEl>
                                        <p:attrNameLst>
                                          <p:attrName>style.visibility</p:attrName>
                                        </p:attrNameLst>
                                      </p:cBhvr>
                                      <p:to>
                                        <p:strVal val="hidden"/>
                                      </p:to>
                                    </p:set>
                                  </p:childTnLst>
                                </p:cTn>
                              </p:par>
                            </p:childTnLst>
                          </p:cTn>
                        </p:par>
                        <p:par>
                          <p:cTn id="152" fill="hold">
                            <p:stCondLst>
                              <p:cond delay="3000"/>
                            </p:stCondLst>
                            <p:childTnLst>
                              <p:par>
                                <p:cTn id="153" presetID="10" presetClass="exit" presetSubtype="0" fill="hold" grpId="1" nodeType="afterEffect">
                                  <p:stCondLst>
                                    <p:cond delay="0"/>
                                  </p:stCondLst>
                                  <p:childTnLst>
                                    <p:animEffect transition="out" filter="fade">
                                      <p:cBhvr>
                                        <p:cTn id="154" dur="500"/>
                                        <p:tgtEl>
                                          <p:spTgt spid="62"/>
                                        </p:tgtEl>
                                      </p:cBhvr>
                                    </p:animEffect>
                                    <p:set>
                                      <p:cBhvr>
                                        <p:cTn id="155" dur="1" fill="hold">
                                          <p:stCondLst>
                                            <p:cond delay="499"/>
                                          </p:stCondLst>
                                        </p:cTn>
                                        <p:tgtEl>
                                          <p:spTgt spid="62"/>
                                        </p:tgtEl>
                                        <p:attrNameLst>
                                          <p:attrName>style.visibility</p:attrName>
                                        </p:attrNameLst>
                                      </p:cBhvr>
                                      <p:to>
                                        <p:strVal val="hidden"/>
                                      </p:to>
                                    </p:set>
                                  </p:childTnLst>
                                </p:cTn>
                              </p:par>
                            </p:childTnLst>
                          </p:cTn>
                        </p:par>
                      </p:childTnLst>
                    </p:cTn>
                  </p:par>
                  <p:par>
                    <p:cTn id="156" fill="hold">
                      <p:stCondLst>
                        <p:cond delay="indefinite"/>
                      </p:stCondLst>
                      <p:childTnLst>
                        <p:par>
                          <p:cTn id="157" fill="hold">
                            <p:stCondLst>
                              <p:cond delay="0"/>
                            </p:stCondLst>
                            <p:childTnLst>
                              <p:par>
                                <p:cTn id="158" presetID="10" presetClass="entr" presetSubtype="0" fill="hold" grpId="0" nodeType="clickEffect">
                                  <p:stCondLst>
                                    <p:cond delay="0"/>
                                  </p:stCondLst>
                                  <p:childTnLst>
                                    <p:set>
                                      <p:cBhvr>
                                        <p:cTn id="159" dur="1" fill="hold">
                                          <p:stCondLst>
                                            <p:cond delay="0"/>
                                          </p:stCondLst>
                                        </p:cTn>
                                        <p:tgtEl>
                                          <p:spTgt spid="25"/>
                                        </p:tgtEl>
                                        <p:attrNameLst>
                                          <p:attrName>style.visibility</p:attrName>
                                        </p:attrNameLst>
                                      </p:cBhvr>
                                      <p:to>
                                        <p:strVal val="visible"/>
                                      </p:to>
                                    </p:set>
                                    <p:animEffect transition="in" filter="fade">
                                      <p:cBhvr>
                                        <p:cTn id="16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58" grpId="0" animBg="1"/>
      <p:bldP spid="58" grpId="1" animBg="1"/>
      <p:bldP spid="61" grpId="0" animBg="1"/>
      <p:bldP spid="61" grpId="1" animBg="1"/>
      <p:bldP spid="62" grpId="0" animBg="1"/>
      <p:bldP spid="62" grpId="1" animBg="1"/>
      <p:bldP spid="25" grpId="0"/>
      <p:bldP spid="63" grpId="0" animBg="1"/>
      <p:bldP spid="63"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p:cNvSpPr/>
          <p:nvPr/>
        </p:nvSpPr>
        <p:spPr>
          <a:xfrm>
            <a:off x="1562100" y="1482183"/>
            <a:ext cx="3270541" cy="1508667"/>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nvGrpSpPr>
          <p:cNvPr id="2" name="Group 2"/>
          <p:cNvGrpSpPr>
            <a:grpSpLocks noChangeAspect="1"/>
          </p:cNvGrpSpPr>
          <p:nvPr/>
        </p:nvGrpSpPr>
        <p:grpSpPr>
          <a:xfrm>
            <a:off x="7832408" y="-1311593"/>
            <a:ext cx="2623185" cy="2623185"/>
            <a:chOff x="0" y="0"/>
            <a:chExt cx="1708150" cy="1708150"/>
          </a:xfrm>
        </p:grpSpPr>
        <p:sp>
          <p:nvSpPr>
            <p:cNvPr id="3" name="Freeform 3"/>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4" name="Group 4"/>
          <p:cNvGrpSpPr>
            <a:grpSpLocks noChangeAspect="1"/>
          </p:cNvGrpSpPr>
          <p:nvPr/>
        </p:nvGrpSpPr>
        <p:grpSpPr>
          <a:xfrm>
            <a:off x="955324" y="1296067"/>
            <a:ext cx="372233" cy="372233"/>
            <a:chOff x="0" y="0"/>
            <a:chExt cx="1708150" cy="1708150"/>
          </a:xfrm>
        </p:grpSpPr>
        <p:sp>
          <p:nvSpPr>
            <p:cNvPr id="5" name="Freeform 5"/>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6" name="Group 6"/>
          <p:cNvGrpSpPr>
            <a:grpSpLocks noChangeAspect="1"/>
          </p:cNvGrpSpPr>
          <p:nvPr/>
        </p:nvGrpSpPr>
        <p:grpSpPr>
          <a:xfrm>
            <a:off x="7910889" y="4131020"/>
            <a:ext cx="372233" cy="372233"/>
            <a:chOff x="0" y="0"/>
            <a:chExt cx="1708150" cy="1708150"/>
          </a:xfrm>
        </p:grpSpPr>
        <p:sp>
          <p:nvSpPr>
            <p:cNvPr id="7"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8" name="Group 8"/>
          <p:cNvGrpSpPr>
            <a:grpSpLocks noChangeAspect="1"/>
          </p:cNvGrpSpPr>
          <p:nvPr/>
        </p:nvGrpSpPr>
        <p:grpSpPr>
          <a:xfrm>
            <a:off x="-1311593" y="3831908"/>
            <a:ext cx="2623185" cy="2623185"/>
            <a:chOff x="0" y="0"/>
            <a:chExt cx="1708150" cy="1708150"/>
          </a:xfrm>
        </p:grpSpPr>
        <p:sp>
          <p:nvSpPr>
            <p:cNvPr id="9" name="Freeform 9"/>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10" name="Group 10"/>
          <p:cNvGrpSpPr/>
          <p:nvPr/>
        </p:nvGrpSpPr>
        <p:grpSpPr>
          <a:xfrm>
            <a:off x="514350" y="3165638"/>
            <a:ext cx="454163" cy="454163"/>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2" name="TextBox 12"/>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13" name="Group 13"/>
          <p:cNvGrpSpPr/>
          <p:nvPr/>
        </p:nvGrpSpPr>
        <p:grpSpPr>
          <a:xfrm>
            <a:off x="6295435" y="1093427"/>
            <a:ext cx="295763" cy="295763"/>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5" name="TextBox 15"/>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16" name="Group 16"/>
          <p:cNvGrpSpPr/>
          <p:nvPr/>
        </p:nvGrpSpPr>
        <p:grpSpPr>
          <a:xfrm>
            <a:off x="8175487" y="1523699"/>
            <a:ext cx="454163" cy="454163"/>
            <a:chOff x="0" y="0"/>
            <a:chExt cx="812800" cy="812800"/>
          </a:xfrm>
        </p:grpSpPr>
        <p:sp>
          <p:nvSpPr>
            <p:cNvPr id="17" name="Freeform 1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8" name="TextBox 18"/>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26" name="Group 25"/>
          <p:cNvGrpSpPr/>
          <p:nvPr/>
        </p:nvGrpSpPr>
        <p:grpSpPr>
          <a:xfrm>
            <a:off x="-720073" y="-379465"/>
            <a:ext cx="12596853" cy="2086379"/>
            <a:chOff x="-3267212" y="-7169514"/>
            <a:chExt cx="25193706" cy="4172758"/>
          </a:xfrm>
        </p:grpSpPr>
        <p:sp>
          <p:nvSpPr>
            <p:cNvPr id="27" name="Rectangle 31"/>
            <p:cNvSpPr/>
            <p:nvPr/>
          </p:nvSpPr>
          <p:spPr>
            <a:xfrm>
              <a:off x="-3267212" y="-7148084"/>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8" name="Rectangle 28"/>
            <p:cNvSpPr/>
            <p:nvPr/>
          </p:nvSpPr>
          <p:spPr>
            <a:xfrm>
              <a:off x="8454579" y="-7169514"/>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nvGrpSpPr>
          <p:cNvPr id="29" name="Group 28"/>
          <p:cNvGrpSpPr/>
          <p:nvPr/>
        </p:nvGrpSpPr>
        <p:grpSpPr>
          <a:xfrm>
            <a:off x="-796273" y="-4037439"/>
            <a:ext cx="12557591" cy="2117034"/>
            <a:chOff x="-3211757" y="-7593727"/>
            <a:chExt cx="25115181" cy="4234067"/>
          </a:xfrm>
        </p:grpSpPr>
        <p:sp>
          <p:nvSpPr>
            <p:cNvPr id="30" name="Rectangle 28"/>
            <p:cNvSpPr/>
            <p:nvPr/>
          </p:nvSpPr>
          <p:spPr>
            <a:xfrm>
              <a:off x="8431509" y="-7532418"/>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1" name="Rectangle 31"/>
            <p:cNvSpPr/>
            <p:nvPr/>
          </p:nvSpPr>
          <p:spPr>
            <a:xfrm>
              <a:off x="-3211757" y="-7593727"/>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nvGrpSpPr>
          <p:cNvPr id="32" name="Group 31"/>
          <p:cNvGrpSpPr/>
          <p:nvPr/>
        </p:nvGrpSpPr>
        <p:grpSpPr>
          <a:xfrm>
            <a:off x="-708576" y="-594834"/>
            <a:ext cx="12557591" cy="2117034"/>
            <a:chOff x="-3211757" y="-7593727"/>
            <a:chExt cx="25115181" cy="4234067"/>
          </a:xfrm>
        </p:grpSpPr>
        <p:sp>
          <p:nvSpPr>
            <p:cNvPr id="33" name="Rectangle 28"/>
            <p:cNvSpPr/>
            <p:nvPr/>
          </p:nvSpPr>
          <p:spPr>
            <a:xfrm>
              <a:off x="8431509" y="-7532418"/>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4" name="Rectangle 31"/>
            <p:cNvSpPr/>
            <p:nvPr/>
          </p:nvSpPr>
          <p:spPr>
            <a:xfrm>
              <a:off x="-3211757" y="-7593727"/>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sp>
        <p:nvSpPr>
          <p:cNvPr id="23" name="TextBox 23"/>
          <p:cNvSpPr txBox="1"/>
          <p:nvPr/>
        </p:nvSpPr>
        <p:spPr>
          <a:xfrm>
            <a:off x="186835" y="309092"/>
            <a:ext cx="5598630" cy="346249"/>
          </a:xfrm>
          <a:prstGeom prst="rect">
            <a:avLst/>
          </a:prstGeom>
        </p:spPr>
        <p:txBody>
          <a:bodyPr wrap="square" lIns="0" tIns="0" rIns="0" bIns="0" rtlCol="0" anchor="t">
            <a:spAutoFit/>
          </a:bodyPr>
          <a:lstStyle/>
          <a:p>
            <a:pPr>
              <a:lnSpc>
                <a:spcPts val="2740"/>
              </a:lnSpc>
              <a:spcBef>
                <a:spcPct val="0"/>
              </a:spcBef>
            </a:pPr>
            <a:r>
              <a:rPr lang="en-US" sz="3011" dirty="0" smtClean="0">
                <a:solidFill>
                  <a:schemeClr val="bg1"/>
                </a:solidFill>
                <a:latin typeface="Segoe UI Black" panose="020B0A02040204020203" pitchFamily="34" charset="0"/>
                <a:ea typeface="Segoe UI Black" panose="020B0A02040204020203" pitchFamily="34" charset="0"/>
              </a:rPr>
              <a:t>d) </a:t>
            </a:r>
            <a:r>
              <a:rPr lang="en-US" sz="3011" dirty="0" err="1" smtClean="0">
                <a:solidFill>
                  <a:schemeClr val="bg1"/>
                </a:solidFill>
                <a:latin typeface="Segoe UI Black" panose="020B0A02040204020203" pitchFamily="34" charset="0"/>
                <a:ea typeface="Segoe UI Black" panose="020B0A02040204020203" pitchFamily="34" charset="0"/>
              </a:rPr>
              <a:t>Liên</a:t>
            </a:r>
            <a:r>
              <a:rPr lang="en-US" sz="3011" dirty="0" smtClean="0">
                <a:solidFill>
                  <a:schemeClr val="bg1"/>
                </a:solidFill>
                <a:latin typeface="Segoe UI Black" panose="020B0A02040204020203" pitchFamily="34" charset="0"/>
                <a:ea typeface="Segoe UI Black" panose="020B0A02040204020203" pitchFamily="34" charset="0"/>
              </a:rPr>
              <a:t> </a:t>
            </a:r>
            <a:r>
              <a:rPr lang="en-US" sz="3011" dirty="0" err="1" smtClean="0">
                <a:solidFill>
                  <a:schemeClr val="bg1"/>
                </a:solidFill>
                <a:latin typeface="Segoe UI Black" panose="020B0A02040204020203" pitchFamily="34" charset="0"/>
                <a:ea typeface="Segoe UI Black" panose="020B0A02040204020203" pitchFamily="34" charset="0"/>
              </a:rPr>
              <a:t>kết</a:t>
            </a:r>
            <a:r>
              <a:rPr lang="en-US" sz="3011" dirty="0" smtClean="0">
                <a:solidFill>
                  <a:schemeClr val="bg1"/>
                </a:solidFill>
                <a:latin typeface="Segoe UI Black" panose="020B0A02040204020203" pitchFamily="34" charset="0"/>
                <a:ea typeface="Segoe UI Black" panose="020B0A02040204020203" pitchFamily="34" charset="0"/>
              </a:rPr>
              <a:t> </a:t>
            </a:r>
            <a:r>
              <a:rPr lang="en-US" sz="3011" dirty="0" err="1" smtClean="0">
                <a:solidFill>
                  <a:schemeClr val="bg1"/>
                </a:solidFill>
                <a:latin typeface="Segoe UI Black" panose="020B0A02040204020203" pitchFamily="34" charset="0"/>
                <a:ea typeface="Segoe UI Black" panose="020B0A02040204020203" pitchFamily="34" charset="0"/>
              </a:rPr>
              <a:t>dữ</a:t>
            </a:r>
            <a:r>
              <a:rPr lang="en-US" sz="3011" dirty="0" smtClean="0">
                <a:solidFill>
                  <a:schemeClr val="bg1"/>
                </a:solidFill>
                <a:latin typeface="Segoe UI Black" panose="020B0A02040204020203" pitchFamily="34" charset="0"/>
                <a:ea typeface="Segoe UI Black" panose="020B0A02040204020203" pitchFamily="34" charset="0"/>
              </a:rPr>
              <a:t> </a:t>
            </a:r>
            <a:r>
              <a:rPr lang="en-US" sz="3011" dirty="0" err="1" smtClean="0">
                <a:solidFill>
                  <a:schemeClr val="bg1"/>
                </a:solidFill>
                <a:latin typeface="Segoe UI Black" panose="020B0A02040204020203" pitchFamily="34" charset="0"/>
                <a:ea typeface="Segoe UI Black" panose="020B0A02040204020203" pitchFamily="34" charset="0"/>
              </a:rPr>
              <a:t>liệu</a:t>
            </a:r>
            <a:endParaRPr lang="en-US" sz="3011" dirty="0">
              <a:solidFill>
                <a:schemeClr val="bg1"/>
              </a:solidFill>
              <a:latin typeface="Segoe UI Black" panose="020B0A02040204020203" pitchFamily="34" charset="0"/>
              <a:ea typeface="Segoe UI Black" panose="020B0A02040204020203" pitchFamily="34" charset="0"/>
            </a:endParaRPr>
          </a:p>
        </p:txBody>
      </p:sp>
      <p:pic>
        <p:nvPicPr>
          <p:cNvPr id="35" name="Picture 34"/>
          <p:cNvPicPr>
            <a:picLocks noChangeAspect="1"/>
          </p:cNvPicPr>
          <p:nvPr/>
        </p:nvPicPr>
        <p:blipFill>
          <a:blip r:embed="rId2"/>
          <a:stretch>
            <a:fillRect/>
          </a:stretch>
        </p:blipFill>
        <p:spPr>
          <a:xfrm>
            <a:off x="1699985" y="1603995"/>
            <a:ext cx="1029826" cy="1052937"/>
          </a:xfrm>
          <a:prstGeom prst="rect">
            <a:avLst/>
          </a:prstGeom>
        </p:spPr>
      </p:pic>
      <p:pic>
        <p:nvPicPr>
          <p:cNvPr id="36" name="Picture 35"/>
          <p:cNvPicPr>
            <a:picLocks noChangeAspect="1"/>
          </p:cNvPicPr>
          <p:nvPr/>
        </p:nvPicPr>
        <p:blipFill>
          <a:blip r:embed="rId3"/>
          <a:stretch>
            <a:fillRect/>
          </a:stretch>
        </p:blipFill>
        <p:spPr>
          <a:xfrm>
            <a:off x="2835296" y="1568159"/>
            <a:ext cx="1790869" cy="1305532"/>
          </a:xfrm>
          <a:prstGeom prst="rect">
            <a:avLst/>
          </a:prstGeom>
        </p:spPr>
      </p:pic>
      <p:sp>
        <p:nvSpPr>
          <p:cNvPr id="37" name="Curved Left Arrow 36"/>
          <p:cNvSpPr/>
          <p:nvPr/>
        </p:nvSpPr>
        <p:spPr>
          <a:xfrm rot="20615302" flipH="1">
            <a:off x="2187899" y="2809730"/>
            <a:ext cx="673362" cy="1643556"/>
          </a:xfrm>
          <a:prstGeom prst="curvedLef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pic>
        <p:nvPicPr>
          <p:cNvPr id="40" name="Picture 39"/>
          <p:cNvPicPr>
            <a:picLocks noChangeAspect="1"/>
          </p:cNvPicPr>
          <p:nvPr/>
        </p:nvPicPr>
        <p:blipFill>
          <a:blip r:embed="rId4"/>
          <a:stretch>
            <a:fillRect/>
          </a:stretch>
        </p:blipFill>
        <p:spPr>
          <a:xfrm>
            <a:off x="3136335" y="3449408"/>
            <a:ext cx="4340436" cy="1320029"/>
          </a:xfrm>
          <a:prstGeom prst="rect">
            <a:avLst/>
          </a:prstGeom>
        </p:spPr>
      </p:pic>
      <p:sp>
        <p:nvSpPr>
          <p:cNvPr id="41" name="Rectangle 40"/>
          <p:cNvSpPr/>
          <p:nvPr/>
        </p:nvSpPr>
        <p:spPr>
          <a:xfrm>
            <a:off x="1699985" y="1772482"/>
            <a:ext cx="319316" cy="8844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42" name="Rectangle 41"/>
          <p:cNvSpPr/>
          <p:nvPr/>
        </p:nvSpPr>
        <p:spPr>
          <a:xfrm>
            <a:off x="3185211" y="1713376"/>
            <a:ext cx="360595" cy="11603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Tree>
    <p:extLst>
      <p:ext uri="{BB962C8B-B14F-4D97-AF65-F5344CB8AC3E}">
        <p14:creationId xmlns:p14="http://schemas.microsoft.com/office/powerpoint/2010/main" val="17066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anim calcmode="lin" valueType="num">
                                      <p:cBhvr>
                                        <p:cTn id="8" dur="1000" fill="hold"/>
                                        <p:tgtEl>
                                          <p:spTgt spid="38"/>
                                        </p:tgtEl>
                                        <p:attrNameLst>
                                          <p:attrName>ppt_x</p:attrName>
                                        </p:attrNameLst>
                                      </p:cBhvr>
                                      <p:tavLst>
                                        <p:tav tm="0">
                                          <p:val>
                                            <p:strVal val="#ppt_x"/>
                                          </p:val>
                                        </p:tav>
                                        <p:tav tm="100000">
                                          <p:val>
                                            <p:strVal val="#ppt_x"/>
                                          </p:val>
                                        </p:tav>
                                      </p:tavLst>
                                    </p:anim>
                                    <p:anim calcmode="lin" valueType="num">
                                      <p:cBhvr>
                                        <p:cTn id="9"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fade">
                                      <p:cBhvr>
                                        <p:cTn id="14" dur="500"/>
                                        <p:tgtEl>
                                          <p:spTgt spid="35"/>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500"/>
                                        <p:tgtEl>
                                          <p:spTgt spid="3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fade">
                                      <p:cBhvr>
                                        <p:cTn id="29" dur="500"/>
                                        <p:tgtEl>
                                          <p:spTgt spid="40"/>
                                        </p:tgtEl>
                                      </p:cBhvr>
                                    </p:animEffect>
                                  </p:childTnLst>
                                </p:cTn>
                              </p:par>
                            </p:childTnLst>
                          </p:cTn>
                        </p:par>
                      </p:childTnLst>
                    </p:cTn>
                  </p:par>
                  <p:par>
                    <p:cTn id="30" fill="hold">
                      <p:stCondLst>
                        <p:cond delay="indefinite"/>
                      </p:stCondLst>
                      <p:childTnLst>
                        <p:par>
                          <p:cTn id="31" fill="hold">
                            <p:stCondLst>
                              <p:cond delay="0"/>
                            </p:stCondLst>
                            <p:childTnLst>
                              <p:par>
                                <p:cTn id="32" presetID="13" presetClass="entr" presetSubtype="16" fill="hold" grpId="0" nodeType="click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plus(in)">
                                      <p:cBhvr>
                                        <p:cTn id="34" dur="750"/>
                                        <p:tgtEl>
                                          <p:spTgt spid="41"/>
                                        </p:tgtEl>
                                      </p:cBhvr>
                                    </p:animEffect>
                                  </p:childTnLst>
                                </p:cTn>
                              </p:par>
                            </p:childTnLst>
                          </p:cTn>
                        </p:par>
                      </p:childTnLst>
                    </p:cTn>
                  </p:par>
                  <p:par>
                    <p:cTn id="35" fill="hold">
                      <p:stCondLst>
                        <p:cond delay="indefinite"/>
                      </p:stCondLst>
                      <p:childTnLst>
                        <p:par>
                          <p:cTn id="36" fill="hold">
                            <p:stCondLst>
                              <p:cond delay="0"/>
                            </p:stCondLst>
                            <p:childTnLst>
                              <p:par>
                                <p:cTn id="37" presetID="13" presetClass="entr" presetSubtype="16" fill="hold" grpId="0" nodeType="clickEffect">
                                  <p:stCondLst>
                                    <p:cond delay="0"/>
                                  </p:stCondLst>
                                  <p:childTnLst>
                                    <p:set>
                                      <p:cBhvr>
                                        <p:cTn id="38" dur="1" fill="hold">
                                          <p:stCondLst>
                                            <p:cond delay="0"/>
                                          </p:stCondLst>
                                        </p:cTn>
                                        <p:tgtEl>
                                          <p:spTgt spid="42"/>
                                        </p:tgtEl>
                                        <p:attrNameLst>
                                          <p:attrName>style.visibility</p:attrName>
                                        </p:attrNameLst>
                                      </p:cBhvr>
                                      <p:to>
                                        <p:strVal val="visible"/>
                                      </p:to>
                                    </p:set>
                                    <p:animEffect transition="in" filter="plus(in)">
                                      <p:cBhvr>
                                        <p:cTn id="39" dur="7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7" grpId="0" animBg="1"/>
      <p:bldP spid="41" grpId="0" animBg="1"/>
      <p:bldP spid="4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a:xfrm>
            <a:off x="7832408" y="-1311593"/>
            <a:ext cx="2623185" cy="2623185"/>
            <a:chOff x="0" y="0"/>
            <a:chExt cx="1708150" cy="1708150"/>
          </a:xfrm>
        </p:grpSpPr>
        <p:sp>
          <p:nvSpPr>
            <p:cNvPr id="3" name="Freeform 3"/>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4" name="Group 4"/>
          <p:cNvGrpSpPr>
            <a:grpSpLocks noChangeAspect="1"/>
          </p:cNvGrpSpPr>
          <p:nvPr/>
        </p:nvGrpSpPr>
        <p:grpSpPr>
          <a:xfrm>
            <a:off x="955324" y="1296067"/>
            <a:ext cx="372233" cy="372233"/>
            <a:chOff x="0" y="0"/>
            <a:chExt cx="1708150" cy="1708150"/>
          </a:xfrm>
        </p:grpSpPr>
        <p:sp>
          <p:nvSpPr>
            <p:cNvPr id="5" name="Freeform 5"/>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6" name="Group 6"/>
          <p:cNvGrpSpPr>
            <a:grpSpLocks noChangeAspect="1"/>
          </p:cNvGrpSpPr>
          <p:nvPr/>
        </p:nvGrpSpPr>
        <p:grpSpPr>
          <a:xfrm>
            <a:off x="7910889" y="4131020"/>
            <a:ext cx="372233" cy="372233"/>
            <a:chOff x="0" y="0"/>
            <a:chExt cx="1708150" cy="1708150"/>
          </a:xfrm>
        </p:grpSpPr>
        <p:sp>
          <p:nvSpPr>
            <p:cNvPr id="7"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8" name="Group 8"/>
          <p:cNvGrpSpPr>
            <a:grpSpLocks noChangeAspect="1"/>
          </p:cNvGrpSpPr>
          <p:nvPr/>
        </p:nvGrpSpPr>
        <p:grpSpPr>
          <a:xfrm>
            <a:off x="-1311593" y="3831908"/>
            <a:ext cx="2623185" cy="2623185"/>
            <a:chOff x="0" y="0"/>
            <a:chExt cx="1708150" cy="1708150"/>
          </a:xfrm>
        </p:grpSpPr>
        <p:sp>
          <p:nvSpPr>
            <p:cNvPr id="9" name="Freeform 9"/>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3C6489"/>
            </a:solidFill>
          </p:spPr>
        </p:sp>
      </p:grpSp>
      <p:grpSp>
        <p:nvGrpSpPr>
          <p:cNvPr id="10" name="Group 10"/>
          <p:cNvGrpSpPr/>
          <p:nvPr/>
        </p:nvGrpSpPr>
        <p:grpSpPr>
          <a:xfrm>
            <a:off x="514350" y="3165638"/>
            <a:ext cx="454163" cy="454163"/>
            <a:chOff x="0" y="0"/>
            <a:chExt cx="812800" cy="812800"/>
          </a:xfrm>
        </p:grpSpPr>
        <p:sp>
          <p:nvSpPr>
            <p:cNvPr id="11" name="Freeform 1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2" name="TextBox 12"/>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13" name="Group 13"/>
          <p:cNvGrpSpPr/>
          <p:nvPr/>
        </p:nvGrpSpPr>
        <p:grpSpPr>
          <a:xfrm>
            <a:off x="6295435" y="1093427"/>
            <a:ext cx="295763" cy="295763"/>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5" name="TextBox 15"/>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16" name="Group 16"/>
          <p:cNvGrpSpPr/>
          <p:nvPr/>
        </p:nvGrpSpPr>
        <p:grpSpPr>
          <a:xfrm>
            <a:off x="8175487" y="1523699"/>
            <a:ext cx="454163" cy="454163"/>
            <a:chOff x="0" y="0"/>
            <a:chExt cx="812800" cy="812800"/>
          </a:xfrm>
        </p:grpSpPr>
        <p:sp>
          <p:nvSpPr>
            <p:cNvPr id="17" name="Freeform 1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3C6489"/>
            </a:solidFill>
          </p:spPr>
        </p:sp>
        <p:sp>
          <p:nvSpPr>
            <p:cNvPr id="18" name="TextBox 18"/>
            <p:cNvSpPr txBox="1"/>
            <p:nvPr/>
          </p:nvSpPr>
          <p:spPr>
            <a:xfrm>
              <a:off x="76200" y="9525"/>
              <a:ext cx="660400" cy="727075"/>
            </a:xfrm>
            <a:prstGeom prst="rect">
              <a:avLst/>
            </a:prstGeom>
          </p:spPr>
          <p:txBody>
            <a:bodyPr lIns="25400" tIns="25400" rIns="25400" bIns="25400" rtlCol="0" anchor="ctr"/>
            <a:lstStyle/>
            <a:p>
              <a:pPr algn="ctr">
                <a:lnSpc>
                  <a:spcPts val="1868"/>
                </a:lnSpc>
              </a:pPr>
              <a:endParaRPr sz="700"/>
            </a:p>
          </p:txBody>
        </p:sp>
      </p:grpSp>
      <p:grpSp>
        <p:nvGrpSpPr>
          <p:cNvPr id="26" name="Group 25"/>
          <p:cNvGrpSpPr/>
          <p:nvPr/>
        </p:nvGrpSpPr>
        <p:grpSpPr>
          <a:xfrm>
            <a:off x="-720073" y="-379465"/>
            <a:ext cx="12596853" cy="2086379"/>
            <a:chOff x="-3267212" y="-7169514"/>
            <a:chExt cx="25193706" cy="4172758"/>
          </a:xfrm>
        </p:grpSpPr>
        <p:sp>
          <p:nvSpPr>
            <p:cNvPr id="27" name="Rectangle 31"/>
            <p:cNvSpPr/>
            <p:nvPr/>
          </p:nvSpPr>
          <p:spPr>
            <a:xfrm>
              <a:off x="-3267212" y="-7148084"/>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28" name="Rectangle 28"/>
            <p:cNvSpPr/>
            <p:nvPr/>
          </p:nvSpPr>
          <p:spPr>
            <a:xfrm>
              <a:off x="8454579" y="-7169514"/>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nvGrpSpPr>
          <p:cNvPr id="29" name="Group 28"/>
          <p:cNvGrpSpPr/>
          <p:nvPr/>
        </p:nvGrpSpPr>
        <p:grpSpPr>
          <a:xfrm>
            <a:off x="-796273" y="-4037439"/>
            <a:ext cx="12557591" cy="2117034"/>
            <a:chOff x="-3211757" y="-7593727"/>
            <a:chExt cx="25115181" cy="4234067"/>
          </a:xfrm>
        </p:grpSpPr>
        <p:sp>
          <p:nvSpPr>
            <p:cNvPr id="30" name="Rectangle 28"/>
            <p:cNvSpPr/>
            <p:nvPr/>
          </p:nvSpPr>
          <p:spPr>
            <a:xfrm>
              <a:off x="8431509" y="-7532418"/>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1" name="Rectangle 31"/>
            <p:cNvSpPr/>
            <p:nvPr/>
          </p:nvSpPr>
          <p:spPr>
            <a:xfrm>
              <a:off x="-3211757" y="-7593727"/>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grpSp>
        <p:nvGrpSpPr>
          <p:cNvPr id="32" name="Group 31"/>
          <p:cNvGrpSpPr/>
          <p:nvPr/>
        </p:nvGrpSpPr>
        <p:grpSpPr>
          <a:xfrm>
            <a:off x="-708576" y="-594834"/>
            <a:ext cx="12557591" cy="2117034"/>
            <a:chOff x="-3211757" y="-7593727"/>
            <a:chExt cx="25115181" cy="4234067"/>
          </a:xfrm>
        </p:grpSpPr>
        <p:sp>
          <p:nvSpPr>
            <p:cNvPr id="33" name="Rectangle 28"/>
            <p:cNvSpPr/>
            <p:nvPr/>
          </p:nvSpPr>
          <p:spPr>
            <a:xfrm>
              <a:off x="8431509" y="-7532418"/>
              <a:ext cx="13471915" cy="4172758"/>
            </a:xfrm>
            <a:custGeom>
              <a:avLst/>
              <a:gdLst>
                <a:gd name="connsiteX0" fmla="*/ 0 w 13030200"/>
                <a:gd name="connsiteY0" fmla="*/ 0 h 4261485"/>
                <a:gd name="connsiteX1" fmla="*/ 13030200 w 13030200"/>
                <a:gd name="connsiteY1" fmla="*/ 0 h 4261485"/>
                <a:gd name="connsiteX2" fmla="*/ 13030200 w 13030200"/>
                <a:gd name="connsiteY2" fmla="*/ 4261485 h 4261485"/>
                <a:gd name="connsiteX3" fmla="*/ 0 w 13030200"/>
                <a:gd name="connsiteY3" fmla="*/ 426148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3931920 w 13030200"/>
                <a:gd name="connsiteY3" fmla="*/ 328612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261485"/>
                <a:gd name="connsiteX1" fmla="*/ 13030200 w 13030200"/>
                <a:gd name="connsiteY1" fmla="*/ 0 h 4261485"/>
                <a:gd name="connsiteX2" fmla="*/ 13030200 w 13030200"/>
                <a:gd name="connsiteY2" fmla="*/ 4261485 h 4261485"/>
                <a:gd name="connsiteX3" fmla="*/ 5425440 w 13030200"/>
                <a:gd name="connsiteY3" fmla="*/ 3408045 h 4261485"/>
                <a:gd name="connsiteX4" fmla="*/ 0 w 13030200"/>
                <a:gd name="connsiteY4" fmla="*/ 0 h 4261485"/>
                <a:gd name="connsiteX0" fmla="*/ 0 w 13030200"/>
                <a:gd name="connsiteY0" fmla="*/ 0 h 4170045"/>
                <a:gd name="connsiteX1" fmla="*/ 13030200 w 13030200"/>
                <a:gd name="connsiteY1" fmla="*/ 0 h 4170045"/>
                <a:gd name="connsiteX2" fmla="*/ 10957560 w 13030200"/>
                <a:gd name="connsiteY2" fmla="*/ 4170045 h 4170045"/>
                <a:gd name="connsiteX3" fmla="*/ 5425440 w 13030200"/>
                <a:gd name="connsiteY3" fmla="*/ 3408045 h 4170045"/>
                <a:gd name="connsiteX4" fmla="*/ 0 w 13030200"/>
                <a:gd name="connsiteY4" fmla="*/ 0 h 4170045"/>
                <a:gd name="connsiteX0" fmla="*/ 0 w 13471915"/>
                <a:gd name="connsiteY0" fmla="*/ 0 h 4172758"/>
                <a:gd name="connsiteX1" fmla="*/ 13030200 w 13471915"/>
                <a:gd name="connsiteY1" fmla="*/ 0 h 4172758"/>
                <a:gd name="connsiteX2" fmla="*/ 10957560 w 13471915"/>
                <a:gd name="connsiteY2" fmla="*/ 4170045 h 4172758"/>
                <a:gd name="connsiteX3" fmla="*/ 5425440 w 13471915"/>
                <a:gd name="connsiteY3" fmla="*/ 3408045 h 4172758"/>
                <a:gd name="connsiteX4" fmla="*/ 0 w 13471915"/>
                <a:gd name="connsiteY4" fmla="*/ 0 h 4172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1915" h="4172758">
                  <a:moveTo>
                    <a:pt x="0" y="0"/>
                  </a:moveTo>
                  <a:lnTo>
                    <a:pt x="13030200" y="0"/>
                  </a:lnTo>
                  <a:cubicBezTo>
                    <a:pt x="12339320" y="1390015"/>
                    <a:pt x="15519400" y="4273550"/>
                    <a:pt x="10957560" y="4170045"/>
                  </a:cubicBezTo>
                  <a:cubicBezTo>
                    <a:pt x="7924800" y="3844925"/>
                    <a:pt x="9464040" y="3306445"/>
                    <a:pt x="5425440" y="3408045"/>
                  </a:cubicBezTo>
                  <a:cubicBezTo>
                    <a:pt x="3200400" y="3166110"/>
                    <a:pt x="1310640" y="1095375"/>
                    <a:pt x="0" y="0"/>
                  </a:cubicBez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34" name="Rectangle 31"/>
            <p:cNvSpPr/>
            <p:nvPr/>
          </p:nvSpPr>
          <p:spPr>
            <a:xfrm>
              <a:off x="-3211757" y="-7593727"/>
              <a:ext cx="13011075" cy="3852388"/>
            </a:xfrm>
            <a:custGeom>
              <a:avLst/>
              <a:gdLst>
                <a:gd name="connsiteX0" fmla="*/ 0 w 11430000"/>
                <a:gd name="connsiteY0" fmla="*/ 0 h 4500951"/>
                <a:gd name="connsiteX1" fmla="*/ 11430000 w 11430000"/>
                <a:gd name="connsiteY1" fmla="*/ 0 h 4500951"/>
                <a:gd name="connsiteX2" fmla="*/ 11430000 w 11430000"/>
                <a:gd name="connsiteY2" fmla="*/ 45009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1430000"/>
                <a:gd name="connsiteY0" fmla="*/ 0 h 4500951"/>
                <a:gd name="connsiteX1" fmla="*/ 11430000 w 11430000"/>
                <a:gd name="connsiteY1" fmla="*/ 0 h 4500951"/>
                <a:gd name="connsiteX2" fmla="*/ 7589520 w 11430000"/>
                <a:gd name="connsiteY2" fmla="*/ 4196151 h 4500951"/>
                <a:gd name="connsiteX3" fmla="*/ 0 w 11430000"/>
                <a:gd name="connsiteY3" fmla="*/ 4500951 h 4500951"/>
                <a:gd name="connsiteX4" fmla="*/ 0 w 11430000"/>
                <a:gd name="connsiteY4" fmla="*/ 0 h 450095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7589520 w 12252960"/>
                <a:gd name="connsiteY2" fmla="*/ 4226631 h 4531431"/>
                <a:gd name="connsiteX3" fmla="*/ 0 w 12252960"/>
                <a:gd name="connsiteY3" fmla="*/ 4531431 h 4531431"/>
                <a:gd name="connsiteX4" fmla="*/ 0 w 12252960"/>
                <a:gd name="connsiteY4" fmla="*/ 30480 h 4531431"/>
                <a:gd name="connsiteX0" fmla="*/ 0 w 12252960"/>
                <a:gd name="connsiteY0" fmla="*/ 30480 h 4531431"/>
                <a:gd name="connsiteX1" fmla="*/ 12252960 w 12252960"/>
                <a:gd name="connsiteY1" fmla="*/ 0 h 4531431"/>
                <a:gd name="connsiteX2" fmla="*/ 6705600 w 12252960"/>
                <a:gd name="connsiteY2" fmla="*/ 4257111 h 4531431"/>
                <a:gd name="connsiteX3" fmla="*/ 0 w 12252960"/>
                <a:gd name="connsiteY3" fmla="*/ 4531431 h 4531431"/>
                <a:gd name="connsiteX4" fmla="*/ 0 w 12252960"/>
                <a:gd name="connsiteY4" fmla="*/ 30480 h 453143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257111"/>
                <a:gd name="connsiteX1" fmla="*/ 12527280 w 12527280"/>
                <a:gd name="connsiteY1" fmla="*/ 0 h 4257111"/>
                <a:gd name="connsiteX2" fmla="*/ 6979920 w 12527280"/>
                <a:gd name="connsiteY2" fmla="*/ 4257111 h 4257111"/>
                <a:gd name="connsiteX3" fmla="*/ 0 w 12527280"/>
                <a:gd name="connsiteY3" fmla="*/ 3708471 h 4257111"/>
                <a:gd name="connsiteX4" fmla="*/ 274320 w 12527280"/>
                <a:gd name="connsiteY4" fmla="*/ 30480 h 4257111"/>
                <a:gd name="connsiteX0" fmla="*/ 274320 w 12527280"/>
                <a:gd name="connsiteY0" fmla="*/ 30480 h 4531431"/>
                <a:gd name="connsiteX1" fmla="*/ 12527280 w 12527280"/>
                <a:gd name="connsiteY1" fmla="*/ 0 h 4531431"/>
                <a:gd name="connsiteX2" fmla="*/ 6614160 w 12527280"/>
                <a:gd name="connsiteY2" fmla="*/ 4531431 h 4531431"/>
                <a:gd name="connsiteX3" fmla="*/ 0 w 12527280"/>
                <a:gd name="connsiteY3" fmla="*/ 3708471 h 4531431"/>
                <a:gd name="connsiteX4" fmla="*/ 274320 w 12527280"/>
                <a:gd name="connsiteY4" fmla="*/ 30480 h 4531431"/>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4613743"/>
                <a:gd name="connsiteX1" fmla="*/ 12527280 w 12527280"/>
                <a:gd name="connsiteY1" fmla="*/ 0 h 4613743"/>
                <a:gd name="connsiteX2" fmla="*/ 6614160 w 12527280"/>
                <a:gd name="connsiteY2" fmla="*/ 4531431 h 4613743"/>
                <a:gd name="connsiteX3" fmla="*/ 0 w 12527280"/>
                <a:gd name="connsiteY3" fmla="*/ 3708471 h 4613743"/>
                <a:gd name="connsiteX4" fmla="*/ 274320 w 12527280"/>
                <a:gd name="connsiteY4" fmla="*/ 30480 h 4613743"/>
                <a:gd name="connsiteX0" fmla="*/ 274320 w 12527280"/>
                <a:gd name="connsiteY0" fmla="*/ 30480 h 5034942"/>
                <a:gd name="connsiteX1" fmla="*/ 12527280 w 12527280"/>
                <a:gd name="connsiteY1" fmla="*/ 0 h 5034942"/>
                <a:gd name="connsiteX2" fmla="*/ 5242560 w 12527280"/>
                <a:gd name="connsiteY2" fmla="*/ 4988631 h 5034942"/>
                <a:gd name="connsiteX3" fmla="*/ 0 w 12527280"/>
                <a:gd name="connsiteY3" fmla="*/ 3708471 h 5034942"/>
                <a:gd name="connsiteX4" fmla="*/ 274320 w 12527280"/>
                <a:gd name="connsiteY4" fmla="*/ 30480 h 5034942"/>
                <a:gd name="connsiteX0" fmla="*/ 274320 w 12527280"/>
                <a:gd name="connsiteY0" fmla="*/ 30480 h 4988631"/>
                <a:gd name="connsiteX1" fmla="*/ 12527280 w 12527280"/>
                <a:gd name="connsiteY1" fmla="*/ 0 h 4988631"/>
                <a:gd name="connsiteX2" fmla="*/ 5242560 w 12527280"/>
                <a:gd name="connsiteY2" fmla="*/ 4988631 h 4988631"/>
                <a:gd name="connsiteX3" fmla="*/ 0 w 12527280"/>
                <a:gd name="connsiteY3" fmla="*/ 3708471 h 4988631"/>
                <a:gd name="connsiteX4" fmla="*/ 274320 w 12527280"/>
                <a:gd name="connsiteY4" fmla="*/ 30480 h 4988631"/>
                <a:gd name="connsiteX0" fmla="*/ 274320 w 12527280"/>
                <a:gd name="connsiteY0" fmla="*/ 30480 h 4500951"/>
                <a:gd name="connsiteX1" fmla="*/ 12527280 w 12527280"/>
                <a:gd name="connsiteY1" fmla="*/ 0 h 4500951"/>
                <a:gd name="connsiteX2" fmla="*/ 5821680 w 12527280"/>
                <a:gd name="connsiteY2" fmla="*/ 4500951 h 4500951"/>
                <a:gd name="connsiteX3" fmla="*/ 0 w 12527280"/>
                <a:gd name="connsiteY3" fmla="*/ 3708471 h 4500951"/>
                <a:gd name="connsiteX4" fmla="*/ 274320 w 12527280"/>
                <a:gd name="connsiteY4" fmla="*/ 30480 h 4500951"/>
                <a:gd name="connsiteX0" fmla="*/ 274320 w 13085765"/>
                <a:gd name="connsiteY0" fmla="*/ 30480 h 4500951"/>
                <a:gd name="connsiteX1" fmla="*/ 12527280 w 13085765"/>
                <a:gd name="connsiteY1" fmla="*/ 0 h 4500951"/>
                <a:gd name="connsiteX2" fmla="*/ 10535528 w 13085765"/>
                <a:gd name="connsiteY2" fmla="*/ 2079435 h 4500951"/>
                <a:gd name="connsiteX3" fmla="*/ 5821680 w 13085765"/>
                <a:gd name="connsiteY3" fmla="*/ 4500951 h 4500951"/>
                <a:gd name="connsiteX4" fmla="*/ 0 w 13085765"/>
                <a:gd name="connsiteY4" fmla="*/ 3708471 h 4500951"/>
                <a:gd name="connsiteX5" fmla="*/ 274320 w 13085765"/>
                <a:gd name="connsiteY5" fmla="*/ 30480 h 4500951"/>
                <a:gd name="connsiteX0" fmla="*/ 274320 w 13011075"/>
                <a:gd name="connsiteY0" fmla="*/ 30480 h 4500951"/>
                <a:gd name="connsiteX1" fmla="*/ 12527280 w 13011075"/>
                <a:gd name="connsiteY1" fmla="*/ 0 h 4500951"/>
                <a:gd name="connsiteX2" fmla="*/ 9925928 w 13011075"/>
                <a:gd name="connsiteY2" fmla="*/ 1317435 h 4500951"/>
                <a:gd name="connsiteX3" fmla="*/ 5821680 w 13011075"/>
                <a:gd name="connsiteY3" fmla="*/ 4500951 h 4500951"/>
                <a:gd name="connsiteX4" fmla="*/ 0 w 13011075"/>
                <a:gd name="connsiteY4" fmla="*/ 3708471 h 4500951"/>
                <a:gd name="connsiteX5" fmla="*/ 274320 w 13011075"/>
                <a:gd name="connsiteY5" fmla="*/ 30480 h 4500951"/>
                <a:gd name="connsiteX0" fmla="*/ 274320 w 13011075"/>
                <a:gd name="connsiteY0" fmla="*/ 30480 h 3817011"/>
                <a:gd name="connsiteX1" fmla="*/ 12527280 w 13011075"/>
                <a:gd name="connsiteY1" fmla="*/ 0 h 3817011"/>
                <a:gd name="connsiteX2" fmla="*/ 9925928 w 13011075"/>
                <a:gd name="connsiteY2" fmla="*/ 1317435 h 3817011"/>
                <a:gd name="connsiteX3" fmla="*/ 6736080 w 13011075"/>
                <a:gd name="connsiteY3" fmla="*/ 3617031 h 3817011"/>
                <a:gd name="connsiteX4" fmla="*/ 0 w 13011075"/>
                <a:gd name="connsiteY4" fmla="*/ 3708471 h 3817011"/>
                <a:gd name="connsiteX5" fmla="*/ 274320 w 13011075"/>
                <a:gd name="connsiteY5" fmla="*/ 30480 h 3817011"/>
                <a:gd name="connsiteX0" fmla="*/ 274320 w 13011075"/>
                <a:gd name="connsiteY0" fmla="*/ 30480 h 3876222"/>
                <a:gd name="connsiteX1" fmla="*/ 12527280 w 13011075"/>
                <a:gd name="connsiteY1" fmla="*/ 0 h 3876222"/>
                <a:gd name="connsiteX2" fmla="*/ 9925928 w 13011075"/>
                <a:gd name="connsiteY2" fmla="*/ 1317435 h 3876222"/>
                <a:gd name="connsiteX3" fmla="*/ 6736080 w 13011075"/>
                <a:gd name="connsiteY3" fmla="*/ 36170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650480 w 13011075"/>
                <a:gd name="connsiteY3" fmla="*/ 315983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76222"/>
                <a:gd name="connsiteX1" fmla="*/ 12527280 w 13011075"/>
                <a:gd name="connsiteY1" fmla="*/ 0 h 3876222"/>
                <a:gd name="connsiteX2" fmla="*/ 9925928 w 13011075"/>
                <a:gd name="connsiteY2" fmla="*/ 1317435 h 3876222"/>
                <a:gd name="connsiteX3" fmla="*/ 7924800 w 13011075"/>
                <a:gd name="connsiteY3" fmla="*/ 2763591 h 3876222"/>
                <a:gd name="connsiteX4" fmla="*/ 5841608 w 13011075"/>
                <a:gd name="connsiteY4" fmla="*/ 3420555 h 3876222"/>
                <a:gd name="connsiteX5" fmla="*/ 0 w 13011075"/>
                <a:gd name="connsiteY5" fmla="*/ 3708471 h 3876222"/>
                <a:gd name="connsiteX6" fmla="*/ 274320 w 13011075"/>
                <a:gd name="connsiteY6" fmla="*/ 30480 h 3876222"/>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24800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41608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 name="connsiteX0" fmla="*/ 274320 w 13011075"/>
                <a:gd name="connsiteY0" fmla="*/ 30480 h 3852388"/>
                <a:gd name="connsiteX1" fmla="*/ 12527280 w 13011075"/>
                <a:gd name="connsiteY1" fmla="*/ 0 h 3852388"/>
                <a:gd name="connsiteX2" fmla="*/ 9925928 w 13011075"/>
                <a:gd name="connsiteY2" fmla="*/ 1317435 h 3852388"/>
                <a:gd name="connsiteX3" fmla="*/ 7934848 w 13011075"/>
                <a:gd name="connsiteY3" fmla="*/ 2763591 h 3852388"/>
                <a:gd name="connsiteX4" fmla="*/ 5831559 w 13011075"/>
                <a:gd name="connsiteY4" fmla="*/ 3420555 h 3852388"/>
                <a:gd name="connsiteX5" fmla="*/ 2641208 w 13011075"/>
                <a:gd name="connsiteY5" fmla="*/ 2719514 h 3852388"/>
                <a:gd name="connsiteX6" fmla="*/ 0 w 13011075"/>
                <a:gd name="connsiteY6" fmla="*/ 3708471 h 3852388"/>
                <a:gd name="connsiteX7" fmla="*/ 274320 w 13011075"/>
                <a:gd name="connsiteY7" fmla="*/ 30480 h 38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11075" h="3852388">
                  <a:moveTo>
                    <a:pt x="274320" y="30480"/>
                  </a:moveTo>
                  <a:lnTo>
                    <a:pt x="12527280" y="0"/>
                  </a:lnTo>
                  <a:cubicBezTo>
                    <a:pt x="14212081" y="285612"/>
                    <a:pt x="11043528" y="567277"/>
                    <a:pt x="9925928" y="1317435"/>
                  </a:cubicBezTo>
                  <a:cubicBezTo>
                    <a:pt x="8808328" y="2067593"/>
                    <a:pt x="8485787" y="2384243"/>
                    <a:pt x="7934848" y="2763591"/>
                  </a:cubicBezTo>
                  <a:cubicBezTo>
                    <a:pt x="7314753" y="3103337"/>
                    <a:pt x="6707078" y="3443141"/>
                    <a:pt x="5831559" y="3420555"/>
                  </a:cubicBezTo>
                  <a:cubicBezTo>
                    <a:pt x="5055420" y="3412686"/>
                    <a:pt x="3614809" y="2671528"/>
                    <a:pt x="2641208" y="2719514"/>
                  </a:cubicBezTo>
                  <a:cubicBezTo>
                    <a:pt x="1667607" y="2767500"/>
                    <a:pt x="460521" y="4324283"/>
                    <a:pt x="0" y="3708471"/>
                  </a:cubicBezTo>
                  <a:lnTo>
                    <a:pt x="274320" y="30480"/>
                  </a:lnTo>
                  <a:close/>
                </a:path>
              </a:pathLst>
            </a:custGeom>
            <a:solidFill>
              <a:srgbClr val="3C6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grpSp>
      <p:pic>
        <p:nvPicPr>
          <p:cNvPr id="19" name="Picture 18"/>
          <p:cNvPicPr>
            <a:picLocks noChangeAspect="1"/>
          </p:cNvPicPr>
          <p:nvPr/>
        </p:nvPicPr>
        <p:blipFill>
          <a:blip r:embed="rId2"/>
          <a:stretch>
            <a:fillRect/>
          </a:stretch>
        </p:blipFill>
        <p:spPr>
          <a:xfrm>
            <a:off x="2199378" y="1668300"/>
            <a:ext cx="1650090" cy="1075795"/>
          </a:xfrm>
          <a:prstGeom prst="rect">
            <a:avLst/>
          </a:prstGeom>
        </p:spPr>
      </p:pic>
      <p:pic>
        <p:nvPicPr>
          <p:cNvPr id="20" name="Picture 19"/>
          <p:cNvPicPr>
            <a:picLocks noChangeAspect="1"/>
          </p:cNvPicPr>
          <p:nvPr/>
        </p:nvPicPr>
        <p:blipFill>
          <a:blip r:embed="rId3"/>
          <a:stretch>
            <a:fillRect/>
          </a:stretch>
        </p:blipFill>
        <p:spPr>
          <a:xfrm>
            <a:off x="1082361" y="1669117"/>
            <a:ext cx="1084289" cy="1535353"/>
          </a:xfrm>
          <a:prstGeom prst="rect">
            <a:avLst/>
          </a:prstGeom>
        </p:spPr>
      </p:pic>
      <p:pic>
        <p:nvPicPr>
          <p:cNvPr id="21" name="Picture 20"/>
          <p:cNvPicPr>
            <a:picLocks noChangeAspect="1"/>
          </p:cNvPicPr>
          <p:nvPr/>
        </p:nvPicPr>
        <p:blipFill>
          <a:blip r:embed="rId4"/>
          <a:stretch>
            <a:fillRect/>
          </a:stretch>
        </p:blipFill>
        <p:spPr>
          <a:xfrm>
            <a:off x="3942687" y="1664914"/>
            <a:ext cx="4340436" cy="1320029"/>
          </a:xfrm>
          <a:prstGeom prst="rect">
            <a:avLst/>
          </a:prstGeom>
        </p:spPr>
      </p:pic>
      <p:pic>
        <p:nvPicPr>
          <p:cNvPr id="22" name="Picture 21"/>
          <p:cNvPicPr>
            <a:picLocks noChangeAspect="1"/>
          </p:cNvPicPr>
          <p:nvPr/>
        </p:nvPicPr>
        <p:blipFill>
          <a:blip r:embed="rId5"/>
          <a:stretch>
            <a:fillRect/>
          </a:stretch>
        </p:blipFill>
        <p:spPr>
          <a:xfrm>
            <a:off x="1570103" y="3449408"/>
            <a:ext cx="5091559" cy="1329212"/>
          </a:xfrm>
          <a:prstGeom prst="rect">
            <a:avLst/>
          </a:prstGeom>
        </p:spPr>
      </p:pic>
    </p:spTree>
    <p:extLst>
      <p:ext uri="{BB962C8B-B14F-4D97-AF65-F5344CB8AC3E}">
        <p14:creationId xmlns:p14="http://schemas.microsoft.com/office/powerpoint/2010/main" val="2534550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895"/>
        <p:cNvGrpSpPr/>
        <p:nvPr/>
      </p:nvGrpSpPr>
      <p:grpSpPr>
        <a:xfrm>
          <a:off x="0" y="0"/>
          <a:ext cx="0" cy="0"/>
          <a:chOff x="0" y="0"/>
          <a:chExt cx="0" cy="0"/>
        </a:xfrm>
      </p:grpSpPr>
      <p:grpSp>
        <p:nvGrpSpPr>
          <p:cNvPr id="1896" name="Google Shape;1896;p37"/>
          <p:cNvGrpSpPr/>
          <p:nvPr/>
        </p:nvGrpSpPr>
        <p:grpSpPr>
          <a:xfrm>
            <a:off x="3994600" y="1510458"/>
            <a:ext cx="4430405" cy="3106404"/>
            <a:chOff x="862950" y="825025"/>
            <a:chExt cx="5862650" cy="4111175"/>
          </a:xfrm>
        </p:grpSpPr>
        <p:sp>
          <p:nvSpPr>
            <p:cNvPr id="1897" name="Google Shape;1897;p37"/>
            <p:cNvSpPr/>
            <p:nvPr/>
          </p:nvSpPr>
          <p:spPr>
            <a:xfrm>
              <a:off x="918425" y="825150"/>
              <a:ext cx="5767425" cy="4096250"/>
            </a:xfrm>
            <a:custGeom>
              <a:avLst/>
              <a:gdLst/>
              <a:ahLst/>
              <a:cxnLst/>
              <a:rect l="l" t="t" r="r" b="b"/>
              <a:pathLst>
                <a:path w="230697" h="163850" extrusionOk="0">
                  <a:moveTo>
                    <a:pt x="157748" y="1"/>
                  </a:moveTo>
                  <a:cubicBezTo>
                    <a:pt x="156487" y="1"/>
                    <a:pt x="155194" y="95"/>
                    <a:pt x="153872" y="291"/>
                  </a:cubicBezTo>
                  <a:cubicBezTo>
                    <a:pt x="131689" y="3582"/>
                    <a:pt x="136421" y="27649"/>
                    <a:pt x="125589" y="31421"/>
                  </a:cubicBezTo>
                  <a:cubicBezTo>
                    <a:pt x="124301" y="31860"/>
                    <a:pt x="122988" y="32046"/>
                    <a:pt x="121638" y="32046"/>
                  </a:cubicBezTo>
                  <a:cubicBezTo>
                    <a:pt x="117991" y="32046"/>
                    <a:pt x="114070" y="30689"/>
                    <a:pt x="109618" y="29313"/>
                  </a:cubicBezTo>
                  <a:cubicBezTo>
                    <a:pt x="105161" y="27947"/>
                    <a:pt x="100166" y="26580"/>
                    <a:pt x="94401" y="26580"/>
                  </a:cubicBezTo>
                  <a:cubicBezTo>
                    <a:pt x="90029" y="26580"/>
                    <a:pt x="85215" y="27366"/>
                    <a:pt x="79856" y="29535"/>
                  </a:cubicBezTo>
                  <a:cubicBezTo>
                    <a:pt x="57711" y="38482"/>
                    <a:pt x="59116" y="97413"/>
                    <a:pt x="48727" y="108726"/>
                  </a:cubicBezTo>
                  <a:cubicBezTo>
                    <a:pt x="46581" y="111073"/>
                    <a:pt x="44248" y="111937"/>
                    <a:pt x="41789" y="111937"/>
                  </a:cubicBezTo>
                  <a:cubicBezTo>
                    <a:pt x="38362" y="111937"/>
                    <a:pt x="34691" y="110258"/>
                    <a:pt x="30944" y="108578"/>
                  </a:cubicBezTo>
                  <a:cubicBezTo>
                    <a:pt x="27216" y="106926"/>
                    <a:pt x="23402" y="105261"/>
                    <a:pt x="19663" y="105261"/>
                  </a:cubicBezTo>
                  <a:cubicBezTo>
                    <a:pt x="16878" y="105261"/>
                    <a:pt x="14134" y="106185"/>
                    <a:pt x="11498" y="108726"/>
                  </a:cubicBezTo>
                  <a:cubicBezTo>
                    <a:pt x="0" y="119781"/>
                    <a:pt x="555" y="159117"/>
                    <a:pt x="665" y="163850"/>
                  </a:cubicBezTo>
                  <a:lnTo>
                    <a:pt x="230696" y="163850"/>
                  </a:lnTo>
                  <a:lnTo>
                    <a:pt x="230696" y="157269"/>
                  </a:lnTo>
                  <a:cubicBezTo>
                    <a:pt x="230696" y="152093"/>
                    <a:pt x="226445" y="147361"/>
                    <a:pt x="222193" y="142665"/>
                  </a:cubicBezTo>
                  <a:cubicBezTo>
                    <a:pt x="217979" y="137933"/>
                    <a:pt x="225521" y="112941"/>
                    <a:pt x="225964" y="92200"/>
                  </a:cubicBezTo>
                  <a:cubicBezTo>
                    <a:pt x="226328" y="76521"/>
                    <a:pt x="220754" y="69209"/>
                    <a:pt x="214147" y="69209"/>
                  </a:cubicBezTo>
                  <a:cubicBezTo>
                    <a:pt x="212014" y="69209"/>
                    <a:pt x="209773" y="69971"/>
                    <a:pt x="207590" y="71460"/>
                  </a:cubicBezTo>
                  <a:cubicBezTo>
                    <a:pt x="206669" y="72091"/>
                    <a:pt x="205798" y="72383"/>
                    <a:pt x="204974" y="72383"/>
                  </a:cubicBezTo>
                  <a:cubicBezTo>
                    <a:pt x="197788" y="72383"/>
                    <a:pt x="194148" y="50178"/>
                    <a:pt x="192025" y="37077"/>
                  </a:cubicBezTo>
                  <a:cubicBezTo>
                    <a:pt x="189835" y="23311"/>
                    <a:pt x="177610" y="1"/>
                    <a:pt x="157748"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898" name="Google Shape;1898;p37"/>
            <p:cNvSpPr/>
            <p:nvPr/>
          </p:nvSpPr>
          <p:spPr>
            <a:xfrm>
              <a:off x="934125" y="825025"/>
              <a:ext cx="5751725" cy="4096375"/>
            </a:xfrm>
            <a:custGeom>
              <a:avLst/>
              <a:gdLst/>
              <a:ahLst/>
              <a:cxnLst/>
              <a:rect l="l" t="t" r="r" b="b"/>
              <a:pathLst>
                <a:path w="230069" h="163855" extrusionOk="0">
                  <a:moveTo>
                    <a:pt x="157126" y="0"/>
                  </a:moveTo>
                  <a:cubicBezTo>
                    <a:pt x="155832" y="0"/>
                    <a:pt x="154538" y="111"/>
                    <a:pt x="153244" y="296"/>
                  </a:cubicBezTo>
                  <a:cubicBezTo>
                    <a:pt x="131061" y="3587"/>
                    <a:pt x="135793" y="27654"/>
                    <a:pt x="124961" y="31426"/>
                  </a:cubicBezTo>
                  <a:cubicBezTo>
                    <a:pt x="123667" y="31869"/>
                    <a:pt x="122336" y="32054"/>
                    <a:pt x="121005" y="32054"/>
                  </a:cubicBezTo>
                  <a:cubicBezTo>
                    <a:pt x="117345" y="32054"/>
                    <a:pt x="113426" y="30686"/>
                    <a:pt x="108990" y="29318"/>
                  </a:cubicBezTo>
                  <a:cubicBezTo>
                    <a:pt x="108287" y="29096"/>
                    <a:pt x="107585" y="28875"/>
                    <a:pt x="106882" y="28690"/>
                  </a:cubicBezTo>
                  <a:lnTo>
                    <a:pt x="106882" y="34161"/>
                  </a:lnTo>
                  <a:lnTo>
                    <a:pt x="139380" y="34161"/>
                  </a:lnTo>
                  <a:cubicBezTo>
                    <a:pt x="139454" y="34161"/>
                    <a:pt x="139528" y="34198"/>
                    <a:pt x="139601" y="34272"/>
                  </a:cubicBezTo>
                  <a:cubicBezTo>
                    <a:pt x="139638" y="34346"/>
                    <a:pt x="139675" y="34420"/>
                    <a:pt x="139675" y="34494"/>
                  </a:cubicBezTo>
                  <a:lnTo>
                    <a:pt x="139675" y="75236"/>
                  </a:lnTo>
                  <a:cubicBezTo>
                    <a:pt x="140230" y="75236"/>
                    <a:pt x="140785" y="75199"/>
                    <a:pt x="141376" y="75199"/>
                  </a:cubicBezTo>
                  <a:cubicBezTo>
                    <a:pt x="144186" y="75162"/>
                    <a:pt x="147735" y="75088"/>
                    <a:pt x="151247" y="75014"/>
                  </a:cubicBezTo>
                  <a:lnTo>
                    <a:pt x="151321" y="75014"/>
                  </a:lnTo>
                  <a:cubicBezTo>
                    <a:pt x="153133" y="71539"/>
                    <a:pt x="154316" y="68544"/>
                    <a:pt x="155425" y="65993"/>
                  </a:cubicBezTo>
                  <a:cubicBezTo>
                    <a:pt x="156645" y="63072"/>
                    <a:pt x="157015" y="60374"/>
                    <a:pt x="157015" y="58192"/>
                  </a:cubicBezTo>
                  <a:cubicBezTo>
                    <a:pt x="157015" y="55715"/>
                    <a:pt x="156571" y="53978"/>
                    <a:pt x="156423" y="53534"/>
                  </a:cubicBezTo>
                  <a:cubicBezTo>
                    <a:pt x="155314" y="52905"/>
                    <a:pt x="153281" y="51353"/>
                    <a:pt x="151469" y="49134"/>
                  </a:cubicBezTo>
                  <a:cubicBezTo>
                    <a:pt x="149584" y="46805"/>
                    <a:pt x="147957" y="43811"/>
                    <a:pt x="147957" y="40446"/>
                  </a:cubicBezTo>
                  <a:cubicBezTo>
                    <a:pt x="147957" y="39485"/>
                    <a:pt x="148105" y="38524"/>
                    <a:pt x="148400" y="37526"/>
                  </a:cubicBezTo>
                  <a:cubicBezTo>
                    <a:pt x="148807" y="36047"/>
                    <a:pt x="149694" y="34864"/>
                    <a:pt x="150877" y="33976"/>
                  </a:cubicBezTo>
                  <a:cubicBezTo>
                    <a:pt x="152061" y="33052"/>
                    <a:pt x="153502" y="32424"/>
                    <a:pt x="155018" y="31980"/>
                  </a:cubicBezTo>
                  <a:cubicBezTo>
                    <a:pt x="158124" y="31056"/>
                    <a:pt x="161562" y="30834"/>
                    <a:pt x="164002" y="30834"/>
                  </a:cubicBezTo>
                  <a:cubicBezTo>
                    <a:pt x="165555" y="30834"/>
                    <a:pt x="166738" y="30945"/>
                    <a:pt x="167108" y="30945"/>
                  </a:cubicBezTo>
                  <a:cubicBezTo>
                    <a:pt x="167773" y="30353"/>
                    <a:pt x="171692" y="27285"/>
                    <a:pt x="179419" y="27285"/>
                  </a:cubicBezTo>
                  <a:cubicBezTo>
                    <a:pt x="180454" y="27285"/>
                    <a:pt x="181526" y="27322"/>
                    <a:pt x="182709" y="27470"/>
                  </a:cubicBezTo>
                  <a:cubicBezTo>
                    <a:pt x="185223" y="27728"/>
                    <a:pt x="187478" y="28468"/>
                    <a:pt x="189475" y="29577"/>
                  </a:cubicBezTo>
                  <a:cubicBezTo>
                    <a:pt x="184927" y="16231"/>
                    <a:pt x="173688" y="0"/>
                    <a:pt x="157126" y="0"/>
                  </a:cubicBezTo>
                  <a:close/>
                  <a:moveTo>
                    <a:pt x="213543" y="69210"/>
                  </a:moveTo>
                  <a:cubicBezTo>
                    <a:pt x="211398" y="69210"/>
                    <a:pt x="209143" y="69986"/>
                    <a:pt x="206962" y="71465"/>
                  </a:cubicBezTo>
                  <a:cubicBezTo>
                    <a:pt x="206038" y="72093"/>
                    <a:pt x="205187" y="72389"/>
                    <a:pt x="204337" y="72389"/>
                  </a:cubicBezTo>
                  <a:cubicBezTo>
                    <a:pt x="202932" y="72389"/>
                    <a:pt x="201675" y="71539"/>
                    <a:pt x="200492" y="70060"/>
                  </a:cubicBezTo>
                  <a:cubicBezTo>
                    <a:pt x="200344" y="72352"/>
                    <a:pt x="200085" y="74829"/>
                    <a:pt x="199716" y="77528"/>
                  </a:cubicBezTo>
                  <a:cubicBezTo>
                    <a:pt x="200825" y="77713"/>
                    <a:pt x="201934" y="77898"/>
                    <a:pt x="203043" y="78120"/>
                  </a:cubicBezTo>
                  <a:cubicBezTo>
                    <a:pt x="207442" y="78896"/>
                    <a:pt x="211583" y="79783"/>
                    <a:pt x="213764" y="80744"/>
                  </a:cubicBezTo>
                  <a:cubicBezTo>
                    <a:pt x="214393" y="81003"/>
                    <a:pt x="214874" y="81262"/>
                    <a:pt x="215132" y="81595"/>
                  </a:cubicBezTo>
                  <a:cubicBezTo>
                    <a:pt x="215317" y="81780"/>
                    <a:pt x="215428" y="82001"/>
                    <a:pt x="215428" y="82223"/>
                  </a:cubicBezTo>
                  <a:lnTo>
                    <a:pt x="215428" y="82260"/>
                  </a:lnTo>
                  <a:cubicBezTo>
                    <a:pt x="215391" y="82445"/>
                    <a:pt x="215354" y="82704"/>
                    <a:pt x="215280" y="83074"/>
                  </a:cubicBezTo>
                  <a:cubicBezTo>
                    <a:pt x="215206" y="83443"/>
                    <a:pt x="215095" y="83887"/>
                    <a:pt x="214948" y="84442"/>
                  </a:cubicBezTo>
                  <a:cubicBezTo>
                    <a:pt x="214652" y="85551"/>
                    <a:pt x="214282" y="86992"/>
                    <a:pt x="213801" y="88693"/>
                  </a:cubicBezTo>
                  <a:cubicBezTo>
                    <a:pt x="212840" y="92094"/>
                    <a:pt x="211583" y="96494"/>
                    <a:pt x="210289" y="101078"/>
                  </a:cubicBezTo>
                  <a:cubicBezTo>
                    <a:pt x="209883" y="102520"/>
                    <a:pt x="209476" y="103962"/>
                    <a:pt x="209069" y="105441"/>
                  </a:cubicBezTo>
                  <a:lnTo>
                    <a:pt x="224264" y="105885"/>
                  </a:lnTo>
                  <a:cubicBezTo>
                    <a:pt x="224819" y="101300"/>
                    <a:pt x="225262" y="96642"/>
                    <a:pt x="225336" y="92205"/>
                  </a:cubicBezTo>
                  <a:cubicBezTo>
                    <a:pt x="225373" y="91762"/>
                    <a:pt x="225373" y="91281"/>
                    <a:pt x="225373" y="90800"/>
                  </a:cubicBezTo>
                  <a:cubicBezTo>
                    <a:pt x="225373" y="76123"/>
                    <a:pt x="219939" y="69210"/>
                    <a:pt x="213543" y="69210"/>
                  </a:cubicBezTo>
                  <a:close/>
                  <a:moveTo>
                    <a:pt x="19040" y="105256"/>
                  </a:moveTo>
                  <a:cubicBezTo>
                    <a:pt x="16231" y="105256"/>
                    <a:pt x="13495" y="106180"/>
                    <a:pt x="10870" y="108731"/>
                  </a:cubicBezTo>
                  <a:cubicBezTo>
                    <a:pt x="925" y="118307"/>
                    <a:pt x="1" y="149029"/>
                    <a:pt x="1" y="160231"/>
                  </a:cubicBezTo>
                  <a:cubicBezTo>
                    <a:pt x="1" y="161969"/>
                    <a:pt x="1" y="163226"/>
                    <a:pt x="37" y="163855"/>
                  </a:cubicBezTo>
                  <a:lnTo>
                    <a:pt x="118972" y="163855"/>
                  </a:lnTo>
                  <a:cubicBezTo>
                    <a:pt x="119489" y="162635"/>
                    <a:pt x="120525" y="160195"/>
                    <a:pt x="121819" y="156904"/>
                  </a:cubicBezTo>
                  <a:lnTo>
                    <a:pt x="121819" y="156904"/>
                  </a:lnTo>
                  <a:cubicBezTo>
                    <a:pt x="118343" y="157717"/>
                    <a:pt x="115866" y="158087"/>
                    <a:pt x="114129" y="158087"/>
                  </a:cubicBezTo>
                  <a:cubicBezTo>
                    <a:pt x="113278" y="158087"/>
                    <a:pt x="112613" y="158013"/>
                    <a:pt x="112058" y="157828"/>
                  </a:cubicBezTo>
                  <a:cubicBezTo>
                    <a:pt x="111541" y="157644"/>
                    <a:pt x="111171" y="157348"/>
                    <a:pt x="110949" y="156978"/>
                  </a:cubicBezTo>
                  <a:cubicBezTo>
                    <a:pt x="110801" y="156719"/>
                    <a:pt x="110727" y="156423"/>
                    <a:pt x="110727" y="156128"/>
                  </a:cubicBezTo>
                  <a:cubicBezTo>
                    <a:pt x="110727" y="156017"/>
                    <a:pt x="110764" y="155906"/>
                    <a:pt x="110801" y="155758"/>
                  </a:cubicBezTo>
                  <a:cubicBezTo>
                    <a:pt x="110801" y="155573"/>
                    <a:pt x="110875" y="155351"/>
                    <a:pt x="110912" y="155056"/>
                  </a:cubicBezTo>
                  <a:cubicBezTo>
                    <a:pt x="111023" y="154501"/>
                    <a:pt x="111208" y="153725"/>
                    <a:pt x="111430" y="152800"/>
                  </a:cubicBezTo>
                  <a:cubicBezTo>
                    <a:pt x="111541" y="152394"/>
                    <a:pt x="111652" y="151950"/>
                    <a:pt x="111763" y="151469"/>
                  </a:cubicBezTo>
                  <a:cubicBezTo>
                    <a:pt x="109175" y="150065"/>
                    <a:pt x="107289" y="148142"/>
                    <a:pt x="106069" y="145739"/>
                  </a:cubicBezTo>
                  <a:cubicBezTo>
                    <a:pt x="105034" y="143595"/>
                    <a:pt x="104516" y="141007"/>
                    <a:pt x="104516" y="138049"/>
                  </a:cubicBezTo>
                  <a:cubicBezTo>
                    <a:pt x="104516" y="136385"/>
                    <a:pt x="104664" y="134574"/>
                    <a:pt x="104960" y="132614"/>
                  </a:cubicBezTo>
                  <a:cubicBezTo>
                    <a:pt x="106254" y="124703"/>
                    <a:pt x="109544" y="119268"/>
                    <a:pt x="114461" y="114055"/>
                  </a:cubicBezTo>
                  <a:cubicBezTo>
                    <a:pt x="114868" y="113648"/>
                    <a:pt x="115238" y="113242"/>
                    <a:pt x="115645" y="112835"/>
                  </a:cubicBezTo>
                  <a:lnTo>
                    <a:pt x="23810" y="112835"/>
                  </a:lnTo>
                  <a:cubicBezTo>
                    <a:pt x="23699" y="112835"/>
                    <a:pt x="23625" y="112798"/>
                    <a:pt x="23588" y="112761"/>
                  </a:cubicBezTo>
                  <a:cubicBezTo>
                    <a:pt x="23514" y="112687"/>
                    <a:pt x="23477" y="112613"/>
                    <a:pt x="23477" y="112539"/>
                  </a:cubicBezTo>
                  <a:lnTo>
                    <a:pt x="23477" y="105958"/>
                  </a:lnTo>
                  <a:cubicBezTo>
                    <a:pt x="21998" y="105515"/>
                    <a:pt x="20519" y="105256"/>
                    <a:pt x="19040" y="105256"/>
                  </a:cubicBezTo>
                  <a:close/>
                  <a:moveTo>
                    <a:pt x="220382" y="134056"/>
                  </a:moveTo>
                  <a:lnTo>
                    <a:pt x="220382" y="134056"/>
                  </a:lnTo>
                  <a:cubicBezTo>
                    <a:pt x="219902" y="134204"/>
                    <a:pt x="219458" y="134241"/>
                    <a:pt x="219199" y="134278"/>
                  </a:cubicBezTo>
                  <a:cubicBezTo>
                    <a:pt x="219162" y="134278"/>
                    <a:pt x="219125" y="134278"/>
                    <a:pt x="219088" y="134241"/>
                  </a:cubicBezTo>
                  <a:lnTo>
                    <a:pt x="212581" y="147624"/>
                  </a:lnTo>
                  <a:cubicBezTo>
                    <a:pt x="212286" y="148290"/>
                    <a:pt x="211620" y="148697"/>
                    <a:pt x="210881" y="148697"/>
                  </a:cubicBezTo>
                  <a:lnTo>
                    <a:pt x="206481" y="148660"/>
                  </a:lnTo>
                  <a:cubicBezTo>
                    <a:pt x="205446" y="149880"/>
                    <a:pt x="204411" y="151026"/>
                    <a:pt x="203450" y="152061"/>
                  </a:cubicBezTo>
                  <a:cubicBezTo>
                    <a:pt x="201453" y="154279"/>
                    <a:pt x="199716" y="156017"/>
                    <a:pt x="198570" y="156793"/>
                  </a:cubicBezTo>
                  <a:cubicBezTo>
                    <a:pt x="197608" y="157459"/>
                    <a:pt x="196869" y="157939"/>
                    <a:pt x="196277" y="158272"/>
                  </a:cubicBezTo>
                  <a:cubicBezTo>
                    <a:pt x="195649" y="158605"/>
                    <a:pt x="195205" y="158753"/>
                    <a:pt x="194762" y="158790"/>
                  </a:cubicBezTo>
                  <a:cubicBezTo>
                    <a:pt x="194503" y="158790"/>
                    <a:pt x="194244" y="158679"/>
                    <a:pt x="194022" y="158531"/>
                  </a:cubicBezTo>
                  <a:cubicBezTo>
                    <a:pt x="193837" y="158346"/>
                    <a:pt x="193689" y="158124"/>
                    <a:pt x="193542" y="157865"/>
                  </a:cubicBezTo>
                  <a:cubicBezTo>
                    <a:pt x="193283" y="157348"/>
                    <a:pt x="193098" y="156608"/>
                    <a:pt x="192765" y="155684"/>
                  </a:cubicBezTo>
                  <a:cubicBezTo>
                    <a:pt x="192469" y="154760"/>
                    <a:pt x="192248" y="153392"/>
                    <a:pt x="192100" y="151839"/>
                  </a:cubicBezTo>
                  <a:cubicBezTo>
                    <a:pt x="191989" y="150804"/>
                    <a:pt x="191915" y="149658"/>
                    <a:pt x="191841" y="148549"/>
                  </a:cubicBezTo>
                  <a:lnTo>
                    <a:pt x="189734" y="148512"/>
                  </a:lnTo>
                  <a:cubicBezTo>
                    <a:pt x="188403" y="153762"/>
                    <a:pt x="187996" y="157681"/>
                    <a:pt x="187996" y="160453"/>
                  </a:cubicBezTo>
                  <a:cubicBezTo>
                    <a:pt x="187996" y="161895"/>
                    <a:pt x="188107" y="163004"/>
                    <a:pt x="188255" y="163855"/>
                  </a:cubicBezTo>
                  <a:lnTo>
                    <a:pt x="230068" y="163855"/>
                  </a:lnTo>
                  <a:lnTo>
                    <a:pt x="230068" y="157274"/>
                  </a:lnTo>
                  <a:cubicBezTo>
                    <a:pt x="230068" y="152098"/>
                    <a:pt x="225817" y="147366"/>
                    <a:pt x="221565" y="142670"/>
                  </a:cubicBezTo>
                  <a:cubicBezTo>
                    <a:pt x="220641" y="141635"/>
                    <a:pt x="220271" y="139639"/>
                    <a:pt x="220271" y="136940"/>
                  </a:cubicBezTo>
                  <a:cubicBezTo>
                    <a:pt x="220271" y="136053"/>
                    <a:pt x="220308" y="135091"/>
                    <a:pt x="220382" y="134056"/>
                  </a:cubicBezTo>
                  <a:close/>
                </a:path>
              </a:pathLst>
            </a:custGeom>
            <a:solidFill>
              <a:schemeClr val="accent3"/>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899" name="Google Shape;1899;p37"/>
            <p:cNvSpPr/>
            <p:nvPr/>
          </p:nvSpPr>
          <p:spPr>
            <a:xfrm>
              <a:off x="3502650" y="1514850"/>
              <a:ext cx="2496475" cy="3178275"/>
            </a:xfrm>
            <a:custGeom>
              <a:avLst/>
              <a:gdLst/>
              <a:ahLst/>
              <a:cxnLst/>
              <a:rect l="l" t="t" r="r" b="b"/>
              <a:pathLst>
                <a:path w="99859" h="127131" extrusionOk="0">
                  <a:moveTo>
                    <a:pt x="76699" y="1"/>
                  </a:moveTo>
                  <a:cubicBezTo>
                    <a:pt x="68279" y="1"/>
                    <a:pt x="64477" y="3685"/>
                    <a:pt x="64477" y="3685"/>
                  </a:cubicBezTo>
                  <a:cubicBezTo>
                    <a:pt x="64477" y="3685"/>
                    <a:pt x="63173" y="3560"/>
                    <a:pt x="61252" y="3560"/>
                  </a:cubicBezTo>
                  <a:cubicBezTo>
                    <a:pt x="56382" y="3560"/>
                    <a:pt x="47546" y="4359"/>
                    <a:pt x="45955" y="10007"/>
                  </a:cubicBezTo>
                  <a:cubicBezTo>
                    <a:pt x="43700" y="17881"/>
                    <a:pt x="51538" y="24462"/>
                    <a:pt x="53941" y="25719"/>
                  </a:cubicBezTo>
                  <a:cubicBezTo>
                    <a:pt x="53941" y="25719"/>
                    <a:pt x="55900" y="31634"/>
                    <a:pt x="52943" y="38511"/>
                  </a:cubicBezTo>
                  <a:cubicBezTo>
                    <a:pt x="50022" y="45388"/>
                    <a:pt x="46510" y="55518"/>
                    <a:pt x="31056" y="69566"/>
                  </a:cubicBezTo>
                  <a:cubicBezTo>
                    <a:pt x="15602" y="83615"/>
                    <a:pt x="5066" y="89346"/>
                    <a:pt x="2552" y="105095"/>
                  </a:cubicBezTo>
                  <a:cubicBezTo>
                    <a:pt x="1" y="120808"/>
                    <a:pt x="7580" y="126982"/>
                    <a:pt x="28394" y="127130"/>
                  </a:cubicBezTo>
                  <a:cubicBezTo>
                    <a:pt x="28456" y="127130"/>
                    <a:pt x="28519" y="127131"/>
                    <a:pt x="28581" y="127131"/>
                  </a:cubicBezTo>
                  <a:cubicBezTo>
                    <a:pt x="49374" y="127131"/>
                    <a:pt x="83025" y="102605"/>
                    <a:pt x="91429" y="73485"/>
                  </a:cubicBezTo>
                  <a:cubicBezTo>
                    <a:pt x="99858" y="44278"/>
                    <a:pt x="97492" y="32189"/>
                    <a:pt x="97049" y="21652"/>
                  </a:cubicBezTo>
                  <a:cubicBezTo>
                    <a:pt x="96642" y="11116"/>
                    <a:pt x="90616" y="1282"/>
                    <a:pt x="79931" y="172"/>
                  </a:cubicBezTo>
                  <a:cubicBezTo>
                    <a:pt x="78786" y="54"/>
                    <a:pt x="77710" y="1"/>
                    <a:pt x="76699"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0" name="Google Shape;1900;p37"/>
            <p:cNvSpPr/>
            <p:nvPr/>
          </p:nvSpPr>
          <p:spPr>
            <a:xfrm>
              <a:off x="3547025" y="1507125"/>
              <a:ext cx="2405875" cy="3193375"/>
            </a:xfrm>
            <a:custGeom>
              <a:avLst/>
              <a:gdLst/>
              <a:ahLst/>
              <a:cxnLst/>
              <a:rect l="l" t="t" r="r" b="b"/>
              <a:pathLst>
                <a:path w="96235" h="127735" extrusionOk="0">
                  <a:moveTo>
                    <a:pt x="74903" y="629"/>
                  </a:moveTo>
                  <a:cubicBezTo>
                    <a:pt x="75901" y="629"/>
                    <a:pt x="76973" y="666"/>
                    <a:pt x="78119" y="777"/>
                  </a:cubicBezTo>
                  <a:cubicBezTo>
                    <a:pt x="83369" y="1332"/>
                    <a:pt x="87473" y="4031"/>
                    <a:pt x="90320" y="7876"/>
                  </a:cubicBezTo>
                  <a:cubicBezTo>
                    <a:pt x="93166" y="11721"/>
                    <a:pt x="94756" y="16785"/>
                    <a:pt x="94978" y="21998"/>
                  </a:cubicBezTo>
                  <a:cubicBezTo>
                    <a:pt x="95126" y="26139"/>
                    <a:pt x="95606" y="30465"/>
                    <a:pt x="95606" y="36010"/>
                  </a:cubicBezTo>
                  <a:cubicBezTo>
                    <a:pt x="95606" y="44587"/>
                    <a:pt x="94497" y="55974"/>
                    <a:pt x="89358" y="73720"/>
                  </a:cubicBezTo>
                  <a:cubicBezTo>
                    <a:pt x="85181" y="88176"/>
                    <a:pt x="74718" y="101559"/>
                    <a:pt x="62666" y="111320"/>
                  </a:cubicBezTo>
                  <a:cubicBezTo>
                    <a:pt x="50650" y="121043"/>
                    <a:pt x="37082" y="127143"/>
                    <a:pt x="26767" y="127143"/>
                  </a:cubicBezTo>
                  <a:lnTo>
                    <a:pt x="26619" y="127143"/>
                  </a:lnTo>
                  <a:cubicBezTo>
                    <a:pt x="17524" y="127069"/>
                    <a:pt x="10981" y="125849"/>
                    <a:pt x="6766" y="123224"/>
                  </a:cubicBezTo>
                  <a:cubicBezTo>
                    <a:pt x="4659" y="121893"/>
                    <a:pt x="3143" y="120230"/>
                    <a:pt x="2108" y="118196"/>
                  </a:cubicBezTo>
                  <a:cubicBezTo>
                    <a:pt x="1109" y="116126"/>
                    <a:pt x="592" y="113686"/>
                    <a:pt x="592" y="110765"/>
                  </a:cubicBezTo>
                  <a:cubicBezTo>
                    <a:pt x="592" y="109138"/>
                    <a:pt x="777" y="107364"/>
                    <a:pt x="1073" y="105441"/>
                  </a:cubicBezTo>
                  <a:cubicBezTo>
                    <a:pt x="2330" y="97640"/>
                    <a:pt x="5546" y="92354"/>
                    <a:pt x="10389" y="87215"/>
                  </a:cubicBezTo>
                  <a:cubicBezTo>
                    <a:pt x="15269" y="82076"/>
                    <a:pt x="21739" y="77122"/>
                    <a:pt x="29466" y="70097"/>
                  </a:cubicBezTo>
                  <a:cubicBezTo>
                    <a:pt x="44957" y="56011"/>
                    <a:pt x="48543" y="45808"/>
                    <a:pt x="51463" y="38931"/>
                  </a:cubicBezTo>
                  <a:cubicBezTo>
                    <a:pt x="52757" y="35936"/>
                    <a:pt x="53127" y="33127"/>
                    <a:pt x="53127" y="30908"/>
                  </a:cubicBezTo>
                  <a:cubicBezTo>
                    <a:pt x="53127" y="27914"/>
                    <a:pt x="52462" y="25954"/>
                    <a:pt x="52462" y="25954"/>
                  </a:cubicBezTo>
                  <a:cubicBezTo>
                    <a:pt x="52425" y="25880"/>
                    <a:pt x="52388" y="25806"/>
                    <a:pt x="52314" y="25769"/>
                  </a:cubicBezTo>
                  <a:cubicBezTo>
                    <a:pt x="51316" y="25252"/>
                    <a:pt x="49208" y="23662"/>
                    <a:pt x="47434" y="21444"/>
                  </a:cubicBezTo>
                  <a:cubicBezTo>
                    <a:pt x="45622" y="19226"/>
                    <a:pt x="44069" y="16342"/>
                    <a:pt x="44069" y="13162"/>
                  </a:cubicBezTo>
                  <a:cubicBezTo>
                    <a:pt x="44069" y="12238"/>
                    <a:pt x="44180" y="11351"/>
                    <a:pt x="44476" y="10390"/>
                  </a:cubicBezTo>
                  <a:cubicBezTo>
                    <a:pt x="44846" y="9059"/>
                    <a:pt x="45659" y="8023"/>
                    <a:pt x="46731" y="7173"/>
                  </a:cubicBezTo>
                  <a:cubicBezTo>
                    <a:pt x="48395" y="5916"/>
                    <a:pt x="50650" y="5140"/>
                    <a:pt x="52979" y="4733"/>
                  </a:cubicBezTo>
                  <a:cubicBezTo>
                    <a:pt x="55308" y="4289"/>
                    <a:pt x="57674" y="4178"/>
                    <a:pt x="59486" y="4178"/>
                  </a:cubicBezTo>
                  <a:cubicBezTo>
                    <a:pt x="60447" y="4178"/>
                    <a:pt x="61224" y="4215"/>
                    <a:pt x="61815" y="4252"/>
                  </a:cubicBezTo>
                  <a:cubicBezTo>
                    <a:pt x="62074" y="4252"/>
                    <a:pt x="62296" y="4252"/>
                    <a:pt x="62444" y="4289"/>
                  </a:cubicBezTo>
                  <a:lnTo>
                    <a:pt x="62666" y="4289"/>
                  </a:lnTo>
                  <a:cubicBezTo>
                    <a:pt x="62695" y="4299"/>
                    <a:pt x="62722" y="4304"/>
                    <a:pt x="62747" y="4304"/>
                  </a:cubicBezTo>
                  <a:cubicBezTo>
                    <a:pt x="62816" y="4304"/>
                    <a:pt x="62870" y="4270"/>
                    <a:pt x="62924" y="4215"/>
                  </a:cubicBezTo>
                  <a:cubicBezTo>
                    <a:pt x="63109" y="4031"/>
                    <a:pt x="66843" y="629"/>
                    <a:pt x="74903" y="629"/>
                  </a:cubicBezTo>
                  <a:close/>
                  <a:moveTo>
                    <a:pt x="74903" y="1"/>
                  </a:moveTo>
                  <a:cubicBezTo>
                    <a:pt x="67145" y="1"/>
                    <a:pt x="63234" y="3109"/>
                    <a:pt x="62579" y="3682"/>
                  </a:cubicBezTo>
                  <a:lnTo>
                    <a:pt x="62579" y="3682"/>
                  </a:lnTo>
                  <a:cubicBezTo>
                    <a:pt x="62172" y="3644"/>
                    <a:pt x="61016" y="3550"/>
                    <a:pt x="59486" y="3550"/>
                  </a:cubicBezTo>
                  <a:cubicBezTo>
                    <a:pt x="57046" y="3550"/>
                    <a:pt x="53608" y="3772"/>
                    <a:pt x="50502" y="4696"/>
                  </a:cubicBezTo>
                  <a:cubicBezTo>
                    <a:pt x="48986" y="5140"/>
                    <a:pt x="47545" y="5768"/>
                    <a:pt x="46361" y="6692"/>
                  </a:cubicBezTo>
                  <a:cubicBezTo>
                    <a:pt x="45178" y="7580"/>
                    <a:pt x="44291" y="8763"/>
                    <a:pt x="43884" y="10242"/>
                  </a:cubicBezTo>
                  <a:cubicBezTo>
                    <a:pt x="43589" y="11240"/>
                    <a:pt x="43441" y="12201"/>
                    <a:pt x="43441" y="13162"/>
                  </a:cubicBezTo>
                  <a:cubicBezTo>
                    <a:pt x="43441" y="16527"/>
                    <a:pt x="45068" y="19521"/>
                    <a:pt x="46953" y="21850"/>
                  </a:cubicBezTo>
                  <a:cubicBezTo>
                    <a:pt x="48750" y="24079"/>
                    <a:pt x="50792" y="25644"/>
                    <a:pt x="51923" y="26272"/>
                  </a:cubicBezTo>
                  <a:lnTo>
                    <a:pt x="51923" y="26272"/>
                  </a:lnTo>
                  <a:cubicBezTo>
                    <a:pt x="52058" y="26769"/>
                    <a:pt x="52499" y="28466"/>
                    <a:pt x="52499" y="30908"/>
                  </a:cubicBezTo>
                  <a:cubicBezTo>
                    <a:pt x="52499" y="33090"/>
                    <a:pt x="52129" y="35788"/>
                    <a:pt x="50909" y="38709"/>
                  </a:cubicBezTo>
                  <a:cubicBezTo>
                    <a:pt x="47951" y="45586"/>
                    <a:pt x="44476" y="55605"/>
                    <a:pt x="29059" y="69617"/>
                  </a:cubicBezTo>
                  <a:cubicBezTo>
                    <a:pt x="21369" y="76641"/>
                    <a:pt x="14863" y="81595"/>
                    <a:pt x="9945" y="86771"/>
                  </a:cubicBezTo>
                  <a:cubicBezTo>
                    <a:pt x="5028" y="91984"/>
                    <a:pt x="1738" y="97419"/>
                    <a:pt x="444" y="105330"/>
                  </a:cubicBezTo>
                  <a:cubicBezTo>
                    <a:pt x="148" y="107290"/>
                    <a:pt x="0" y="109101"/>
                    <a:pt x="0" y="110765"/>
                  </a:cubicBezTo>
                  <a:cubicBezTo>
                    <a:pt x="0" y="113723"/>
                    <a:pt x="518" y="116311"/>
                    <a:pt x="1553" y="118455"/>
                  </a:cubicBezTo>
                  <a:cubicBezTo>
                    <a:pt x="3180" y="121708"/>
                    <a:pt x="6027" y="124001"/>
                    <a:pt x="10167" y="125516"/>
                  </a:cubicBezTo>
                  <a:cubicBezTo>
                    <a:pt x="14308" y="126995"/>
                    <a:pt x="19743" y="127698"/>
                    <a:pt x="26619" y="127735"/>
                  </a:cubicBezTo>
                  <a:lnTo>
                    <a:pt x="26767" y="127735"/>
                  </a:lnTo>
                  <a:cubicBezTo>
                    <a:pt x="37304" y="127735"/>
                    <a:pt x="50946" y="121597"/>
                    <a:pt x="63072" y="111763"/>
                  </a:cubicBezTo>
                  <a:cubicBezTo>
                    <a:pt x="75162" y="101966"/>
                    <a:pt x="85735" y="88546"/>
                    <a:pt x="89950" y="73868"/>
                  </a:cubicBezTo>
                  <a:cubicBezTo>
                    <a:pt x="95089" y="56085"/>
                    <a:pt x="96235" y="44624"/>
                    <a:pt x="96235" y="36010"/>
                  </a:cubicBezTo>
                  <a:cubicBezTo>
                    <a:pt x="96235" y="30428"/>
                    <a:pt x="95754" y="26065"/>
                    <a:pt x="95606" y="21961"/>
                  </a:cubicBezTo>
                  <a:cubicBezTo>
                    <a:pt x="95384" y="16638"/>
                    <a:pt x="93758" y="11499"/>
                    <a:pt x="90800" y="7506"/>
                  </a:cubicBezTo>
                  <a:cubicBezTo>
                    <a:pt x="87879" y="3550"/>
                    <a:pt x="83591" y="740"/>
                    <a:pt x="78193" y="186"/>
                  </a:cubicBezTo>
                  <a:cubicBezTo>
                    <a:pt x="77010" y="38"/>
                    <a:pt x="75938" y="1"/>
                    <a:pt x="74903"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1" name="Google Shape;1901;p37"/>
            <p:cNvSpPr/>
            <p:nvPr/>
          </p:nvSpPr>
          <p:spPr>
            <a:xfrm>
              <a:off x="4746725" y="1839875"/>
              <a:ext cx="464000" cy="184875"/>
            </a:xfrm>
            <a:custGeom>
              <a:avLst/>
              <a:gdLst/>
              <a:ahLst/>
              <a:cxnLst/>
              <a:rect l="l" t="t" r="r" b="b"/>
              <a:pathLst>
                <a:path w="18560" h="7395" extrusionOk="0">
                  <a:moveTo>
                    <a:pt x="4732" y="0"/>
                  </a:moveTo>
                  <a:cubicBezTo>
                    <a:pt x="3549" y="0"/>
                    <a:pt x="2514" y="111"/>
                    <a:pt x="1701" y="407"/>
                  </a:cubicBezTo>
                  <a:cubicBezTo>
                    <a:pt x="1294" y="592"/>
                    <a:pt x="961" y="777"/>
                    <a:pt x="666" y="1035"/>
                  </a:cubicBezTo>
                  <a:cubicBezTo>
                    <a:pt x="370" y="1294"/>
                    <a:pt x="185" y="1664"/>
                    <a:pt x="74" y="2034"/>
                  </a:cubicBezTo>
                  <a:cubicBezTo>
                    <a:pt x="37" y="2255"/>
                    <a:pt x="0" y="2477"/>
                    <a:pt x="0" y="2662"/>
                  </a:cubicBezTo>
                  <a:cubicBezTo>
                    <a:pt x="0" y="3475"/>
                    <a:pt x="370" y="4178"/>
                    <a:pt x="961" y="4733"/>
                  </a:cubicBezTo>
                  <a:cubicBezTo>
                    <a:pt x="1812" y="5620"/>
                    <a:pt x="3106" y="6285"/>
                    <a:pt x="4511" y="6729"/>
                  </a:cubicBezTo>
                  <a:cubicBezTo>
                    <a:pt x="5915" y="7136"/>
                    <a:pt x="7431" y="7394"/>
                    <a:pt x="8651" y="7394"/>
                  </a:cubicBezTo>
                  <a:cubicBezTo>
                    <a:pt x="9391" y="7394"/>
                    <a:pt x="10056" y="7320"/>
                    <a:pt x="10537" y="7099"/>
                  </a:cubicBezTo>
                  <a:cubicBezTo>
                    <a:pt x="10796" y="7025"/>
                    <a:pt x="11017" y="6877"/>
                    <a:pt x="11165" y="6729"/>
                  </a:cubicBezTo>
                  <a:cubicBezTo>
                    <a:pt x="11350" y="6544"/>
                    <a:pt x="11461" y="6285"/>
                    <a:pt x="11461" y="6063"/>
                  </a:cubicBezTo>
                  <a:cubicBezTo>
                    <a:pt x="11461" y="5694"/>
                    <a:pt x="11313" y="5361"/>
                    <a:pt x="11128" y="5065"/>
                  </a:cubicBezTo>
                  <a:cubicBezTo>
                    <a:pt x="10759" y="4622"/>
                    <a:pt x="10167" y="4289"/>
                    <a:pt x="9539" y="4067"/>
                  </a:cubicBezTo>
                  <a:cubicBezTo>
                    <a:pt x="8540" y="3697"/>
                    <a:pt x="7394" y="3549"/>
                    <a:pt x="6470" y="3475"/>
                  </a:cubicBezTo>
                  <a:cubicBezTo>
                    <a:pt x="5546" y="3365"/>
                    <a:pt x="4843" y="3365"/>
                    <a:pt x="4843" y="3365"/>
                  </a:cubicBezTo>
                  <a:lnTo>
                    <a:pt x="4843" y="3993"/>
                  </a:lnTo>
                  <a:lnTo>
                    <a:pt x="5102" y="3993"/>
                  </a:lnTo>
                  <a:cubicBezTo>
                    <a:pt x="5694" y="4030"/>
                    <a:pt x="7209" y="4104"/>
                    <a:pt x="8503" y="4400"/>
                  </a:cubicBezTo>
                  <a:cubicBezTo>
                    <a:pt x="9169" y="4548"/>
                    <a:pt x="9760" y="4769"/>
                    <a:pt x="10204" y="5065"/>
                  </a:cubicBezTo>
                  <a:cubicBezTo>
                    <a:pt x="10426" y="5213"/>
                    <a:pt x="10574" y="5361"/>
                    <a:pt x="10685" y="5509"/>
                  </a:cubicBezTo>
                  <a:cubicBezTo>
                    <a:pt x="10796" y="5694"/>
                    <a:pt x="10833" y="5842"/>
                    <a:pt x="10833" y="6063"/>
                  </a:cubicBezTo>
                  <a:cubicBezTo>
                    <a:pt x="10833" y="6137"/>
                    <a:pt x="10796" y="6211"/>
                    <a:pt x="10722" y="6285"/>
                  </a:cubicBezTo>
                  <a:cubicBezTo>
                    <a:pt x="10611" y="6433"/>
                    <a:pt x="10352" y="6544"/>
                    <a:pt x="10019" y="6655"/>
                  </a:cubicBezTo>
                  <a:cubicBezTo>
                    <a:pt x="9650" y="6729"/>
                    <a:pt x="9169" y="6766"/>
                    <a:pt x="8651" y="6766"/>
                  </a:cubicBezTo>
                  <a:cubicBezTo>
                    <a:pt x="7099" y="6766"/>
                    <a:pt x="5065" y="6359"/>
                    <a:pt x="3401" y="5620"/>
                  </a:cubicBezTo>
                  <a:cubicBezTo>
                    <a:pt x="2588" y="5287"/>
                    <a:pt x="1886" y="4806"/>
                    <a:pt x="1405" y="4326"/>
                  </a:cubicBezTo>
                  <a:cubicBezTo>
                    <a:pt x="887" y="3808"/>
                    <a:pt x="629" y="3254"/>
                    <a:pt x="629" y="2662"/>
                  </a:cubicBezTo>
                  <a:cubicBezTo>
                    <a:pt x="629" y="2514"/>
                    <a:pt x="666" y="2366"/>
                    <a:pt x="703" y="2182"/>
                  </a:cubicBezTo>
                  <a:cubicBezTo>
                    <a:pt x="740" y="1923"/>
                    <a:pt x="887" y="1701"/>
                    <a:pt x="1072" y="1479"/>
                  </a:cubicBezTo>
                  <a:cubicBezTo>
                    <a:pt x="1405" y="1183"/>
                    <a:pt x="1886" y="961"/>
                    <a:pt x="2514" y="814"/>
                  </a:cubicBezTo>
                  <a:cubicBezTo>
                    <a:pt x="3106" y="703"/>
                    <a:pt x="3882" y="629"/>
                    <a:pt x="4732" y="629"/>
                  </a:cubicBezTo>
                  <a:cubicBezTo>
                    <a:pt x="7357" y="629"/>
                    <a:pt x="10796" y="1257"/>
                    <a:pt x="13531" y="1923"/>
                  </a:cubicBezTo>
                  <a:cubicBezTo>
                    <a:pt x="14936" y="2218"/>
                    <a:pt x="16156" y="2551"/>
                    <a:pt x="17007" y="2773"/>
                  </a:cubicBezTo>
                  <a:cubicBezTo>
                    <a:pt x="17450" y="2921"/>
                    <a:pt x="17783" y="2995"/>
                    <a:pt x="18042" y="3069"/>
                  </a:cubicBezTo>
                  <a:cubicBezTo>
                    <a:pt x="18264" y="3143"/>
                    <a:pt x="18412" y="3180"/>
                    <a:pt x="18412" y="3180"/>
                  </a:cubicBezTo>
                  <a:lnTo>
                    <a:pt x="18559" y="2588"/>
                  </a:lnTo>
                  <a:cubicBezTo>
                    <a:pt x="18559" y="2588"/>
                    <a:pt x="16452" y="1960"/>
                    <a:pt x="13679" y="1294"/>
                  </a:cubicBezTo>
                  <a:cubicBezTo>
                    <a:pt x="10907" y="666"/>
                    <a:pt x="7468" y="0"/>
                    <a:pt x="4732" y="0"/>
                  </a:cubicBez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2" name="Google Shape;1902;p37"/>
            <p:cNvSpPr/>
            <p:nvPr/>
          </p:nvSpPr>
          <p:spPr>
            <a:xfrm>
              <a:off x="5240275" y="1582925"/>
              <a:ext cx="685825" cy="691375"/>
            </a:xfrm>
            <a:custGeom>
              <a:avLst/>
              <a:gdLst/>
              <a:ahLst/>
              <a:cxnLst/>
              <a:rect l="l" t="t" r="r" b="b"/>
              <a:pathLst>
                <a:path w="27433" h="27655" extrusionOk="0">
                  <a:moveTo>
                    <a:pt x="13901" y="0"/>
                  </a:moveTo>
                  <a:cubicBezTo>
                    <a:pt x="12201" y="0"/>
                    <a:pt x="8984" y="74"/>
                    <a:pt x="6027" y="703"/>
                  </a:cubicBezTo>
                  <a:cubicBezTo>
                    <a:pt x="4585" y="999"/>
                    <a:pt x="3180" y="1442"/>
                    <a:pt x="2108" y="2071"/>
                  </a:cubicBezTo>
                  <a:cubicBezTo>
                    <a:pt x="999" y="2699"/>
                    <a:pt x="185" y="3587"/>
                    <a:pt x="0" y="4733"/>
                  </a:cubicBezTo>
                  <a:cubicBezTo>
                    <a:pt x="0" y="4844"/>
                    <a:pt x="0" y="4954"/>
                    <a:pt x="0" y="5065"/>
                  </a:cubicBezTo>
                  <a:cubicBezTo>
                    <a:pt x="0" y="5842"/>
                    <a:pt x="333" y="6692"/>
                    <a:pt x="888" y="7616"/>
                  </a:cubicBezTo>
                  <a:cubicBezTo>
                    <a:pt x="1849" y="9280"/>
                    <a:pt x="3550" y="11203"/>
                    <a:pt x="5694" y="13236"/>
                  </a:cubicBezTo>
                  <a:cubicBezTo>
                    <a:pt x="8836" y="16304"/>
                    <a:pt x="12977" y="19558"/>
                    <a:pt x="16896" y="22220"/>
                  </a:cubicBezTo>
                  <a:cubicBezTo>
                    <a:pt x="20852" y="24882"/>
                    <a:pt x="24660" y="26952"/>
                    <a:pt x="27248" y="27654"/>
                  </a:cubicBezTo>
                  <a:lnTo>
                    <a:pt x="27433" y="27026"/>
                  </a:lnTo>
                  <a:cubicBezTo>
                    <a:pt x="25547" y="26545"/>
                    <a:pt x="22885" y="25251"/>
                    <a:pt x="20002" y="23477"/>
                  </a:cubicBezTo>
                  <a:cubicBezTo>
                    <a:pt x="15676" y="20815"/>
                    <a:pt x="10796" y="17155"/>
                    <a:pt x="7025" y="13680"/>
                  </a:cubicBezTo>
                  <a:cubicBezTo>
                    <a:pt x="5139" y="11942"/>
                    <a:pt x="3513" y="10241"/>
                    <a:pt x="2367" y="8725"/>
                  </a:cubicBezTo>
                  <a:cubicBezTo>
                    <a:pt x="1221" y="7247"/>
                    <a:pt x="592" y="5916"/>
                    <a:pt x="592" y="5065"/>
                  </a:cubicBezTo>
                  <a:cubicBezTo>
                    <a:pt x="592" y="4991"/>
                    <a:pt x="629" y="4917"/>
                    <a:pt x="629" y="4844"/>
                  </a:cubicBezTo>
                  <a:cubicBezTo>
                    <a:pt x="777" y="3919"/>
                    <a:pt x="1405" y="3217"/>
                    <a:pt x="2404" y="2625"/>
                  </a:cubicBezTo>
                  <a:cubicBezTo>
                    <a:pt x="3882" y="1738"/>
                    <a:pt x="6175" y="1220"/>
                    <a:pt x="8356" y="925"/>
                  </a:cubicBezTo>
                  <a:cubicBezTo>
                    <a:pt x="10537" y="666"/>
                    <a:pt x="12644" y="629"/>
                    <a:pt x="13901" y="629"/>
                  </a:cubicBezTo>
                  <a:lnTo>
                    <a:pt x="15011" y="629"/>
                  </a:lnTo>
                  <a:lnTo>
                    <a:pt x="15011" y="0"/>
                  </a:ln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3" name="Google Shape;1903;p37"/>
            <p:cNvSpPr/>
            <p:nvPr/>
          </p:nvSpPr>
          <p:spPr>
            <a:xfrm>
              <a:off x="5406650" y="1584775"/>
              <a:ext cx="438125" cy="367875"/>
            </a:xfrm>
            <a:custGeom>
              <a:avLst/>
              <a:gdLst/>
              <a:ahLst/>
              <a:cxnLst/>
              <a:rect l="l" t="t" r="r" b="b"/>
              <a:pathLst>
                <a:path w="17525" h="14715" extrusionOk="0">
                  <a:moveTo>
                    <a:pt x="3475" y="0"/>
                  </a:moveTo>
                  <a:cubicBezTo>
                    <a:pt x="3475" y="0"/>
                    <a:pt x="2625" y="518"/>
                    <a:pt x="1775" y="1368"/>
                  </a:cubicBezTo>
                  <a:cubicBezTo>
                    <a:pt x="924" y="2256"/>
                    <a:pt x="37" y="3476"/>
                    <a:pt x="0" y="4917"/>
                  </a:cubicBezTo>
                  <a:cubicBezTo>
                    <a:pt x="0" y="5509"/>
                    <a:pt x="148" y="6101"/>
                    <a:pt x="481" y="6692"/>
                  </a:cubicBezTo>
                  <a:cubicBezTo>
                    <a:pt x="961" y="7616"/>
                    <a:pt x="1960" y="8541"/>
                    <a:pt x="3254" y="9465"/>
                  </a:cubicBezTo>
                  <a:cubicBezTo>
                    <a:pt x="5213" y="10833"/>
                    <a:pt x="7801" y="12127"/>
                    <a:pt x="10426" y="13125"/>
                  </a:cubicBezTo>
                  <a:cubicBezTo>
                    <a:pt x="13014" y="14086"/>
                    <a:pt x="15602" y="14715"/>
                    <a:pt x="17524" y="14715"/>
                  </a:cubicBezTo>
                  <a:lnTo>
                    <a:pt x="17524" y="14123"/>
                  </a:lnTo>
                  <a:cubicBezTo>
                    <a:pt x="15121" y="14123"/>
                    <a:pt x="11387" y="13014"/>
                    <a:pt x="8097" y="11461"/>
                  </a:cubicBezTo>
                  <a:cubicBezTo>
                    <a:pt x="6433" y="10722"/>
                    <a:pt x="4880" y="9835"/>
                    <a:pt x="3623" y="8947"/>
                  </a:cubicBezTo>
                  <a:cubicBezTo>
                    <a:pt x="2366" y="8097"/>
                    <a:pt x="1442" y="7173"/>
                    <a:pt x="1035" y="6396"/>
                  </a:cubicBezTo>
                  <a:cubicBezTo>
                    <a:pt x="740" y="5879"/>
                    <a:pt x="629" y="5398"/>
                    <a:pt x="629" y="4917"/>
                  </a:cubicBezTo>
                  <a:cubicBezTo>
                    <a:pt x="629" y="3734"/>
                    <a:pt x="1405" y="2625"/>
                    <a:pt x="2181" y="1812"/>
                  </a:cubicBezTo>
                  <a:cubicBezTo>
                    <a:pt x="2588" y="1405"/>
                    <a:pt x="2995" y="1072"/>
                    <a:pt x="3291" y="851"/>
                  </a:cubicBezTo>
                  <a:cubicBezTo>
                    <a:pt x="3438" y="740"/>
                    <a:pt x="3586" y="666"/>
                    <a:pt x="3660" y="592"/>
                  </a:cubicBezTo>
                  <a:lnTo>
                    <a:pt x="3771" y="518"/>
                  </a:lnTo>
                  <a:lnTo>
                    <a:pt x="3808" y="518"/>
                  </a:lnTo>
                  <a:lnTo>
                    <a:pt x="3475" y="0"/>
                  </a:ln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4" name="Google Shape;1904;p37"/>
            <p:cNvSpPr/>
            <p:nvPr/>
          </p:nvSpPr>
          <p:spPr>
            <a:xfrm>
              <a:off x="4434325" y="2717300"/>
              <a:ext cx="1258875" cy="2210575"/>
            </a:xfrm>
            <a:custGeom>
              <a:avLst/>
              <a:gdLst/>
              <a:ahLst/>
              <a:cxnLst/>
              <a:rect l="l" t="t" r="r" b="b"/>
              <a:pathLst>
                <a:path w="50355" h="88423" extrusionOk="0">
                  <a:moveTo>
                    <a:pt x="29766" y="1"/>
                  </a:moveTo>
                  <a:cubicBezTo>
                    <a:pt x="24738" y="1"/>
                    <a:pt x="21221" y="247"/>
                    <a:pt x="21221" y="247"/>
                  </a:cubicBezTo>
                  <a:cubicBezTo>
                    <a:pt x="21221" y="247"/>
                    <a:pt x="14936" y="18696"/>
                    <a:pt x="11609" y="35850"/>
                  </a:cubicBezTo>
                  <a:cubicBezTo>
                    <a:pt x="8282" y="53004"/>
                    <a:pt x="0" y="88422"/>
                    <a:pt x="0" y="88422"/>
                  </a:cubicBezTo>
                  <a:lnTo>
                    <a:pt x="33939" y="88422"/>
                  </a:lnTo>
                  <a:cubicBezTo>
                    <a:pt x="33939" y="88422"/>
                    <a:pt x="34124" y="80511"/>
                    <a:pt x="35418" y="70159"/>
                  </a:cubicBezTo>
                  <a:cubicBezTo>
                    <a:pt x="36712" y="59844"/>
                    <a:pt x="50354" y="4314"/>
                    <a:pt x="50354" y="4314"/>
                  </a:cubicBezTo>
                  <a:cubicBezTo>
                    <a:pt x="50354" y="4314"/>
                    <a:pt x="47212" y="802"/>
                    <a:pt x="38191" y="247"/>
                  </a:cubicBezTo>
                  <a:cubicBezTo>
                    <a:pt x="35171" y="62"/>
                    <a:pt x="32280" y="1"/>
                    <a:pt x="29766"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5" name="Google Shape;1905;p37"/>
            <p:cNvSpPr/>
            <p:nvPr/>
          </p:nvSpPr>
          <p:spPr>
            <a:xfrm>
              <a:off x="4426000" y="2709600"/>
              <a:ext cx="1275500" cy="2226600"/>
            </a:xfrm>
            <a:custGeom>
              <a:avLst/>
              <a:gdLst/>
              <a:ahLst/>
              <a:cxnLst/>
              <a:rect l="l" t="t" r="r" b="b"/>
              <a:pathLst>
                <a:path w="51020" h="89064" extrusionOk="0">
                  <a:moveTo>
                    <a:pt x="30094" y="629"/>
                  </a:moveTo>
                  <a:cubicBezTo>
                    <a:pt x="32608" y="629"/>
                    <a:pt x="35492" y="666"/>
                    <a:pt x="38487" y="851"/>
                  </a:cubicBezTo>
                  <a:cubicBezTo>
                    <a:pt x="42960" y="1147"/>
                    <a:pt x="45992" y="2145"/>
                    <a:pt x="47840" y="3069"/>
                  </a:cubicBezTo>
                  <a:cubicBezTo>
                    <a:pt x="48802" y="3513"/>
                    <a:pt x="49467" y="3957"/>
                    <a:pt x="49874" y="4289"/>
                  </a:cubicBezTo>
                  <a:cubicBezTo>
                    <a:pt x="50096" y="4474"/>
                    <a:pt x="50243" y="4585"/>
                    <a:pt x="50317" y="4696"/>
                  </a:cubicBezTo>
                  <a:lnTo>
                    <a:pt x="50350" y="4718"/>
                  </a:lnTo>
                  <a:lnTo>
                    <a:pt x="50350" y="4718"/>
                  </a:lnTo>
                  <a:cubicBezTo>
                    <a:pt x="49952" y="6341"/>
                    <a:pt x="46759" y="19392"/>
                    <a:pt x="43404" y="33607"/>
                  </a:cubicBezTo>
                  <a:cubicBezTo>
                    <a:pt x="41629" y="41186"/>
                    <a:pt x="39781" y="49098"/>
                    <a:pt x="38339" y="55753"/>
                  </a:cubicBezTo>
                  <a:cubicBezTo>
                    <a:pt x="36860" y="62444"/>
                    <a:pt x="35751" y="67842"/>
                    <a:pt x="35455" y="70430"/>
                  </a:cubicBezTo>
                  <a:cubicBezTo>
                    <a:pt x="34307" y="79613"/>
                    <a:pt x="34032" y="86906"/>
                    <a:pt x="33985" y="88435"/>
                  </a:cubicBezTo>
                  <a:lnTo>
                    <a:pt x="715" y="88435"/>
                  </a:lnTo>
                  <a:cubicBezTo>
                    <a:pt x="1603" y="84627"/>
                    <a:pt x="9110" y="52359"/>
                    <a:pt x="12238" y="36232"/>
                  </a:cubicBezTo>
                  <a:cubicBezTo>
                    <a:pt x="13901" y="27655"/>
                    <a:pt x="16304" y="18745"/>
                    <a:pt x="18264" y="12016"/>
                  </a:cubicBezTo>
                  <a:cubicBezTo>
                    <a:pt x="19262" y="8652"/>
                    <a:pt x="20149" y="5805"/>
                    <a:pt x="20815" y="3809"/>
                  </a:cubicBezTo>
                  <a:cubicBezTo>
                    <a:pt x="21111" y="2810"/>
                    <a:pt x="21369" y="1997"/>
                    <a:pt x="21554" y="1480"/>
                  </a:cubicBezTo>
                  <a:cubicBezTo>
                    <a:pt x="21652" y="1188"/>
                    <a:pt x="21718" y="978"/>
                    <a:pt x="21759" y="844"/>
                  </a:cubicBezTo>
                  <a:lnTo>
                    <a:pt x="21759" y="844"/>
                  </a:lnTo>
                  <a:cubicBezTo>
                    <a:pt x="21863" y="839"/>
                    <a:pt x="22005" y="830"/>
                    <a:pt x="22183" y="814"/>
                  </a:cubicBezTo>
                  <a:cubicBezTo>
                    <a:pt x="23403" y="740"/>
                    <a:pt x="26323" y="629"/>
                    <a:pt x="30094" y="629"/>
                  </a:cubicBezTo>
                  <a:close/>
                  <a:moveTo>
                    <a:pt x="30094" y="1"/>
                  </a:moveTo>
                  <a:cubicBezTo>
                    <a:pt x="25066" y="1"/>
                    <a:pt x="21517" y="259"/>
                    <a:pt x="21517" y="259"/>
                  </a:cubicBezTo>
                  <a:cubicBezTo>
                    <a:pt x="21406" y="259"/>
                    <a:pt x="21295" y="333"/>
                    <a:pt x="21258" y="444"/>
                  </a:cubicBezTo>
                  <a:cubicBezTo>
                    <a:pt x="21258" y="444"/>
                    <a:pt x="14973" y="18930"/>
                    <a:pt x="11646" y="36121"/>
                  </a:cubicBezTo>
                  <a:cubicBezTo>
                    <a:pt x="9982" y="44661"/>
                    <a:pt x="7062" y="57823"/>
                    <a:pt x="4585" y="68840"/>
                  </a:cubicBezTo>
                  <a:cubicBezTo>
                    <a:pt x="3328" y="74312"/>
                    <a:pt x="2182" y="79303"/>
                    <a:pt x="1368" y="82889"/>
                  </a:cubicBezTo>
                  <a:cubicBezTo>
                    <a:pt x="962" y="84664"/>
                    <a:pt x="629" y="86105"/>
                    <a:pt x="370" y="87141"/>
                  </a:cubicBezTo>
                  <a:cubicBezTo>
                    <a:pt x="148" y="88139"/>
                    <a:pt x="0" y="88693"/>
                    <a:pt x="0" y="88693"/>
                  </a:cubicBezTo>
                  <a:cubicBezTo>
                    <a:pt x="0" y="88767"/>
                    <a:pt x="0" y="88878"/>
                    <a:pt x="74" y="88952"/>
                  </a:cubicBezTo>
                  <a:cubicBezTo>
                    <a:pt x="148" y="89026"/>
                    <a:pt x="222" y="89063"/>
                    <a:pt x="333" y="89063"/>
                  </a:cubicBezTo>
                  <a:lnTo>
                    <a:pt x="34272" y="89063"/>
                  </a:lnTo>
                  <a:cubicBezTo>
                    <a:pt x="34420" y="89063"/>
                    <a:pt x="34568" y="88915"/>
                    <a:pt x="34568" y="88767"/>
                  </a:cubicBezTo>
                  <a:cubicBezTo>
                    <a:pt x="34568" y="88767"/>
                    <a:pt x="34605" y="88250"/>
                    <a:pt x="34642" y="87362"/>
                  </a:cubicBezTo>
                  <a:cubicBezTo>
                    <a:pt x="34753" y="84664"/>
                    <a:pt x="35085" y="78268"/>
                    <a:pt x="36047" y="70504"/>
                  </a:cubicBezTo>
                  <a:cubicBezTo>
                    <a:pt x="36379" y="67953"/>
                    <a:pt x="37452" y="62555"/>
                    <a:pt x="38930" y="55900"/>
                  </a:cubicBezTo>
                  <a:cubicBezTo>
                    <a:pt x="41112" y="45918"/>
                    <a:pt x="44143" y="33089"/>
                    <a:pt x="46583" y="22812"/>
                  </a:cubicBezTo>
                  <a:cubicBezTo>
                    <a:pt x="47840" y="17636"/>
                    <a:pt x="48949" y="13125"/>
                    <a:pt x="49726" y="9872"/>
                  </a:cubicBezTo>
                  <a:cubicBezTo>
                    <a:pt x="50133" y="8245"/>
                    <a:pt x="50428" y="6951"/>
                    <a:pt x="50650" y="6064"/>
                  </a:cubicBezTo>
                  <a:cubicBezTo>
                    <a:pt x="50872" y="5177"/>
                    <a:pt x="50983" y="4696"/>
                    <a:pt x="50983" y="4696"/>
                  </a:cubicBezTo>
                  <a:cubicBezTo>
                    <a:pt x="51020" y="4585"/>
                    <a:pt x="50983" y="4474"/>
                    <a:pt x="50909" y="4400"/>
                  </a:cubicBezTo>
                  <a:cubicBezTo>
                    <a:pt x="50872" y="4363"/>
                    <a:pt x="47655" y="814"/>
                    <a:pt x="38524" y="259"/>
                  </a:cubicBezTo>
                  <a:cubicBezTo>
                    <a:pt x="35492" y="75"/>
                    <a:pt x="32608" y="1"/>
                    <a:pt x="30094"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6" name="Google Shape;1906;p37"/>
            <p:cNvSpPr/>
            <p:nvPr/>
          </p:nvSpPr>
          <p:spPr>
            <a:xfrm>
              <a:off x="5009200" y="2762300"/>
              <a:ext cx="495450" cy="732950"/>
            </a:xfrm>
            <a:custGeom>
              <a:avLst/>
              <a:gdLst/>
              <a:ahLst/>
              <a:cxnLst/>
              <a:rect l="l" t="t" r="r" b="b"/>
              <a:pathLst>
                <a:path w="19818" h="29318" extrusionOk="0">
                  <a:moveTo>
                    <a:pt x="2515" y="0"/>
                  </a:moveTo>
                  <a:cubicBezTo>
                    <a:pt x="2515" y="0"/>
                    <a:pt x="1" y="10685"/>
                    <a:pt x="1" y="16970"/>
                  </a:cubicBezTo>
                  <a:cubicBezTo>
                    <a:pt x="1" y="22449"/>
                    <a:pt x="3278" y="29317"/>
                    <a:pt x="8798" y="29317"/>
                  </a:cubicBezTo>
                  <a:cubicBezTo>
                    <a:pt x="9646" y="29317"/>
                    <a:pt x="10548" y="29155"/>
                    <a:pt x="11499" y="28800"/>
                  </a:cubicBezTo>
                  <a:cubicBezTo>
                    <a:pt x="18671" y="26101"/>
                    <a:pt x="19817" y="18522"/>
                    <a:pt x="19817" y="13605"/>
                  </a:cubicBezTo>
                  <a:cubicBezTo>
                    <a:pt x="19817" y="8688"/>
                    <a:pt x="19521" y="1959"/>
                    <a:pt x="19521" y="1959"/>
                  </a:cubicBezTo>
                  <a:cubicBezTo>
                    <a:pt x="19521" y="1959"/>
                    <a:pt x="17513" y="3566"/>
                    <a:pt x="14167" y="3566"/>
                  </a:cubicBezTo>
                  <a:cubicBezTo>
                    <a:pt x="13089" y="3566"/>
                    <a:pt x="11871" y="3399"/>
                    <a:pt x="10537" y="2958"/>
                  </a:cubicBezTo>
                  <a:cubicBezTo>
                    <a:pt x="5066" y="1109"/>
                    <a:pt x="2515" y="0"/>
                    <a:pt x="2515" y="0"/>
                  </a:cubicBezTo>
                  <a:close/>
                </a:path>
              </a:pathLst>
            </a:custGeom>
            <a:solidFill>
              <a:srgbClr val="ADADAD"/>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7" name="Google Shape;1907;p37"/>
            <p:cNvSpPr/>
            <p:nvPr/>
          </p:nvSpPr>
          <p:spPr>
            <a:xfrm>
              <a:off x="5024925" y="2762300"/>
              <a:ext cx="478800" cy="363925"/>
            </a:xfrm>
            <a:custGeom>
              <a:avLst/>
              <a:gdLst/>
              <a:ahLst/>
              <a:cxnLst/>
              <a:rect l="l" t="t" r="r" b="b"/>
              <a:pathLst>
                <a:path w="19152" h="14557" extrusionOk="0">
                  <a:moveTo>
                    <a:pt x="1886" y="0"/>
                  </a:moveTo>
                  <a:cubicBezTo>
                    <a:pt x="1886" y="0"/>
                    <a:pt x="740" y="4917"/>
                    <a:pt x="0" y="10056"/>
                  </a:cubicBezTo>
                  <a:cubicBezTo>
                    <a:pt x="1494" y="12453"/>
                    <a:pt x="4130" y="14556"/>
                    <a:pt x="8798" y="14556"/>
                  </a:cubicBezTo>
                  <a:cubicBezTo>
                    <a:pt x="9098" y="14556"/>
                    <a:pt x="9406" y="14547"/>
                    <a:pt x="9724" y="14530"/>
                  </a:cubicBezTo>
                  <a:cubicBezTo>
                    <a:pt x="13901" y="14271"/>
                    <a:pt x="16933" y="12792"/>
                    <a:pt x="19151" y="10685"/>
                  </a:cubicBezTo>
                  <a:cubicBezTo>
                    <a:pt x="19077" y="6396"/>
                    <a:pt x="18892" y="1959"/>
                    <a:pt x="18892" y="1959"/>
                  </a:cubicBezTo>
                  <a:cubicBezTo>
                    <a:pt x="18892" y="1959"/>
                    <a:pt x="16884" y="3566"/>
                    <a:pt x="13538" y="3566"/>
                  </a:cubicBezTo>
                  <a:cubicBezTo>
                    <a:pt x="12460" y="3566"/>
                    <a:pt x="11242" y="3399"/>
                    <a:pt x="9908" y="2958"/>
                  </a:cubicBezTo>
                  <a:cubicBezTo>
                    <a:pt x="4437" y="1109"/>
                    <a:pt x="1886" y="0"/>
                    <a:pt x="1886"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8" name="Google Shape;1908;p37"/>
            <p:cNvSpPr/>
            <p:nvPr/>
          </p:nvSpPr>
          <p:spPr>
            <a:xfrm>
              <a:off x="5031400" y="2805725"/>
              <a:ext cx="452900" cy="320750"/>
            </a:xfrm>
            <a:custGeom>
              <a:avLst/>
              <a:gdLst/>
              <a:ahLst/>
              <a:cxnLst/>
              <a:rect l="l" t="t" r="r" b="b"/>
              <a:pathLst>
                <a:path w="18116" h="12830" extrusionOk="0">
                  <a:moveTo>
                    <a:pt x="18116" y="2773"/>
                  </a:moveTo>
                  <a:lnTo>
                    <a:pt x="18079" y="2810"/>
                  </a:lnTo>
                  <a:cubicBezTo>
                    <a:pt x="18079" y="2810"/>
                    <a:pt x="18042" y="2810"/>
                    <a:pt x="18042" y="2847"/>
                  </a:cubicBezTo>
                  <a:cubicBezTo>
                    <a:pt x="17931" y="2995"/>
                    <a:pt x="17820" y="3180"/>
                    <a:pt x="17635" y="3402"/>
                  </a:cubicBezTo>
                  <a:cubicBezTo>
                    <a:pt x="17302" y="3883"/>
                    <a:pt x="16859" y="4585"/>
                    <a:pt x="16378" y="5435"/>
                  </a:cubicBezTo>
                  <a:cubicBezTo>
                    <a:pt x="15417" y="7099"/>
                    <a:pt x="14345" y="9317"/>
                    <a:pt x="13864" y="11536"/>
                  </a:cubicBezTo>
                  <a:cubicBezTo>
                    <a:pt x="13827" y="11683"/>
                    <a:pt x="13827" y="11831"/>
                    <a:pt x="13790" y="11979"/>
                  </a:cubicBezTo>
                  <a:cubicBezTo>
                    <a:pt x="15232" y="11499"/>
                    <a:pt x="16526" y="10833"/>
                    <a:pt x="17598" y="10020"/>
                  </a:cubicBezTo>
                  <a:cubicBezTo>
                    <a:pt x="17820" y="6914"/>
                    <a:pt x="18005" y="4437"/>
                    <a:pt x="18116" y="2773"/>
                  </a:cubicBezTo>
                  <a:close/>
                  <a:moveTo>
                    <a:pt x="1553" y="1"/>
                  </a:moveTo>
                  <a:lnTo>
                    <a:pt x="1553" y="75"/>
                  </a:lnTo>
                  <a:cubicBezTo>
                    <a:pt x="1294" y="1184"/>
                    <a:pt x="998" y="2700"/>
                    <a:pt x="666" y="4437"/>
                  </a:cubicBezTo>
                  <a:cubicBezTo>
                    <a:pt x="444" y="5768"/>
                    <a:pt x="185" y="7247"/>
                    <a:pt x="0" y="8689"/>
                  </a:cubicBezTo>
                  <a:cubicBezTo>
                    <a:pt x="1516" y="10944"/>
                    <a:pt x="4104" y="12829"/>
                    <a:pt x="8503" y="12829"/>
                  </a:cubicBezTo>
                  <a:cubicBezTo>
                    <a:pt x="8799" y="12829"/>
                    <a:pt x="9132" y="12793"/>
                    <a:pt x="9465" y="12793"/>
                  </a:cubicBezTo>
                  <a:cubicBezTo>
                    <a:pt x="10796" y="12719"/>
                    <a:pt x="12016" y="12497"/>
                    <a:pt x="13125" y="12201"/>
                  </a:cubicBezTo>
                  <a:cubicBezTo>
                    <a:pt x="13162" y="11942"/>
                    <a:pt x="13236" y="11683"/>
                    <a:pt x="13273" y="11388"/>
                  </a:cubicBezTo>
                  <a:cubicBezTo>
                    <a:pt x="13975" y="8171"/>
                    <a:pt x="15897" y="4955"/>
                    <a:pt x="16933" y="3365"/>
                  </a:cubicBezTo>
                  <a:lnTo>
                    <a:pt x="16933" y="3365"/>
                  </a:lnTo>
                  <a:cubicBezTo>
                    <a:pt x="15676" y="3920"/>
                    <a:pt x="14234" y="4252"/>
                    <a:pt x="12644" y="4326"/>
                  </a:cubicBezTo>
                  <a:cubicBezTo>
                    <a:pt x="12348" y="4363"/>
                    <a:pt x="12053" y="4363"/>
                    <a:pt x="11757" y="4363"/>
                  </a:cubicBezTo>
                  <a:cubicBezTo>
                    <a:pt x="6655" y="4363"/>
                    <a:pt x="3512" y="2219"/>
                    <a:pt x="1553" y="1"/>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09" name="Google Shape;1909;p37"/>
            <p:cNvSpPr/>
            <p:nvPr/>
          </p:nvSpPr>
          <p:spPr>
            <a:xfrm>
              <a:off x="5001825" y="2754200"/>
              <a:ext cx="510200" cy="748450"/>
            </a:xfrm>
            <a:custGeom>
              <a:avLst/>
              <a:gdLst/>
              <a:ahLst/>
              <a:cxnLst/>
              <a:rect l="l" t="t" r="r" b="b"/>
              <a:pathLst>
                <a:path w="20408" h="29938" extrusionOk="0">
                  <a:moveTo>
                    <a:pt x="3044" y="746"/>
                  </a:moveTo>
                  <a:lnTo>
                    <a:pt x="3044" y="746"/>
                  </a:lnTo>
                  <a:cubicBezTo>
                    <a:pt x="3908" y="1120"/>
                    <a:pt x="6406" y="2112"/>
                    <a:pt x="10722" y="3540"/>
                  </a:cubicBezTo>
                  <a:cubicBezTo>
                    <a:pt x="12089" y="4021"/>
                    <a:pt x="13383" y="4206"/>
                    <a:pt x="14493" y="4206"/>
                  </a:cubicBezTo>
                  <a:cubicBezTo>
                    <a:pt x="16987" y="4206"/>
                    <a:pt x="18742" y="3330"/>
                    <a:pt x="19532" y="2835"/>
                  </a:cubicBezTo>
                  <a:lnTo>
                    <a:pt x="19532" y="2835"/>
                  </a:lnTo>
                  <a:cubicBezTo>
                    <a:pt x="19537" y="3002"/>
                    <a:pt x="19546" y="3202"/>
                    <a:pt x="19558" y="3430"/>
                  </a:cubicBezTo>
                  <a:cubicBezTo>
                    <a:pt x="19631" y="5537"/>
                    <a:pt x="19779" y="10269"/>
                    <a:pt x="19779" y="13929"/>
                  </a:cubicBezTo>
                  <a:cubicBezTo>
                    <a:pt x="19779" y="16369"/>
                    <a:pt x="19521" y="19475"/>
                    <a:pt x="18374" y="22248"/>
                  </a:cubicBezTo>
                  <a:cubicBezTo>
                    <a:pt x="17191" y="25020"/>
                    <a:pt x="15195" y="27497"/>
                    <a:pt x="11720" y="28828"/>
                  </a:cubicBezTo>
                  <a:cubicBezTo>
                    <a:pt x="10759" y="29161"/>
                    <a:pt x="9908" y="29309"/>
                    <a:pt x="9095" y="29309"/>
                  </a:cubicBezTo>
                  <a:cubicBezTo>
                    <a:pt x="7764" y="29309"/>
                    <a:pt x="6581" y="28902"/>
                    <a:pt x="5546" y="28200"/>
                  </a:cubicBezTo>
                  <a:cubicBezTo>
                    <a:pt x="3993" y="27165"/>
                    <a:pt x="2736" y="25464"/>
                    <a:pt x="1886" y="23505"/>
                  </a:cubicBezTo>
                  <a:cubicBezTo>
                    <a:pt x="1072" y="21545"/>
                    <a:pt x="592" y="19327"/>
                    <a:pt x="592" y="17294"/>
                  </a:cubicBezTo>
                  <a:cubicBezTo>
                    <a:pt x="592" y="14188"/>
                    <a:pt x="1220" y="9936"/>
                    <a:pt x="1849" y="6498"/>
                  </a:cubicBezTo>
                  <a:cubicBezTo>
                    <a:pt x="2181" y="4761"/>
                    <a:pt x="2477" y="3245"/>
                    <a:pt x="2736" y="2136"/>
                  </a:cubicBezTo>
                  <a:cubicBezTo>
                    <a:pt x="2847" y="1581"/>
                    <a:pt x="2958" y="1174"/>
                    <a:pt x="3032" y="842"/>
                  </a:cubicBezTo>
                  <a:cubicBezTo>
                    <a:pt x="3036" y="808"/>
                    <a:pt x="3040" y="776"/>
                    <a:pt x="3044" y="746"/>
                  </a:cubicBezTo>
                  <a:close/>
                  <a:moveTo>
                    <a:pt x="2828" y="1"/>
                  </a:moveTo>
                  <a:cubicBezTo>
                    <a:pt x="2782" y="1"/>
                    <a:pt x="2736" y="10"/>
                    <a:pt x="2699" y="28"/>
                  </a:cubicBezTo>
                  <a:cubicBezTo>
                    <a:pt x="2588" y="65"/>
                    <a:pt x="2551" y="139"/>
                    <a:pt x="2514" y="250"/>
                  </a:cubicBezTo>
                  <a:cubicBezTo>
                    <a:pt x="2514" y="250"/>
                    <a:pt x="1886" y="2912"/>
                    <a:pt x="1257" y="6387"/>
                  </a:cubicBezTo>
                  <a:cubicBezTo>
                    <a:pt x="629" y="9862"/>
                    <a:pt x="0" y="14114"/>
                    <a:pt x="0" y="17294"/>
                  </a:cubicBezTo>
                  <a:cubicBezTo>
                    <a:pt x="0" y="20103"/>
                    <a:pt x="813" y="23246"/>
                    <a:pt x="2366" y="25686"/>
                  </a:cubicBezTo>
                  <a:cubicBezTo>
                    <a:pt x="3143" y="26906"/>
                    <a:pt x="4067" y="27978"/>
                    <a:pt x="5213" y="28718"/>
                  </a:cubicBezTo>
                  <a:cubicBezTo>
                    <a:pt x="6322" y="29494"/>
                    <a:pt x="7653" y="29938"/>
                    <a:pt x="9095" y="29938"/>
                  </a:cubicBezTo>
                  <a:cubicBezTo>
                    <a:pt x="9982" y="29938"/>
                    <a:pt x="10943" y="29753"/>
                    <a:pt x="11905" y="29383"/>
                  </a:cubicBezTo>
                  <a:cubicBezTo>
                    <a:pt x="15602" y="28015"/>
                    <a:pt x="17746" y="25390"/>
                    <a:pt x="18929" y="22469"/>
                  </a:cubicBezTo>
                  <a:cubicBezTo>
                    <a:pt x="20112" y="19586"/>
                    <a:pt x="20408" y="16406"/>
                    <a:pt x="20408" y="13929"/>
                  </a:cubicBezTo>
                  <a:cubicBezTo>
                    <a:pt x="20408" y="9012"/>
                    <a:pt x="20112" y="2283"/>
                    <a:pt x="20112" y="2283"/>
                  </a:cubicBezTo>
                  <a:cubicBezTo>
                    <a:pt x="20112" y="2136"/>
                    <a:pt x="20038" y="2062"/>
                    <a:pt x="19927" y="1988"/>
                  </a:cubicBezTo>
                  <a:cubicBezTo>
                    <a:pt x="19906" y="1977"/>
                    <a:pt x="19878" y="1972"/>
                    <a:pt x="19847" y="1972"/>
                  </a:cubicBezTo>
                  <a:cubicBezTo>
                    <a:pt x="19773" y="1972"/>
                    <a:pt x="19684" y="1999"/>
                    <a:pt x="19631" y="2025"/>
                  </a:cubicBezTo>
                  <a:lnTo>
                    <a:pt x="19594" y="2062"/>
                  </a:lnTo>
                  <a:cubicBezTo>
                    <a:pt x="19410" y="2210"/>
                    <a:pt x="17524" y="3577"/>
                    <a:pt x="14493" y="3577"/>
                  </a:cubicBezTo>
                  <a:cubicBezTo>
                    <a:pt x="13420" y="3577"/>
                    <a:pt x="12237" y="3393"/>
                    <a:pt x="10943" y="2986"/>
                  </a:cubicBezTo>
                  <a:cubicBezTo>
                    <a:pt x="8208" y="2062"/>
                    <a:pt x="6211" y="1322"/>
                    <a:pt x="4880" y="805"/>
                  </a:cubicBezTo>
                  <a:cubicBezTo>
                    <a:pt x="4215" y="583"/>
                    <a:pt x="3734" y="361"/>
                    <a:pt x="3438" y="250"/>
                  </a:cubicBezTo>
                  <a:cubicBezTo>
                    <a:pt x="3253" y="176"/>
                    <a:pt x="3143" y="102"/>
                    <a:pt x="3069" y="102"/>
                  </a:cubicBezTo>
                  <a:cubicBezTo>
                    <a:pt x="2995" y="65"/>
                    <a:pt x="2958" y="28"/>
                    <a:pt x="2958" y="28"/>
                  </a:cubicBezTo>
                  <a:cubicBezTo>
                    <a:pt x="2921" y="10"/>
                    <a:pt x="2875" y="1"/>
                    <a:pt x="2828"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0" name="Google Shape;1910;p37"/>
            <p:cNvSpPr/>
            <p:nvPr/>
          </p:nvSpPr>
          <p:spPr>
            <a:xfrm>
              <a:off x="5354875" y="2859575"/>
              <a:ext cx="133125" cy="419400"/>
            </a:xfrm>
            <a:custGeom>
              <a:avLst/>
              <a:gdLst/>
              <a:ahLst/>
              <a:cxnLst/>
              <a:rect l="l" t="t" r="r" b="b"/>
              <a:pathLst>
                <a:path w="5325" h="16776" extrusionOk="0">
                  <a:moveTo>
                    <a:pt x="4991" y="0"/>
                  </a:moveTo>
                  <a:cubicBezTo>
                    <a:pt x="4895" y="0"/>
                    <a:pt x="4800" y="49"/>
                    <a:pt x="4733" y="139"/>
                  </a:cubicBezTo>
                  <a:cubicBezTo>
                    <a:pt x="4733" y="139"/>
                    <a:pt x="1332" y="4649"/>
                    <a:pt x="334" y="9234"/>
                  </a:cubicBezTo>
                  <a:cubicBezTo>
                    <a:pt x="112" y="10343"/>
                    <a:pt x="1" y="11341"/>
                    <a:pt x="1" y="12228"/>
                  </a:cubicBezTo>
                  <a:cubicBezTo>
                    <a:pt x="1" y="15001"/>
                    <a:pt x="925" y="16591"/>
                    <a:pt x="925" y="16628"/>
                  </a:cubicBezTo>
                  <a:cubicBezTo>
                    <a:pt x="999" y="16726"/>
                    <a:pt x="1106" y="16776"/>
                    <a:pt x="1213" y="16776"/>
                  </a:cubicBezTo>
                  <a:cubicBezTo>
                    <a:pt x="1266" y="16776"/>
                    <a:pt x="1319" y="16763"/>
                    <a:pt x="1369" y="16739"/>
                  </a:cubicBezTo>
                  <a:cubicBezTo>
                    <a:pt x="1517" y="16665"/>
                    <a:pt x="1554" y="16443"/>
                    <a:pt x="1480" y="16295"/>
                  </a:cubicBezTo>
                  <a:cubicBezTo>
                    <a:pt x="1369" y="16147"/>
                    <a:pt x="629" y="14705"/>
                    <a:pt x="629" y="12228"/>
                  </a:cubicBezTo>
                  <a:cubicBezTo>
                    <a:pt x="629" y="11378"/>
                    <a:pt x="703" y="10417"/>
                    <a:pt x="925" y="9382"/>
                  </a:cubicBezTo>
                  <a:cubicBezTo>
                    <a:pt x="1406" y="7163"/>
                    <a:pt x="2478" y="4945"/>
                    <a:pt x="3439" y="3281"/>
                  </a:cubicBezTo>
                  <a:cubicBezTo>
                    <a:pt x="3920" y="2431"/>
                    <a:pt x="4363" y="1729"/>
                    <a:pt x="4696" y="1248"/>
                  </a:cubicBezTo>
                  <a:cubicBezTo>
                    <a:pt x="4881" y="1026"/>
                    <a:pt x="4992" y="841"/>
                    <a:pt x="5103" y="693"/>
                  </a:cubicBezTo>
                  <a:cubicBezTo>
                    <a:pt x="5177" y="582"/>
                    <a:pt x="5251" y="509"/>
                    <a:pt x="5251" y="509"/>
                  </a:cubicBezTo>
                  <a:cubicBezTo>
                    <a:pt x="5325" y="361"/>
                    <a:pt x="5325" y="176"/>
                    <a:pt x="5177" y="65"/>
                  </a:cubicBezTo>
                  <a:cubicBezTo>
                    <a:pt x="5118" y="21"/>
                    <a:pt x="5054" y="0"/>
                    <a:pt x="4991"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1" name="Google Shape;1911;p37"/>
            <p:cNvSpPr/>
            <p:nvPr/>
          </p:nvSpPr>
          <p:spPr>
            <a:xfrm>
              <a:off x="3913950" y="2701900"/>
              <a:ext cx="2461350" cy="2225975"/>
            </a:xfrm>
            <a:custGeom>
              <a:avLst/>
              <a:gdLst/>
              <a:ahLst/>
              <a:cxnLst/>
              <a:rect l="l" t="t" r="r" b="b"/>
              <a:pathLst>
                <a:path w="98454" h="89039" extrusionOk="0">
                  <a:moveTo>
                    <a:pt x="45813" y="0"/>
                  </a:moveTo>
                  <a:cubicBezTo>
                    <a:pt x="45788" y="0"/>
                    <a:pt x="45770" y="13"/>
                    <a:pt x="45770" y="13"/>
                  </a:cubicBezTo>
                  <a:cubicBezTo>
                    <a:pt x="45770" y="13"/>
                    <a:pt x="18819" y="457"/>
                    <a:pt x="16859" y="567"/>
                  </a:cubicBezTo>
                  <a:cubicBezTo>
                    <a:pt x="14863" y="715"/>
                    <a:pt x="15713" y="14210"/>
                    <a:pt x="15713" y="33434"/>
                  </a:cubicBezTo>
                  <a:cubicBezTo>
                    <a:pt x="15713" y="51106"/>
                    <a:pt x="2219" y="83863"/>
                    <a:pt x="1" y="89038"/>
                  </a:cubicBezTo>
                  <a:lnTo>
                    <a:pt x="25584" y="89038"/>
                  </a:lnTo>
                  <a:cubicBezTo>
                    <a:pt x="26398" y="85489"/>
                    <a:pt x="30280" y="69259"/>
                    <a:pt x="33126" y="60423"/>
                  </a:cubicBezTo>
                  <a:cubicBezTo>
                    <a:pt x="36380" y="50441"/>
                    <a:pt x="40594" y="38093"/>
                    <a:pt x="41408" y="30625"/>
                  </a:cubicBezTo>
                  <a:cubicBezTo>
                    <a:pt x="42258" y="23194"/>
                    <a:pt x="45770" y="3377"/>
                    <a:pt x="45770" y="3377"/>
                  </a:cubicBezTo>
                  <a:cubicBezTo>
                    <a:pt x="46226" y="275"/>
                    <a:pt x="45932" y="0"/>
                    <a:pt x="45813" y="0"/>
                  </a:cubicBezTo>
                  <a:close/>
                  <a:moveTo>
                    <a:pt x="67668" y="1054"/>
                  </a:moveTo>
                  <a:cubicBezTo>
                    <a:pt x="63932" y="1054"/>
                    <a:pt x="63331" y="2426"/>
                    <a:pt x="63331" y="4375"/>
                  </a:cubicBezTo>
                  <a:cubicBezTo>
                    <a:pt x="63331" y="4375"/>
                    <a:pt x="62629" y="13211"/>
                    <a:pt x="61779" y="26854"/>
                  </a:cubicBezTo>
                  <a:cubicBezTo>
                    <a:pt x="60928" y="40459"/>
                    <a:pt x="57564" y="57059"/>
                    <a:pt x="53238" y="68150"/>
                  </a:cubicBezTo>
                  <a:cubicBezTo>
                    <a:pt x="48876" y="79241"/>
                    <a:pt x="49024" y="85970"/>
                    <a:pt x="49135" y="88077"/>
                  </a:cubicBezTo>
                  <a:cubicBezTo>
                    <a:pt x="49172" y="88447"/>
                    <a:pt x="49209" y="88780"/>
                    <a:pt x="49209" y="89038"/>
                  </a:cubicBezTo>
                  <a:lnTo>
                    <a:pt x="68766" y="89038"/>
                  </a:lnTo>
                  <a:cubicBezTo>
                    <a:pt x="68248" y="85896"/>
                    <a:pt x="67990" y="78465"/>
                    <a:pt x="72759" y="65451"/>
                  </a:cubicBezTo>
                  <a:cubicBezTo>
                    <a:pt x="72759" y="65451"/>
                    <a:pt x="72759" y="77134"/>
                    <a:pt x="73868" y="80498"/>
                  </a:cubicBezTo>
                  <a:cubicBezTo>
                    <a:pt x="74489" y="82381"/>
                    <a:pt x="74727" y="83383"/>
                    <a:pt x="75575" y="83383"/>
                  </a:cubicBezTo>
                  <a:cubicBezTo>
                    <a:pt x="76242" y="83383"/>
                    <a:pt x="77286" y="82762"/>
                    <a:pt x="79192" y="81459"/>
                  </a:cubicBezTo>
                  <a:cubicBezTo>
                    <a:pt x="83554" y="78539"/>
                    <a:pt x="98453" y="59425"/>
                    <a:pt x="98453" y="59425"/>
                  </a:cubicBezTo>
                  <a:lnTo>
                    <a:pt x="98453" y="53103"/>
                  </a:lnTo>
                  <a:cubicBezTo>
                    <a:pt x="98453" y="53103"/>
                    <a:pt x="92538" y="56615"/>
                    <a:pt x="88323" y="58722"/>
                  </a:cubicBezTo>
                  <a:cubicBezTo>
                    <a:pt x="87504" y="59132"/>
                    <a:pt x="86834" y="59335"/>
                    <a:pt x="86294" y="59335"/>
                  </a:cubicBezTo>
                  <a:cubicBezTo>
                    <a:pt x="84060" y="59335"/>
                    <a:pt x="84066" y="55855"/>
                    <a:pt x="84959" y="49184"/>
                  </a:cubicBezTo>
                  <a:cubicBezTo>
                    <a:pt x="86068" y="40903"/>
                    <a:pt x="95791" y="9440"/>
                    <a:pt x="95902" y="7185"/>
                  </a:cubicBezTo>
                  <a:cubicBezTo>
                    <a:pt x="96050" y="4930"/>
                    <a:pt x="79192" y="2564"/>
                    <a:pt x="71761" y="1418"/>
                  </a:cubicBezTo>
                  <a:cubicBezTo>
                    <a:pt x="70093" y="1169"/>
                    <a:pt x="68749" y="1054"/>
                    <a:pt x="67668" y="1054"/>
                  </a:cubicBez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2" name="Google Shape;1912;p37"/>
            <p:cNvSpPr/>
            <p:nvPr/>
          </p:nvSpPr>
          <p:spPr>
            <a:xfrm>
              <a:off x="5139525" y="3731850"/>
              <a:ext cx="1235775" cy="1196025"/>
            </a:xfrm>
            <a:custGeom>
              <a:avLst/>
              <a:gdLst/>
              <a:ahLst/>
              <a:cxnLst/>
              <a:rect l="l" t="t" r="r" b="b"/>
              <a:pathLst>
                <a:path w="49431" h="47841" extrusionOk="0">
                  <a:moveTo>
                    <a:pt x="32276" y="0"/>
                  </a:moveTo>
                  <a:cubicBezTo>
                    <a:pt x="32276" y="0"/>
                    <a:pt x="14678" y="31388"/>
                    <a:pt x="5842" y="37969"/>
                  </a:cubicBezTo>
                  <a:cubicBezTo>
                    <a:pt x="3883" y="39448"/>
                    <a:pt x="1960" y="40779"/>
                    <a:pt x="259" y="42073"/>
                  </a:cubicBezTo>
                  <a:cubicBezTo>
                    <a:pt x="1" y="44402"/>
                    <a:pt x="75" y="46029"/>
                    <a:pt x="112" y="46879"/>
                  </a:cubicBezTo>
                  <a:cubicBezTo>
                    <a:pt x="149" y="47249"/>
                    <a:pt x="186" y="47582"/>
                    <a:pt x="186" y="47840"/>
                  </a:cubicBezTo>
                  <a:lnTo>
                    <a:pt x="19743" y="47840"/>
                  </a:lnTo>
                  <a:cubicBezTo>
                    <a:pt x="19225" y="44698"/>
                    <a:pt x="18967" y="37267"/>
                    <a:pt x="23736" y="24253"/>
                  </a:cubicBezTo>
                  <a:cubicBezTo>
                    <a:pt x="23736" y="24253"/>
                    <a:pt x="23736" y="35936"/>
                    <a:pt x="24845" y="39300"/>
                  </a:cubicBezTo>
                  <a:cubicBezTo>
                    <a:pt x="25466" y="41183"/>
                    <a:pt x="25704" y="42185"/>
                    <a:pt x="26552" y="42185"/>
                  </a:cubicBezTo>
                  <a:cubicBezTo>
                    <a:pt x="27219" y="42185"/>
                    <a:pt x="28263" y="41564"/>
                    <a:pt x="30169" y="40261"/>
                  </a:cubicBezTo>
                  <a:cubicBezTo>
                    <a:pt x="34531" y="37341"/>
                    <a:pt x="49430" y="18227"/>
                    <a:pt x="49430" y="18227"/>
                  </a:cubicBezTo>
                  <a:lnTo>
                    <a:pt x="49430" y="11905"/>
                  </a:lnTo>
                  <a:cubicBezTo>
                    <a:pt x="49430" y="11905"/>
                    <a:pt x="43515" y="15417"/>
                    <a:pt x="39300" y="17524"/>
                  </a:cubicBezTo>
                  <a:cubicBezTo>
                    <a:pt x="38481" y="17934"/>
                    <a:pt x="37811" y="18137"/>
                    <a:pt x="37271" y="18137"/>
                  </a:cubicBezTo>
                  <a:cubicBezTo>
                    <a:pt x="35037" y="18137"/>
                    <a:pt x="35043" y="14657"/>
                    <a:pt x="35936" y="7986"/>
                  </a:cubicBezTo>
                  <a:cubicBezTo>
                    <a:pt x="36158" y="6396"/>
                    <a:pt x="36676" y="3919"/>
                    <a:pt x="37415" y="962"/>
                  </a:cubicBezTo>
                  <a:lnTo>
                    <a:pt x="32276" y="0"/>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3" name="Google Shape;1913;p37"/>
            <p:cNvSpPr/>
            <p:nvPr/>
          </p:nvSpPr>
          <p:spPr>
            <a:xfrm>
              <a:off x="3913950" y="3766050"/>
              <a:ext cx="429825" cy="1161825"/>
            </a:xfrm>
            <a:custGeom>
              <a:avLst/>
              <a:gdLst/>
              <a:ahLst/>
              <a:cxnLst/>
              <a:rect l="l" t="t" r="r" b="b"/>
              <a:pathLst>
                <a:path w="17193" h="46473" extrusionOk="0">
                  <a:moveTo>
                    <a:pt x="17192" y="0"/>
                  </a:moveTo>
                  <a:lnTo>
                    <a:pt x="13162" y="8097"/>
                  </a:lnTo>
                  <a:cubicBezTo>
                    <a:pt x="9095" y="24549"/>
                    <a:pt x="1590" y="42738"/>
                    <a:pt x="1" y="46472"/>
                  </a:cubicBezTo>
                  <a:lnTo>
                    <a:pt x="6101" y="46472"/>
                  </a:lnTo>
                  <a:lnTo>
                    <a:pt x="17192" y="0"/>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4" name="Google Shape;1914;p37"/>
            <p:cNvSpPr/>
            <p:nvPr/>
          </p:nvSpPr>
          <p:spPr>
            <a:xfrm>
              <a:off x="5142300" y="4519325"/>
              <a:ext cx="933525" cy="401150"/>
            </a:xfrm>
            <a:custGeom>
              <a:avLst/>
              <a:gdLst/>
              <a:ahLst/>
              <a:cxnLst/>
              <a:rect l="l" t="t" r="r" b="b"/>
              <a:pathLst>
                <a:path w="37341" h="16046" extrusionOk="0">
                  <a:moveTo>
                    <a:pt x="24142" y="777"/>
                  </a:moveTo>
                  <a:lnTo>
                    <a:pt x="24142" y="777"/>
                  </a:lnTo>
                  <a:cubicBezTo>
                    <a:pt x="24216" y="1886"/>
                    <a:pt x="24290" y="2995"/>
                    <a:pt x="24401" y="3993"/>
                  </a:cubicBezTo>
                  <a:cubicBezTo>
                    <a:pt x="24549" y="5546"/>
                    <a:pt x="24771" y="6914"/>
                    <a:pt x="25030" y="7690"/>
                  </a:cubicBezTo>
                  <a:cubicBezTo>
                    <a:pt x="25252" y="8430"/>
                    <a:pt x="25436" y="8984"/>
                    <a:pt x="25621" y="9428"/>
                  </a:cubicBezTo>
                  <a:cubicBezTo>
                    <a:pt x="25769" y="9872"/>
                    <a:pt x="25954" y="10167"/>
                    <a:pt x="26102" y="10278"/>
                  </a:cubicBezTo>
                  <a:cubicBezTo>
                    <a:pt x="26213" y="10352"/>
                    <a:pt x="26287" y="10389"/>
                    <a:pt x="26435" y="10389"/>
                  </a:cubicBezTo>
                  <a:lnTo>
                    <a:pt x="26472" y="10389"/>
                  </a:lnTo>
                  <a:cubicBezTo>
                    <a:pt x="26693" y="10389"/>
                    <a:pt x="27100" y="10241"/>
                    <a:pt x="27655" y="9945"/>
                  </a:cubicBezTo>
                  <a:cubicBezTo>
                    <a:pt x="28209" y="9650"/>
                    <a:pt x="28949" y="9169"/>
                    <a:pt x="29910" y="8541"/>
                  </a:cubicBezTo>
                  <a:cubicBezTo>
                    <a:pt x="30797" y="7912"/>
                    <a:pt x="32276" y="6507"/>
                    <a:pt x="33940" y="4696"/>
                  </a:cubicBezTo>
                  <a:cubicBezTo>
                    <a:pt x="35012" y="3550"/>
                    <a:pt x="36158" y="2256"/>
                    <a:pt x="37341" y="888"/>
                  </a:cubicBezTo>
                  <a:lnTo>
                    <a:pt x="24142" y="777"/>
                  </a:lnTo>
                  <a:close/>
                  <a:moveTo>
                    <a:pt x="11868" y="0"/>
                  </a:moveTo>
                  <a:cubicBezTo>
                    <a:pt x="9613" y="2847"/>
                    <a:pt x="7506" y="5176"/>
                    <a:pt x="5731" y="6470"/>
                  </a:cubicBezTo>
                  <a:cubicBezTo>
                    <a:pt x="3883" y="7875"/>
                    <a:pt x="2108" y="9132"/>
                    <a:pt x="481" y="10315"/>
                  </a:cubicBezTo>
                  <a:cubicBezTo>
                    <a:pt x="333" y="11757"/>
                    <a:pt x="259" y="12940"/>
                    <a:pt x="259" y="13827"/>
                  </a:cubicBezTo>
                  <a:cubicBezTo>
                    <a:pt x="259" y="14493"/>
                    <a:pt x="296" y="15010"/>
                    <a:pt x="333" y="15343"/>
                  </a:cubicBezTo>
                  <a:lnTo>
                    <a:pt x="1" y="15380"/>
                  </a:lnTo>
                  <a:lnTo>
                    <a:pt x="333" y="15380"/>
                  </a:lnTo>
                  <a:cubicBezTo>
                    <a:pt x="333" y="15602"/>
                    <a:pt x="370" y="15824"/>
                    <a:pt x="370" y="16046"/>
                  </a:cubicBezTo>
                  <a:lnTo>
                    <a:pt x="19299" y="16046"/>
                  </a:lnTo>
                  <a:cubicBezTo>
                    <a:pt x="19151" y="15195"/>
                    <a:pt x="19077" y="14086"/>
                    <a:pt x="19077" y="12681"/>
                  </a:cubicBezTo>
                  <a:cubicBezTo>
                    <a:pt x="19077" y="9872"/>
                    <a:pt x="19447" y="5953"/>
                    <a:pt x="20778" y="740"/>
                  </a:cubicBezTo>
                  <a:lnTo>
                    <a:pt x="13273" y="666"/>
                  </a:lnTo>
                  <a:cubicBezTo>
                    <a:pt x="12682" y="666"/>
                    <a:pt x="12201" y="407"/>
                    <a:pt x="11868" y="0"/>
                  </a:cubicBezTo>
                  <a:close/>
                </a:path>
              </a:pathLst>
            </a:custGeom>
            <a:solidFill>
              <a:schemeClr val="accent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5" name="Google Shape;1915;p37"/>
            <p:cNvSpPr/>
            <p:nvPr/>
          </p:nvSpPr>
          <p:spPr>
            <a:xfrm>
              <a:off x="3925975" y="4024850"/>
              <a:ext cx="355850" cy="895625"/>
            </a:xfrm>
            <a:custGeom>
              <a:avLst/>
              <a:gdLst/>
              <a:ahLst/>
              <a:cxnLst/>
              <a:rect l="l" t="t" r="r" b="b"/>
              <a:pathLst>
                <a:path w="14234" h="35825" extrusionOk="0">
                  <a:moveTo>
                    <a:pt x="14234" y="0"/>
                  </a:moveTo>
                  <a:lnTo>
                    <a:pt x="11498" y="8060"/>
                  </a:lnTo>
                  <a:lnTo>
                    <a:pt x="12348" y="7912"/>
                  </a:lnTo>
                  <a:lnTo>
                    <a:pt x="14234" y="0"/>
                  </a:lnTo>
                  <a:close/>
                  <a:moveTo>
                    <a:pt x="7727" y="27358"/>
                  </a:moveTo>
                  <a:lnTo>
                    <a:pt x="7727" y="27358"/>
                  </a:lnTo>
                  <a:cubicBezTo>
                    <a:pt x="5805" y="27913"/>
                    <a:pt x="4104" y="28394"/>
                    <a:pt x="2847" y="28726"/>
                  </a:cubicBezTo>
                  <a:cubicBezTo>
                    <a:pt x="1590" y="31980"/>
                    <a:pt x="555" y="34457"/>
                    <a:pt x="0" y="35825"/>
                  </a:cubicBezTo>
                  <a:lnTo>
                    <a:pt x="5694" y="35825"/>
                  </a:lnTo>
                  <a:lnTo>
                    <a:pt x="7727" y="27358"/>
                  </a:lnTo>
                  <a:close/>
                </a:path>
              </a:pathLst>
            </a:custGeom>
            <a:solidFill>
              <a:schemeClr val="accent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6" name="Google Shape;1916;p37"/>
            <p:cNvSpPr/>
            <p:nvPr/>
          </p:nvSpPr>
          <p:spPr>
            <a:xfrm>
              <a:off x="3906550" y="2694575"/>
              <a:ext cx="2476150" cy="2241625"/>
            </a:xfrm>
            <a:custGeom>
              <a:avLst/>
              <a:gdLst/>
              <a:ahLst/>
              <a:cxnLst/>
              <a:rect l="l" t="t" r="r" b="b"/>
              <a:pathLst>
                <a:path w="99046" h="89665" extrusionOk="0">
                  <a:moveTo>
                    <a:pt x="25427" y="29501"/>
                  </a:moveTo>
                  <a:cubicBezTo>
                    <a:pt x="25333" y="29501"/>
                    <a:pt x="25243" y="29537"/>
                    <a:pt x="25178" y="29624"/>
                  </a:cubicBezTo>
                  <a:lnTo>
                    <a:pt x="20704" y="35502"/>
                  </a:lnTo>
                  <a:cubicBezTo>
                    <a:pt x="20594" y="35650"/>
                    <a:pt x="20594" y="35835"/>
                    <a:pt x="20741" y="35946"/>
                  </a:cubicBezTo>
                  <a:cubicBezTo>
                    <a:pt x="20803" y="35992"/>
                    <a:pt x="20872" y="36013"/>
                    <a:pt x="20939" y="36013"/>
                  </a:cubicBezTo>
                  <a:cubicBezTo>
                    <a:pt x="21031" y="36013"/>
                    <a:pt x="21121" y="35973"/>
                    <a:pt x="21185" y="35909"/>
                  </a:cubicBezTo>
                  <a:lnTo>
                    <a:pt x="25659" y="29993"/>
                  </a:lnTo>
                  <a:cubicBezTo>
                    <a:pt x="25769" y="29846"/>
                    <a:pt x="25732" y="29661"/>
                    <a:pt x="25622" y="29550"/>
                  </a:cubicBezTo>
                  <a:cubicBezTo>
                    <a:pt x="25560" y="29519"/>
                    <a:pt x="25493" y="29501"/>
                    <a:pt x="25427" y="29501"/>
                  </a:cubicBezTo>
                  <a:close/>
                  <a:moveTo>
                    <a:pt x="84879" y="20321"/>
                  </a:moveTo>
                  <a:cubicBezTo>
                    <a:pt x="84739" y="20321"/>
                    <a:pt x="84619" y="20421"/>
                    <a:pt x="84590" y="20566"/>
                  </a:cubicBezTo>
                  <a:lnTo>
                    <a:pt x="79044" y="41196"/>
                  </a:lnTo>
                  <a:cubicBezTo>
                    <a:pt x="79007" y="41343"/>
                    <a:pt x="79118" y="41528"/>
                    <a:pt x="79266" y="41565"/>
                  </a:cubicBezTo>
                  <a:cubicBezTo>
                    <a:pt x="79297" y="41571"/>
                    <a:pt x="79326" y="41574"/>
                    <a:pt x="79355" y="41574"/>
                  </a:cubicBezTo>
                  <a:cubicBezTo>
                    <a:pt x="79497" y="41574"/>
                    <a:pt x="79605" y="41497"/>
                    <a:pt x="79636" y="41343"/>
                  </a:cubicBezTo>
                  <a:lnTo>
                    <a:pt x="85181" y="20714"/>
                  </a:lnTo>
                  <a:cubicBezTo>
                    <a:pt x="85255" y="20529"/>
                    <a:pt x="85144" y="20381"/>
                    <a:pt x="84996" y="20344"/>
                  </a:cubicBezTo>
                  <a:cubicBezTo>
                    <a:pt x="84957" y="20328"/>
                    <a:pt x="84917" y="20321"/>
                    <a:pt x="84879" y="20321"/>
                  </a:cubicBezTo>
                  <a:close/>
                  <a:moveTo>
                    <a:pt x="45982" y="639"/>
                  </a:moveTo>
                  <a:cubicBezTo>
                    <a:pt x="46008" y="736"/>
                    <a:pt x="46029" y="896"/>
                    <a:pt x="46029" y="1119"/>
                  </a:cubicBezTo>
                  <a:cubicBezTo>
                    <a:pt x="46029" y="1600"/>
                    <a:pt x="45955" y="2376"/>
                    <a:pt x="45771" y="3633"/>
                  </a:cubicBezTo>
                  <a:cubicBezTo>
                    <a:pt x="45771" y="3633"/>
                    <a:pt x="42258" y="23413"/>
                    <a:pt x="41408" y="30881"/>
                  </a:cubicBezTo>
                  <a:cubicBezTo>
                    <a:pt x="40595" y="38275"/>
                    <a:pt x="36380" y="50623"/>
                    <a:pt x="33127" y="60605"/>
                  </a:cubicBezTo>
                  <a:cubicBezTo>
                    <a:pt x="30343" y="69280"/>
                    <a:pt x="26571" y="84987"/>
                    <a:pt x="25644" y="89036"/>
                  </a:cubicBezTo>
                  <a:lnTo>
                    <a:pt x="779" y="89036"/>
                  </a:lnTo>
                  <a:cubicBezTo>
                    <a:pt x="2092" y="85905"/>
                    <a:pt x="5803" y="76838"/>
                    <a:pt x="9281" y="66336"/>
                  </a:cubicBezTo>
                  <a:cubicBezTo>
                    <a:pt x="12941" y="55244"/>
                    <a:pt x="16305" y="42637"/>
                    <a:pt x="16342" y="33727"/>
                  </a:cubicBezTo>
                  <a:cubicBezTo>
                    <a:pt x="16342" y="24854"/>
                    <a:pt x="16157" y="17202"/>
                    <a:pt x="16157" y="11545"/>
                  </a:cubicBezTo>
                  <a:cubicBezTo>
                    <a:pt x="16157" y="8218"/>
                    <a:pt x="16194" y="5593"/>
                    <a:pt x="16416" y="3781"/>
                  </a:cubicBezTo>
                  <a:cubicBezTo>
                    <a:pt x="16490" y="2894"/>
                    <a:pt x="16638" y="2191"/>
                    <a:pt x="16786" y="1748"/>
                  </a:cubicBezTo>
                  <a:cubicBezTo>
                    <a:pt x="16860" y="1526"/>
                    <a:pt x="16933" y="1378"/>
                    <a:pt x="17007" y="1267"/>
                  </a:cubicBezTo>
                  <a:cubicBezTo>
                    <a:pt x="17081" y="1193"/>
                    <a:pt x="17118" y="1193"/>
                    <a:pt x="17155" y="1193"/>
                  </a:cubicBezTo>
                  <a:cubicBezTo>
                    <a:pt x="17636" y="1156"/>
                    <a:pt x="19706" y="1082"/>
                    <a:pt x="22516" y="1045"/>
                  </a:cubicBezTo>
                  <a:cubicBezTo>
                    <a:pt x="26694" y="934"/>
                    <a:pt x="32609" y="860"/>
                    <a:pt x="37452" y="750"/>
                  </a:cubicBezTo>
                  <a:cubicBezTo>
                    <a:pt x="39855" y="713"/>
                    <a:pt x="42036" y="676"/>
                    <a:pt x="43589" y="676"/>
                  </a:cubicBezTo>
                  <a:cubicBezTo>
                    <a:pt x="44869" y="645"/>
                    <a:pt x="45721" y="640"/>
                    <a:pt x="45982" y="639"/>
                  </a:cubicBezTo>
                  <a:close/>
                  <a:moveTo>
                    <a:pt x="67916" y="1637"/>
                  </a:moveTo>
                  <a:cubicBezTo>
                    <a:pt x="68988" y="1637"/>
                    <a:pt x="70319" y="1785"/>
                    <a:pt x="72020" y="2007"/>
                  </a:cubicBezTo>
                  <a:cubicBezTo>
                    <a:pt x="75717" y="2598"/>
                    <a:pt x="81743" y="3448"/>
                    <a:pt x="86845" y="4484"/>
                  </a:cubicBezTo>
                  <a:cubicBezTo>
                    <a:pt x="89396" y="4964"/>
                    <a:pt x="91725" y="5519"/>
                    <a:pt x="93389" y="6073"/>
                  </a:cubicBezTo>
                  <a:cubicBezTo>
                    <a:pt x="94202" y="6332"/>
                    <a:pt x="94867" y="6591"/>
                    <a:pt x="95311" y="6887"/>
                  </a:cubicBezTo>
                  <a:cubicBezTo>
                    <a:pt x="95533" y="6998"/>
                    <a:pt x="95681" y="7109"/>
                    <a:pt x="95792" y="7219"/>
                  </a:cubicBezTo>
                  <a:cubicBezTo>
                    <a:pt x="95903" y="7330"/>
                    <a:pt x="95903" y="7404"/>
                    <a:pt x="95903" y="7441"/>
                  </a:cubicBezTo>
                  <a:cubicBezTo>
                    <a:pt x="95903" y="7552"/>
                    <a:pt x="95866" y="7811"/>
                    <a:pt x="95792" y="8144"/>
                  </a:cubicBezTo>
                  <a:cubicBezTo>
                    <a:pt x="95200" y="10806"/>
                    <a:pt x="92760" y="19198"/>
                    <a:pt x="90320" y="27849"/>
                  </a:cubicBezTo>
                  <a:cubicBezTo>
                    <a:pt x="87880" y="36537"/>
                    <a:pt x="85477" y="45484"/>
                    <a:pt x="84959" y="49440"/>
                  </a:cubicBezTo>
                  <a:cubicBezTo>
                    <a:pt x="84590" y="52028"/>
                    <a:pt x="84368" y="54135"/>
                    <a:pt x="84368" y="55762"/>
                  </a:cubicBezTo>
                  <a:cubicBezTo>
                    <a:pt x="84368" y="57056"/>
                    <a:pt x="84516" y="58054"/>
                    <a:pt x="84848" y="58794"/>
                  </a:cubicBezTo>
                  <a:cubicBezTo>
                    <a:pt x="85033" y="59163"/>
                    <a:pt x="85255" y="59459"/>
                    <a:pt x="85551" y="59644"/>
                  </a:cubicBezTo>
                  <a:cubicBezTo>
                    <a:pt x="85847" y="59829"/>
                    <a:pt x="86216" y="59940"/>
                    <a:pt x="86586" y="59940"/>
                  </a:cubicBezTo>
                  <a:cubicBezTo>
                    <a:pt x="87215" y="59940"/>
                    <a:pt x="87917" y="59718"/>
                    <a:pt x="88767" y="59311"/>
                  </a:cubicBezTo>
                  <a:cubicBezTo>
                    <a:pt x="92261" y="57533"/>
                    <a:pt x="96924" y="54816"/>
                    <a:pt x="98417" y="53938"/>
                  </a:cubicBezTo>
                  <a:lnTo>
                    <a:pt x="98417" y="53938"/>
                  </a:lnTo>
                  <a:lnTo>
                    <a:pt x="98417" y="59631"/>
                  </a:lnTo>
                  <a:lnTo>
                    <a:pt x="98417" y="59631"/>
                  </a:lnTo>
                  <a:cubicBezTo>
                    <a:pt x="98320" y="59757"/>
                    <a:pt x="98132" y="60003"/>
                    <a:pt x="97862" y="60346"/>
                  </a:cubicBezTo>
                  <a:cubicBezTo>
                    <a:pt x="96383" y="62195"/>
                    <a:pt x="92686" y="66853"/>
                    <a:pt x="88878" y="71364"/>
                  </a:cubicBezTo>
                  <a:cubicBezTo>
                    <a:pt x="86993" y="73619"/>
                    <a:pt x="85070" y="75874"/>
                    <a:pt x="83370" y="77686"/>
                  </a:cubicBezTo>
                  <a:cubicBezTo>
                    <a:pt x="81706" y="79497"/>
                    <a:pt x="80227" y="80902"/>
                    <a:pt x="79340" y="81531"/>
                  </a:cubicBezTo>
                  <a:cubicBezTo>
                    <a:pt x="78379" y="82159"/>
                    <a:pt x="77639" y="82640"/>
                    <a:pt x="77085" y="82935"/>
                  </a:cubicBezTo>
                  <a:cubicBezTo>
                    <a:pt x="76493" y="83268"/>
                    <a:pt x="76123" y="83379"/>
                    <a:pt x="75865" y="83379"/>
                  </a:cubicBezTo>
                  <a:cubicBezTo>
                    <a:pt x="75717" y="83379"/>
                    <a:pt x="75643" y="83342"/>
                    <a:pt x="75532" y="83268"/>
                  </a:cubicBezTo>
                  <a:cubicBezTo>
                    <a:pt x="75384" y="83157"/>
                    <a:pt x="75199" y="82862"/>
                    <a:pt x="75051" y="82418"/>
                  </a:cubicBezTo>
                  <a:cubicBezTo>
                    <a:pt x="74866" y="81974"/>
                    <a:pt x="74682" y="81420"/>
                    <a:pt x="74460" y="80680"/>
                  </a:cubicBezTo>
                  <a:cubicBezTo>
                    <a:pt x="74201" y="79904"/>
                    <a:pt x="73979" y="78536"/>
                    <a:pt x="73831" y="76983"/>
                  </a:cubicBezTo>
                  <a:cubicBezTo>
                    <a:pt x="73572" y="74654"/>
                    <a:pt x="73461" y="71844"/>
                    <a:pt x="73388" y="69626"/>
                  </a:cubicBezTo>
                  <a:cubicBezTo>
                    <a:pt x="73388" y="68517"/>
                    <a:pt x="73351" y="67556"/>
                    <a:pt x="73351" y="66853"/>
                  </a:cubicBezTo>
                  <a:cubicBezTo>
                    <a:pt x="73351" y="66151"/>
                    <a:pt x="73351" y="65744"/>
                    <a:pt x="73351" y="65744"/>
                  </a:cubicBezTo>
                  <a:cubicBezTo>
                    <a:pt x="73351" y="65596"/>
                    <a:pt x="73240" y="65485"/>
                    <a:pt x="73092" y="65448"/>
                  </a:cubicBezTo>
                  <a:cubicBezTo>
                    <a:pt x="72944" y="65448"/>
                    <a:pt x="72796" y="65522"/>
                    <a:pt x="72759" y="65670"/>
                  </a:cubicBezTo>
                  <a:cubicBezTo>
                    <a:pt x="72750" y="65695"/>
                    <a:pt x="72741" y="65719"/>
                    <a:pt x="72732" y="65744"/>
                  </a:cubicBezTo>
                  <a:lnTo>
                    <a:pt x="72722" y="65744"/>
                  </a:lnTo>
                  <a:cubicBezTo>
                    <a:pt x="72722" y="65746"/>
                    <a:pt x="72722" y="65755"/>
                    <a:pt x="72722" y="65771"/>
                  </a:cubicBezTo>
                  <a:lnTo>
                    <a:pt x="72722" y="65771"/>
                  </a:lnTo>
                  <a:cubicBezTo>
                    <a:pt x="69315" y="75070"/>
                    <a:pt x="68507" y="81545"/>
                    <a:pt x="68507" y="85671"/>
                  </a:cubicBezTo>
                  <a:cubicBezTo>
                    <a:pt x="68507" y="87058"/>
                    <a:pt x="68592" y="88163"/>
                    <a:pt x="68711" y="89036"/>
                  </a:cubicBezTo>
                  <a:lnTo>
                    <a:pt x="49802" y="89036"/>
                  </a:lnTo>
                  <a:cubicBezTo>
                    <a:pt x="49780" y="88832"/>
                    <a:pt x="49763" y="88618"/>
                    <a:pt x="49763" y="88370"/>
                  </a:cubicBezTo>
                  <a:lnTo>
                    <a:pt x="49431" y="88370"/>
                  </a:lnTo>
                  <a:lnTo>
                    <a:pt x="49763" y="88333"/>
                  </a:lnTo>
                  <a:cubicBezTo>
                    <a:pt x="49726" y="88000"/>
                    <a:pt x="49689" y="87483"/>
                    <a:pt x="49689" y="86817"/>
                  </a:cubicBezTo>
                  <a:cubicBezTo>
                    <a:pt x="49689" y="83786"/>
                    <a:pt x="50244" y="77649"/>
                    <a:pt x="53793" y="68554"/>
                  </a:cubicBezTo>
                  <a:cubicBezTo>
                    <a:pt x="58156" y="57389"/>
                    <a:pt x="61557" y="40826"/>
                    <a:pt x="62407" y="27147"/>
                  </a:cubicBezTo>
                  <a:cubicBezTo>
                    <a:pt x="62814" y="20344"/>
                    <a:pt x="63184" y="14725"/>
                    <a:pt x="63479" y="10806"/>
                  </a:cubicBezTo>
                  <a:cubicBezTo>
                    <a:pt x="63627" y="8846"/>
                    <a:pt x="63738" y="7330"/>
                    <a:pt x="63812" y="6295"/>
                  </a:cubicBezTo>
                  <a:cubicBezTo>
                    <a:pt x="63886" y="5260"/>
                    <a:pt x="63923" y="4705"/>
                    <a:pt x="63923" y="4705"/>
                  </a:cubicBezTo>
                  <a:lnTo>
                    <a:pt x="63923" y="4668"/>
                  </a:lnTo>
                  <a:cubicBezTo>
                    <a:pt x="63923" y="4188"/>
                    <a:pt x="63960" y="3781"/>
                    <a:pt x="64071" y="3411"/>
                  </a:cubicBezTo>
                  <a:cubicBezTo>
                    <a:pt x="64219" y="2857"/>
                    <a:pt x="64515" y="2450"/>
                    <a:pt x="65069" y="2154"/>
                  </a:cubicBezTo>
                  <a:cubicBezTo>
                    <a:pt x="65661" y="1859"/>
                    <a:pt x="66548" y="1637"/>
                    <a:pt x="67916" y="1637"/>
                  </a:cubicBezTo>
                  <a:close/>
                  <a:moveTo>
                    <a:pt x="46167" y="0"/>
                  </a:moveTo>
                  <a:cubicBezTo>
                    <a:pt x="46146" y="0"/>
                    <a:pt x="46124" y="3"/>
                    <a:pt x="46103" y="10"/>
                  </a:cubicBezTo>
                  <a:cubicBezTo>
                    <a:pt x="46090" y="10"/>
                    <a:pt x="46078" y="11"/>
                    <a:pt x="46066" y="12"/>
                  </a:cubicBezTo>
                  <a:lnTo>
                    <a:pt x="46066" y="12"/>
                  </a:lnTo>
                  <a:lnTo>
                    <a:pt x="46066" y="10"/>
                  </a:lnTo>
                  <a:cubicBezTo>
                    <a:pt x="46066" y="10"/>
                    <a:pt x="39338" y="121"/>
                    <a:pt x="32350" y="232"/>
                  </a:cubicBezTo>
                  <a:cubicBezTo>
                    <a:pt x="28838" y="306"/>
                    <a:pt x="25289" y="380"/>
                    <a:pt x="22479" y="417"/>
                  </a:cubicBezTo>
                  <a:cubicBezTo>
                    <a:pt x="19669" y="491"/>
                    <a:pt x="17636" y="528"/>
                    <a:pt x="17118" y="565"/>
                  </a:cubicBezTo>
                  <a:cubicBezTo>
                    <a:pt x="16896" y="602"/>
                    <a:pt x="16675" y="713"/>
                    <a:pt x="16564" y="897"/>
                  </a:cubicBezTo>
                  <a:cubicBezTo>
                    <a:pt x="16305" y="1193"/>
                    <a:pt x="16157" y="1637"/>
                    <a:pt x="16009" y="2228"/>
                  </a:cubicBezTo>
                  <a:cubicBezTo>
                    <a:pt x="15639" y="3966"/>
                    <a:pt x="15529" y="7182"/>
                    <a:pt x="15529" y="11545"/>
                  </a:cubicBezTo>
                  <a:cubicBezTo>
                    <a:pt x="15529" y="17202"/>
                    <a:pt x="15713" y="24854"/>
                    <a:pt x="15713" y="33727"/>
                  </a:cubicBezTo>
                  <a:cubicBezTo>
                    <a:pt x="15713" y="42490"/>
                    <a:pt x="12349" y="55097"/>
                    <a:pt x="8689" y="66114"/>
                  </a:cubicBezTo>
                  <a:cubicBezTo>
                    <a:pt x="5029" y="77168"/>
                    <a:pt x="1110" y="86633"/>
                    <a:pt x="38" y="89220"/>
                  </a:cubicBezTo>
                  <a:cubicBezTo>
                    <a:pt x="1" y="89331"/>
                    <a:pt x="1" y="89442"/>
                    <a:pt x="38" y="89516"/>
                  </a:cubicBezTo>
                  <a:cubicBezTo>
                    <a:pt x="112" y="89590"/>
                    <a:pt x="223" y="89664"/>
                    <a:pt x="297" y="89664"/>
                  </a:cubicBezTo>
                  <a:lnTo>
                    <a:pt x="25880" y="89664"/>
                  </a:lnTo>
                  <a:cubicBezTo>
                    <a:pt x="26028" y="89664"/>
                    <a:pt x="26139" y="89553"/>
                    <a:pt x="26176" y="89405"/>
                  </a:cubicBezTo>
                  <a:cubicBezTo>
                    <a:pt x="26989" y="85856"/>
                    <a:pt x="30871" y="69626"/>
                    <a:pt x="33718" y="60790"/>
                  </a:cubicBezTo>
                  <a:cubicBezTo>
                    <a:pt x="36972" y="50845"/>
                    <a:pt x="41186" y="38460"/>
                    <a:pt x="42036" y="30955"/>
                  </a:cubicBezTo>
                  <a:cubicBezTo>
                    <a:pt x="42443" y="27258"/>
                    <a:pt x="43515" y="20455"/>
                    <a:pt x="44514" y="14577"/>
                  </a:cubicBezTo>
                  <a:cubicBezTo>
                    <a:pt x="44994" y="11619"/>
                    <a:pt x="45475" y="8920"/>
                    <a:pt x="45807" y="6961"/>
                  </a:cubicBezTo>
                  <a:cubicBezTo>
                    <a:pt x="45992" y="5962"/>
                    <a:pt x="46140" y="5149"/>
                    <a:pt x="46214" y="4595"/>
                  </a:cubicBezTo>
                  <a:cubicBezTo>
                    <a:pt x="46325" y="4040"/>
                    <a:pt x="46362" y="3744"/>
                    <a:pt x="46362" y="3744"/>
                  </a:cubicBezTo>
                  <a:cubicBezTo>
                    <a:pt x="46584" y="2450"/>
                    <a:pt x="46621" y="1637"/>
                    <a:pt x="46621" y="1119"/>
                  </a:cubicBezTo>
                  <a:cubicBezTo>
                    <a:pt x="46621" y="750"/>
                    <a:pt x="46584" y="528"/>
                    <a:pt x="46547" y="343"/>
                  </a:cubicBezTo>
                  <a:cubicBezTo>
                    <a:pt x="46510" y="232"/>
                    <a:pt x="46473" y="158"/>
                    <a:pt x="46399" y="84"/>
                  </a:cubicBezTo>
                  <a:cubicBezTo>
                    <a:pt x="46339" y="54"/>
                    <a:pt x="46255" y="0"/>
                    <a:pt x="46167" y="0"/>
                  </a:cubicBezTo>
                  <a:close/>
                  <a:moveTo>
                    <a:pt x="67916" y="1045"/>
                  </a:moveTo>
                  <a:cubicBezTo>
                    <a:pt x="66030" y="1045"/>
                    <a:pt x="64884" y="1378"/>
                    <a:pt x="64182" y="2044"/>
                  </a:cubicBezTo>
                  <a:cubicBezTo>
                    <a:pt x="63812" y="2376"/>
                    <a:pt x="63590" y="2783"/>
                    <a:pt x="63479" y="3227"/>
                  </a:cubicBezTo>
                  <a:cubicBezTo>
                    <a:pt x="63371" y="3660"/>
                    <a:pt x="63333" y="4128"/>
                    <a:pt x="63332" y="4632"/>
                  </a:cubicBezTo>
                  <a:lnTo>
                    <a:pt x="63332" y="4632"/>
                  </a:lnTo>
                  <a:lnTo>
                    <a:pt x="63332" y="4631"/>
                  </a:lnTo>
                  <a:cubicBezTo>
                    <a:pt x="63332" y="4631"/>
                    <a:pt x="62629" y="13504"/>
                    <a:pt x="61779" y="27110"/>
                  </a:cubicBezTo>
                  <a:cubicBezTo>
                    <a:pt x="60928" y="40715"/>
                    <a:pt x="57564" y="57278"/>
                    <a:pt x="53239" y="68332"/>
                  </a:cubicBezTo>
                  <a:cubicBezTo>
                    <a:pt x="49615" y="77464"/>
                    <a:pt x="49098" y="83712"/>
                    <a:pt x="49098" y="86817"/>
                  </a:cubicBezTo>
                  <a:cubicBezTo>
                    <a:pt x="49098" y="87483"/>
                    <a:pt x="49098" y="88000"/>
                    <a:pt x="49135" y="88407"/>
                  </a:cubicBezTo>
                  <a:cubicBezTo>
                    <a:pt x="49172" y="88777"/>
                    <a:pt x="49172" y="89073"/>
                    <a:pt x="49209" y="89368"/>
                  </a:cubicBezTo>
                  <a:cubicBezTo>
                    <a:pt x="49209" y="89516"/>
                    <a:pt x="49357" y="89664"/>
                    <a:pt x="49505" y="89664"/>
                  </a:cubicBezTo>
                  <a:lnTo>
                    <a:pt x="69062" y="89664"/>
                  </a:lnTo>
                  <a:cubicBezTo>
                    <a:pt x="69173" y="89664"/>
                    <a:pt x="69247" y="89627"/>
                    <a:pt x="69321" y="89553"/>
                  </a:cubicBezTo>
                  <a:cubicBezTo>
                    <a:pt x="69358" y="89479"/>
                    <a:pt x="69395" y="89405"/>
                    <a:pt x="69395" y="89294"/>
                  </a:cubicBezTo>
                  <a:cubicBezTo>
                    <a:pt x="69247" y="88444"/>
                    <a:pt x="69099" y="87224"/>
                    <a:pt x="69099" y="85671"/>
                  </a:cubicBezTo>
                  <a:cubicBezTo>
                    <a:pt x="69099" y="81879"/>
                    <a:pt x="69819" y="75960"/>
                    <a:pt x="72738" y="67481"/>
                  </a:cubicBezTo>
                  <a:lnTo>
                    <a:pt x="72738" y="67481"/>
                  </a:lnTo>
                  <a:cubicBezTo>
                    <a:pt x="72756" y="68639"/>
                    <a:pt x="72793" y="70268"/>
                    <a:pt x="72870" y="72029"/>
                  </a:cubicBezTo>
                  <a:cubicBezTo>
                    <a:pt x="72944" y="73693"/>
                    <a:pt x="73055" y="75467"/>
                    <a:pt x="73203" y="77057"/>
                  </a:cubicBezTo>
                  <a:cubicBezTo>
                    <a:pt x="73351" y="78610"/>
                    <a:pt x="73572" y="79978"/>
                    <a:pt x="73868" y="80902"/>
                  </a:cubicBezTo>
                  <a:cubicBezTo>
                    <a:pt x="74201" y="81826"/>
                    <a:pt x="74386" y="82566"/>
                    <a:pt x="74645" y="83083"/>
                  </a:cubicBezTo>
                  <a:cubicBezTo>
                    <a:pt x="74792" y="83342"/>
                    <a:pt x="74940" y="83564"/>
                    <a:pt x="75125" y="83749"/>
                  </a:cubicBezTo>
                  <a:cubicBezTo>
                    <a:pt x="75347" y="83897"/>
                    <a:pt x="75606" y="84008"/>
                    <a:pt x="75865" y="84008"/>
                  </a:cubicBezTo>
                  <a:cubicBezTo>
                    <a:pt x="76308" y="83971"/>
                    <a:pt x="76752" y="83823"/>
                    <a:pt x="77380" y="83490"/>
                  </a:cubicBezTo>
                  <a:cubicBezTo>
                    <a:pt x="77972" y="83157"/>
                    <a:pt x="78711" y="82677"/>
                    <a:pt x="79673" y="82011"/>
                  </a:cubicBezTo>
                  <a:cubicBezTo>
                    <a:pt x="80819" y="81235"/>
                    <a:pt x="82556" y="79497"/>
                    <a:pt x="84553" y="77279"/>
                  </a:cubicBezTo>
                  <a:cubicBezTo>
                    <a:pt x="90616" y="70661"/>
                    <a:pt x="98971" y="59903"/>
                    <a:pt x="98971" y="59903"/>
                  </a:cubicBezTo>
                  <a:cubicBezTo>
                    <a:pt x="99008" y="59866"/>
                    <a:pt x="99045" y="59792"/>
                    <a:pt x="99045" y="59718"/>
                  </a:cubicBezTo>
                  <a:lnTo>
                    <a:pt x="99045" y="53396"/>
                  </a:lnTo>
                  <a:cubicBezTo>
                    <a:pt x="99045" y="53285"/>
                    <a:pt x="98971" y="53174"/>
                    <a:pt x="98897" y="53137"/>
                  </a:cubicBezTo>
                  <a:cubicBezTo>
                    <a:pt x="98842" y="53100"/>
                    <a:pt x="98786" y="53082"/>
                    <a:pt x="98731" y="53082"/>
                  </a:cubicBezTo>
                  <a:cubicBezTo>
                    <a:pt x="98675" y="53082"/>
                    <a:pt x="98620" y="53100"/>
                    <a:pt x="98565" y="53137"/>
                  </a:cubicBezTo>
                  <a:cubicBezTo>
                    <a:pt x="98565" y="53137"/>
                    <a:pt x="98232" y="53359"/>
                    <a:pt x="97603" y="53729"/>
                  </a:cubicBezTo>
                  <a:cubicBezTo>
                    <a:pt x="95755" y="54801"/>
                    <a:pt x="91651" y="57167"/>
                    <a:pt x="88472" y="58757"/>
                  </a:cubicBezTo>
                  <a:cubicBezTo>
                    <a:pt x="87695" y="59126"/>
                    <a:pt x="87067" y="59311"/>
                    <a:pt x="86586" y="59311"/>
                  </a:cubicBezTo>
                  <a:cubicBezTo>
                    <a:pt x="86290" y="59311"/>
                    <a:pt x="86068" y="59237"/>
                    <a:pt x="85884" y="59126"/>
                  </a:cubicBezTo>
                  <a:cubicBezTo>
                    <a:pt x="85625" y="58941"/>
                    <a:pt x="85403" y="58609"/>
                    <a:pt x="85218" y="58017"/>
                  </a:cubicBezTo>
                  <a:cubicBezTo>
                    <a:pt x="85070" y="57463"/>
                    <a:pt x="84996" y="56723"/>
                    <a:pt x="84996" y="55762"/>
                  </a:cubicBezTo>
                  <a:cubicBezTo>
                    <a:pt x="84996" y="54172"/>
                    <a:pt x="85218" y="52102"/>
                    <a:pt x="85551" y="49514"/>
                  </a:cubicBezTo>
                  <a:cubicBezTo>
                    <a:pt x="86105" y="45410"/>
                    <a:pt x="88804" y="35465"/>
                    <a:pt x="91392" y="26296"/>
                  </a:cubicBezTo>
                  <a:cubicBezTo>
                    <a:pt x="92686" y="21712"/>
                    <a:pt x="93943" y="17312"/>
                    <a:pt x="94904" y="13911"/>
                  </a:cubicBezTo>
                  <a:cubicBezTo>
                    <a:pt x="95385" y="12210"/>
                    <a:pt x="95755" y="10769"/>
                    <a:pt x="96051" y="9660"/>
                  </a:cubicBezTo>
                  <a:cubicBezTo>
                    <a:pt x="96198" y="9105"/>
                    <a:pt x="96309" y="8661"/>
                    <a:pt x="96383" y="8292"/>
                  </a:cubicBezTo>
                  <a:cubicBezTo>
                    <a:pt x="96457" y="7922"/>
                    <a:pt x="96494" y="7663"/>
                    <a:pt x="96531" y="7478"/>
                  </a:cubicBezTo>
                  <a:lnTo>
                    <a:pt x="96531" y="7441"/>
                  </a:lnTo>
                  <a:cubicBezTo>
                    <a:pt x="96531" y="7219"/>
                    <a:pt x="96420" y="6998"/>
                    <a:pt x="96235" y="6813"/>
                  </a:cubicBezTo>
                  <a:cubicBezTo>
                    <a:pt x="95977" y="6480"/>
                    <a:pt x="95496" y="6221"/>
                    <a:pt x="94867" y="5962"/>
                  </a:cubicBezTo>
                  <a:cubicBezTo>
                    <a:pt x="92686" y="5001"/>
                    <a:pt x="88545" y="4114"/>
                    <a:pt x="84146" y="3338"/>
                  </a:cubicBezTo>
                  <a:cubicBezTo>
                    <a:pt x="79746" y="2561"/>
                    <a:pt x="75125" y="1859"/>
                    <a:pt x="72094" y="1415"/>
                  </a:cubicBezTo>
                  <a:cubicBezTo>
                    <a:pt x="70393" y="1156"/>
                    <a:pt x="69025" y="1045"/>
                    <a:pt x="67916" y="1045"/>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7" name="Google Shape;1917;p37"/>
            <p:cNvSpPr/>
            <p:nvPr/>
          </p:nvSpPr>
          <p:spPr>
            <a:xfrm>
              <a:off x="4643200" y="2691125"/>
              <a:ext cx="389150" cy="1764450"/>
            </a:xfrm>
            <a:custGeom>
              <a:avLst/>
              <a:gdLst/>
              <a:ahLst/>
              <a:cxnLst/>
              <a:rect l="l" t="t" r="r" b="b"/>
              <a:pathLst>
                <a:path w="15566" h="70578" extrusionOk="0">
                  <a:moveTo>
                    <a:pt x="15189" y="0"/>
                  </a:moveTo>
                  <a:cubicBezTo>
                    <a:pt x="15084" y="0"/>
                    <a:pt x="14986" y="50"/>
                    <a:pt x="14937" y="148"/>
                  </a:cubicBezTo>
                  <a:lnTo>
                    <a:pt x="3845" y="20112"/>
                  </a:lnTo>
                  <a:cubicBezTo>
                    <a:pt x="3771" y="20223"/>
                    <a:pt x="3771" y="20334"/>
                    <a:pt x="3845" y="20445"/>
                  </a:cubicBezTo>
                  <a:lnTo>
                    <a:pt x="8171" y="26360"/>
                  </a:lnTo>
                  <a:lnTo>
                    <a:pt x="3217" y="29836"/>
                  </a:lnTo>
                  <a:cubicBezTo>
                    <a:pt x="3143" y="29873"/>
                    <a:pt x="3106" y="29984"/>
                    <a:pt x="3106" y="30057"/>
                  </a:cubicBezTo>
                  <a:lnTo>
                    <a:pt x="0" y="70245"/>
                  </a:lnTo>
                  <a:cubicBezTo>
                    <a:pt x="0" y="70393"/>
                    <a:pt x="111" y="70540"/>
                    <a:pt x="296" y="70577"/>
                  </a:cubicBezTo>
                  <a:cubicBezTo>
                    <a:pt x="444" y="70577"/>
                    <a:pt x="592" y="70429"/>
                    <a:pt x="629" y="70282"/>
                  </a:cubicBezTo>
                  <a:lnTo>
                    <a:pt x="3698" y="30242"/>
                  </a:lnTo>
                  <a:lnTo>
                    <a:pt x="8763" y="26693"/>
                  </a:lnTo>
                  <a:cubicBezTo>
                    <a:pt x="8836" y="26656"/>
                    <a:pt x="8910" y="26582"/>
                    <a:pt x="8910" y="26471"/>
                  </a:cubicBezTo>
                  <a:cubicBezTo>
                    <a:pt x="8910" y="26397"/>
                    <a:pt x="8910" y="26323"/>
                    <a:pt x="8836" y="26249"/>
                  </a:cubicBezTo>
                  <a:lnTo>
                    <a:pt x="4474" y="20223"/>
                  </a:lnTo>
                  <a:lnTo>
                    <a:pt x="15454" y="444"/>
                  </a:lnTo>
                  <a:cubicBezTo>
                    <a:pt x="15565" y="296"/>
                    <a:pt x="15491" y="111"/>
                    <a:pt x="15343" y="37"/>
                  </a:cubicBezTo>
                  <a:cubicBezTo>
                    <a:pt x="15294" y="13"/>
                    <a:pt x="15241" y="0"/>
                    <a:pt x="15189"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8" name="Google Shape;1918;p37"/>
            <p:cNvSpPr/>
            <p:nvPr/>
          </p:nvSpPr>
          <p:spPr>
            <a:xfrm>
              <a:off x="5353025" y="2758425"/>
              <a:ext cx="360500" cy="1559225"/>
            </a:xfrm>
            <a:custGeom>
              <a:avLst/>
              <a:gdLst/>
              <a:ahLst/>
              <a:cxnLst/>
              <a:rect l="l" t="t" r="r" b="b"/>
              <a:pathLst>
                <a:path w="14420" h="62369" extrusionOk="0">
                  <a:moveTo>
                    <a:pt x="9892" y="0"/>
                  </a:moveTo>
                  <a:cubicBezTo>
                    <a:pt x="9873" y="0"/>
                    <a:pt x="9854" y="2"/>
                    <a:pt x="9835" y="7"/>
                  </a:cubicBezTo>
                  <a:cubicBezTo>
                    <a:pt x="9650" y="7"/>
                    <a:pt x="9539" y="192"/>
                    <a:pt x="9576" y="340"/>
                  </a:cubicBezTo>
                  <a:lnTo>
                    <a:pt x="12941" y="20637"/>
                  </a:lnTo>
                  <a:lnTo>
                    <a:pt x="8393" y="24112"/>
                  </a:lnTo>
                  <a:cubicBezTo>
                    <a:pt x="8356" y="24186"/>
                    <a:pt x="8282" y="24260"/>
                    <a:pt x="8282" y="24334"/>
                  </a:cubicBezTo>
                  <a:cubicBezTo>
                    <a:pt x="8282" y="24445"/>
                    <a:pt x="8319" y="24519"/>
                    <a:pt x="8393" y="24593"/>
                  </a:cubicBezTo>
                  <a:lnTo>
                    <a:pt x="13717" y="29399"/>
                  </a:lnTo>
                  <a:lnTo>
                    <a:pt x="75" y="61933"/>
                  </a:lnTo>
                  <a:cubicBezTo>
                    <a:pt x="1" y="62081"/>
                    <a:pt x="75" y="62266"/>
                    <a:pt x="223" y="62340"/>
                  </a:cubicBezTo>
                  <a:cubicBezTo>
                    <a:pt x="262" y="62360"/>
                    <a:pt x="305" y="62369"/>
                    <a:pt x="347" y="62369"/>
                  </a:cubicBezTo>
                  <a:cubicBezTo>
                    <a:pt x="462" y="62369"/>
                    <a:pt x="575" y="62300"/>
                    <a:pt x="629" y="62192"/>
                  </a:cubicBezTo>
                  <a:lnTo>
                    <a:pt x="14382" y="29436"/>
                  </a:lnTo>
                  <a:cubicBezTo>
                    <a:pt x="14419" y="29325"/>
                    <a:pt x="14419" y="29177"/>
                    <a:pt x="14309" y="29103"/>
                  </a:cubicBezTo>
                  <a:lnTo>
                    <a:pt x="9096" y="24371"/>
                  </a:lnTo>
                  <a:lnTo>
                    <a:pt x="13458" y="21043"/>
                  </a:lnTo>
                  <a:cubicBezTo>
                    <a:pt x="13569" y="20970"/>
                    <a:pt x="13606" y="20859"/>
                    <a:pt x="13569" y="20748"/>
                  </a:cubicBezTo>
                  <a:lnTo>
                    <a:pt x="10168" y="266"/>
                  </a:lnTo>
                  <a:cubicBezTo>
                    <a:pt x="10136" y="105"/>
                    <a:pt x="10019" y="0"/>
                    <a:pt x="9892"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19" name="Google Shape;1919;p37"/>
            <p:cNvSpPr/>
            <p:nvPr/>
          </p:nvSpPr>
          <p:spPr>
            <a:xfrm>
              <a:off x="4686650" y="3654175"/>
              <a:ext cx="1109125" cy="736700"/>
            </a:xfrm>
            <a:custGeom>
              <a:avLst/>
              <a:gdLst/>
              <a:ahLst/>
              <a:cxnLst/>
              <a:rect l="l" t="t" r="r" b="b"/>
              <a:pathLst>
                <a:path w="44365" h="29468" extrusionOk="0">
                  <a:moveTo>
                    <a:pt x="25076" y="0"/>
                  </a:moveTo>
                  <a:cubicBezTo>
                    <a:pt x="23741" y="0"/>
                    <a:pt x="16385" y="10267"/>
                    <a:pt x="12200" y="13755"/>
                  </a:cubicBezTo>
                  <a:cubicBezTo>
                    <a:pt x="7986" y="17267"/>
                    <a:pt x="813" y="20225"/>
                    <a:pt x="813" y="20225"/>
                  </a:cubicBezTo>
                  <a:lnTo>
                    <a:pt x="0" y="29467"/>
                  </a:lnTo>
                  <a:lnTo>
                    <a:pt x="12053" y="19227"/>
                  </a:lnTo>
                  <a:lnTo>
                    <a:pt x="13605" y="19227"/>
                  </a:lnTo>
                  <a:cubicBezTo>
                    <a:pt x="15158" y="19227"/>
                    <a:pt x="18115" y="17120"/>
                    <a:pt x="18116" y="17119"/>
                  </a:cubicBezTo>
                  <a:lnTo>
                    <a:pt x="18116" y="17119"/>
                  </a:lnTo>
                  <a:cubicBezTo>
                    <a:pt x="18115" y="17119"/>
                    <a:pt x="17265" y="17970"/>
                    <a:pt x="16822" y="18376"/>
                  </a:cubicBezTo>
                  <a:cubicBezTo>
                    <a:pt x="16415" y="18820"/>
                    <a:pt x="16267" y="20225"/>
                    <a:pt x="16970" y="20336"/>
                  </a:cubicBezTo>
                  <a:cubicBezTo>
                    <a:pt x="17012" y="20345"/>
                    <a:pt x="17060" y="20349"/>
                    <a:pt x="17114" y="20349"/>
                  </a:cubicBezTo>
                  <a:cubicBezTo>
                    <a:pt x="17949" y="20349"/>
                    <a:pt x="20131" y="19298"/>
                    <a:pt x="23292" y="18117"/>
                  </a:cubicBezTo>
                  <a:cubicBezTo>
                    <a:pt x="26656" y="16860"/>
                    <a:pt x="31573" y="13459"/>
                    <a:pt x="32275" y="12757"/>
                  </a:cubicBezTo>
                  <a:cubicBezTo>
                    <a:pt x="32978" y="12054"/>
                    <a:pt x="28616" y="6435"/>
                    <a:pt x="28615" y="6435"/>
                  </a:cubicBezTo>
                  <a:lnTo>
                    <a:pt x="28615" y="6435"/>
                  </a:lnTo>
                  <a:cubicBezTo>
                    <a:pt x="28616" y="6435"/>
                    <a:pt x="36638" y="10649"/>
                    <a:pt x="39596" y="10649"/>
                  </a:cubicBezTo>
                  <a:cubicBezTo>
                    <a:pt x="42553" y="10649"/>
                    <a:pt x="44069" y="9836"/>
                    <a:pt x="44217" y="8986"/>
                  </a:cubicBezTo>
                  <a:cubicBezTo>
                    <a:pt x="44365" y="8135"/>
                    <a:pt x="41555" y="8135"/>
                    <a:pt x="37747" y="6878"/>
                  </a:cubicBezTo>
                  <a:cubicBezTo>
                    <a:pt x="33976" y="5621"/>
                    <a:pt x="26397" y="113"/>
                    <a:pt x="25103" y="2"/>
                  </a:cubicBezTo>
                  <a:cubicBezTo>
                    <a:pt x="25094" y="1"/>
                    <a:pt x="25085" y="0"/>
                    <a:pt x="25076" y="0"/>
                  </a:cubicBezTo>
                  <a:close/>
                </a:path>
              </a:pathLst>
            </a:custGeom>
            <a:solidFill>
              <a:srgbClr val="ADADAD"/>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0" name="Google Shape;1920;p37"/>
            <p:cNvSpPr/>
            <p:nvPr/>
          </p:nvSpPr>
          <p:spPr>
            <a:xfrm>
              <a:off x="5364125" y="3758650"/>
              <a:ext cx="397450" cy="161775"/>
            </a:xfrm>
            <a:custGeom>
              <a:avLst/>
              <a:gdLst/>
              <a:ahLst/>
              <a:cxnLst/>
              <a:rect l="l" t="t" r="r" b="b"/>
              <a:pathLst>
                <a:path w="15898" h="6471" extrusionOk="0">
                  <a:moveTo>
                    <a:pt x="1" y="0"/>
                  </a:moveTo>
                  <a:lnTo>
                    <a:pt x="1516" y="2256"/>
                  </a:lnTo>
                  <a:cubicBezTo>
                    <a:pt x="1516" y="2256"/>
                    <a:pt x="9539" y="6470"/>
                    <a:pt x="12497" y="6470"/>
                  </a:cubicBezTo>
                  <a:cubicBezTo>
                    <a:pt x="13975" y="6470"/>
                    <a:pt x="15122" y="6285"/>
                    <a:pt x="15898" y="5953"/>
                  </a:cubicBezTo>
                  <a:lnTo>
                    <a:pt x="15750" y="5916"/>
                  </a:lnTo>
                  <a:cubicBezTo>
                    <a:pt x="9133" y="5472"/>
                    <a:pt x="1" y="1"/>
                    <a:pt x="1"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1" name="Google Shape;1921;p37"/>
            <p:cNvSpPr/>
            <p:nvPr/>
          </p:nvSpPr>
          <p:spPr>
            <a:xfrm>
              <a:off x="4686650" y="3815025"/>
              <a:ext cx="824450" cy="575850"/>
            </a:xfrm>
            <a:custGeom>
              <a:avLst/>
              <a:gdLst/>
              <a:ahLst/>
              <a:cxnLst/>
              <a:rect l="l" t="t" r="r" b="b"/>
              <a:pathLst>
                <a:path w="32978" h="23034" extrusionOk="0">
                  <a:moveTo>
                    <a:pt x="28615" y="1"/>
                  </a:moveTo>
                  <a:lnTo>
                    <a:pt x="28615" y="1"/>
                  </a:lnTo>
                  <a:cubicBezTo>
                    <a:pt x="28615" y="1"/>
                    <a:pt x="29613" y="4363"/>
                    <a:pt x="28467" y="5287"/>
                  </a:cubicBezTo>
                  <a:cubicBezTo>
                    <a:pt x="28269" y="5446"/>
                    <a:pt x="28046" y="5512"/>
                    <a:pt x="27815" y="5512"/>
                  </a:cubicBezTo>
                  <a:cubicBezTo>
                    <a:pt x="26756" y="5512"/>
                    <a:pt x="25510" y="4142"/>
                    <a:pt x="25510" y="4141"/>
                  </a:cubicBezTo>
                  <a:lnTo>
                    <a:pt x="25510" y="4141"/>
                  </a:lnTo>
                  <a:cubicBezTo>
                    <a:pt x="25510" y="4142"/>
                    <a:pt x="25990" y="8689"/>
                    <a:pt x="24623" y="8911"/>
                  </a:cubicBezTo>
                  <a:cubicBezTo>
                    <a:pt x="24504" y="8933"/>
                    <a:pt x="24382" y="8943"/>
                    <a:pt x="24259" y="8943"/>
                  </a:cubicBezTo>
                  <a:cubicBezTo>
                    <a:pt x="22949" y="8943"/>
                    <a:pt x="21406" y="7801"/>
                    <a:pt x="21406" y="7801"/>
                  </a:cubicBezTo>
                  <a:cubicBezTo>
                    <a:pt x="21406" y="7801"/>
                    <a:pt x="21406" y="10759"/>
                    <a:pt x="20038" y="10759"/>
                  </a:cubicBezTo>
                  <a:cubicBezTo>
                    <a:pt x="18670" y="10759"/>
                    <a:pt x="16637" y="6397"/>
                    <a:pt x="16637" y="6397"/>
                  </a:cubicBezTo>
                  <a:lnTo>
                    <a:pt x="16637" y="6397"/>
                  </a:lnTo>
                  <a:cubicBezTo>
                    <a:pt x="16637" y="6397"/>
                    <a:pt x="17117" y="8578"/>
                    <a:pt x="15713" y="10057"/>
                  </a:cubicBezTo>
                  <a:cubicBezTo>
                    <a:pt x="14744" y="11077"/>
                    <a:pt x="13159" y="11235"/>
                    <a:pt x="12269" y="11235"/>
                  </a:cubicBezTo>
                  <a:cubicBezTo>
                    <a:pt x="11869" y="11235"/>
                    <a:pt x="11609" y="11203"/>
                    <a:pt x="11609" y="11203"/>
                  </a:cubicBezTo>
                  <a:lnTo>
                    <a:pt x="887" y="18967"/>
                  </a:lnTo>
                  <a:lnTo>
                    <a:pt x="296" y="19669"/>
                  </a:lnTo>
                  <a:lnTo>
                    <a:pt x="0" y="23033"/>
                  </a:lnTo>
                  <a:lnTo>
                    <a:pt x="0" y="23033"/>
                  </a:lnTo>
                  <a:lnTo>
                    <a:pt x="12053" y="12793"/>
                  </a:lnTo>
                  <a:lnTo>
                    <a:pt x="13605" y="12793"/>
                  </a:lnTo>
                  <a:cubicBezTo>
                    <a:pt x="15158" y="12793"/>
                    <a:pt x="18115" y="10686"/>
                    <a:pt x="18116" y="10685"/>
                  </a:cubicBezTo>
                  <a:lnTo>
                    <a:pt x="18116" y="10685"/>
                  </a:lnTo>
                  <a:cubicBezTo>
                    <a:pt x="18115" y="10685"/>
                    <a:pt x="17265" y="11536"/>
                    <a:pt x="16822" y="11942"/>
                  </a:cubicBezTo>
                  <a:cubicBezTo>
                    <a:pt x="16415" y="12386"/>
                    <a:pt x="16267" y="13791"/>
                    <a:pt x="16970" y="13902"/>
                  </a:cubicBezTo>
                  <a:cubicBezTo>
                    <a:pt x="17012" y="13911"/>
                    <a:pt x="17060" y="13915"/>
                    <a:pt x="17114" y="13915"/>
                  </a:cubicBezTo>
                  <a:cubicBezTo>
                    <a:pt x="17949" y="13915"/>
                    <a:pt x="20131" y="12864"/>
                    <a:pt x="23292" y="11683"/>
                  </a:cubicBezTo>
                  <a:cubicBezTo>
                    <a:pt x="26656" y="10426"/>
                    <a:pt x="31573" y="7025"/>
                    <a:pt x="32275" y="6323"/>
                  </a:cubicBezTo>
                  <a:cubicBezTo>
                    <a:pt x="32978" y="5620"/>
                    <a:pt x="28616" y="1"/>
                    <a:pt x="28615"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2" name="Google Shape;1922;p37"/>
            <p:cNvSpPr/>
            <p:nvPr/>
          </p:nvSpPr>
          <p:spPr>
            <a:xfrm>
              <a:off x="5364125" y="3758650"/>
              <a:ext cx="329075" cy="154375"/>
            </a:xfrm>
            <a:custGeom>
              <a:avLst/>
              <a:gdLst/>
              <a:ahLst/>
              <a:cxnLst/>
              <a:rect l="l" t="t" r="r" b="b"/>
              <a:pathLst>
                <a:path w="13163" h="6175" extrusionOk="0">
                  <a:moveTo>
                    <a:pt x="1" y="0"/>
                  </a:moveTo>
                  <a:lnTo>
                    <a:pt x="1368" y="1997"/>
                  </a:lnTo>
                  <a:cubicBezTo>
                    <a:pt x="1405" y="1997"/>
                    <a:pt x="1479" y="1960"/>
                    <a:pt x="1516" y="1960"/>
                  </a:cubicBezTo>
                  <a:cubicBezTo>
                    <a:pt x="1590" y="1960"/>
                    <a:pt x="1627" y="1960"/>
                    <a:pt x="1664" y="1997"/>
                  </a:cubicBezTo>
                  <a:cubicBezTo>
                    <a:pt x="1664" y="1997"/>
                    <a:pt x="1960" y="2145"/>
                    <a:pt x="2441" y="2404"/>
                  </a:cubicBezTo>
                  <a:cubicBezTo>
                    <a:pt x="2921" y="2625"/>
                    <a:pt x="3587" y="2958"/>
                    <a:pt x="4363" y="3328"/>
                  </a:cubicBezTo>
                  <a:cubicBezTo>
                    <a:pt x="5916" y="4067"/>
                    <a:pt x="7912" y="4955"/>
                    <a:pt x="9613" y="5546"/>
                  </a:cubicBezTo>
                  <a:cubicBezTo>
                    <a:pt x="10759" y="5916"/>
                    <a:pt x="11794" y="6175"/>
                    <a:pt x="12497" y="6175"/>
                  </a:cubicBezTo>
                  <a:lnTo>
                    <a:pt x="12866" y="6175"/>
                  </a:lnTo>
                  <a:lnTo>
                    <a:pt x="13162" y="5546"/>
                  </a:lnTo>
                  <a:cubicBezTo>
                    <a:pt x="6988" y="4178"/>
                    <a:pt x="1" y="1"/>
                    <a:pt x="1" y="0"/>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3" name="Google Shape;1923;p37"/>
            <p:cNvSpPr/>
            <p:nvPr/>
          </p:nvSpPr>
          <p:spPr>
            <a:xfrm>
              <a:off x="4747650" y="3832600"/>
              <a:ext cx="740350" cy="496350"/>
            </a:xfrm>
            <a:custGeom>
              <a:avLst/>
              <a:gdLst/>
              <a:ahLst/>
              <a:cxnLst/>
              <a:rect l="l" t="t" r="r" b="b"/>
              <a:pathLst>
                <a:path w="29614" h="19854" extrusionOk="0">
                  <a:moveTo>
                    <a:pt x="26323" y="0"/>
                  </a:moveTo>
                  <a:lnTo>
                    <a:pt x="26323" y="0"/>
                  </a:lnTo>
                  <a:cubicBezTo>
                    <a:pt x="26434" y="666"/>
                    <a:pt x="26582" y="1664"/>
                    <a:pt x="26582" y="2588"/>
                  </a:cubicBezTo>
                  <a:cubicBezTo>
                    <a:pt x="26582" y="3438"/>
                    <a:pt x="26471" y="4252"/>
                    <a:pt x="26027" y="4584"/>
                  </a:cubicBezTo>
                  <a:cubicBezTo>
                    <a:pt x="25843" y="4732"/>
                    <a:pt x="25621" y="4806"/>
                    <a:pt x="25362" y="4806"/>
                  </a:cubicBezTo>
                  <a:cubicBezTo>
                    <a:pt x="24290" y="4806"/>
                    <a:pt x="23070" y="3439"/>
                    <a:pt x="23070" y="3438"/>
                  </a:cubicBezTo>
                  <a:lnTo>
                    <a:pt x="23070" y="3438"/>
                  </a:lnTo>
                  <a:cubicBezTo>
                    <a:pt x="23070" y="3439"/>
                    <a:pt x="23144" y="4141"/>
                    <a:pt x="23144" y="5028"/>
                  </a:cubicBezTo>
                  <a:cubicBezTo>
                    <a:pt x="23144" y="6396"/>
                    <a:pt x="22996" y="8097"/>
                    <a:pt x="22183" y="8208"/>
                  </a:cubicBezTo>
                  <a:cubicBezTo>
                    <a:pt x="22072" y="8245"/>
                    <a:pt x="21961" y="8245"/>
                    <a:pt x="21850" y="8245"/>
                  </a:cubicBezTo>
                  <a:cubicBezTo>
                    <a:pt x="20519" y="8245"/>
                    <a:pt x="18966" y="7098"/>
                    <a:pt x="18966" y="7098"/>
                  </a:cubicBezTo>
                  <a:cubicBezTo>
                    <a:pt x="18966" y="7098"/>
                    <a:pt x="18966" y="10056"/>
                    <a:pt x="17598" y="10056"/>
                  </a:cubicBezTo>
                  <a:cubicBezTo>
                    <a:pt x="16230" y="10056"/>
                    <a:pt x="14197" y="5694"/>
                    <a:pt x="14197" y="5694"/>
                  </a:cubicBezTo>
                  <a:lnTo>
                    <a:pt x="14197" y="5694"/>
                  </a:lnTo>
                  <a:cubicBezTo>
                    <a:pt x="14197" y="5694"/>
                    <a:pt x="14271" y="6100"/>
                    <a:pt x="14271" y="6618"/>
                  </a:cubicBezTo>
                  <a:cubicBezTo>
                    <a:pt x="14271" y="7394"/>
                    <a:pt x="14086" y="8503"/>
                    <a:pt x="13273" y="9354"/>
                  </a:cubicBezTo>
                  <a:cubicBezTo>
                    <a:pt x="12311" y="10389"/>
                    <a:pt x="10722" y="10537"/>
                    <a:pt x="9834" y="10537"/>
                  </a:cubicBezTo>
                  <a:cubicBezTo>
                    <a:pt x="9428" y="10537"/>
                    <a:pt x="9169" y="10500"/>
                    <a:pt x="9169" y="10500"/>
                  </a:cubicBezTo>
                  <a:lnTo>
                    <a:pt x="370" y="16859"/>
                  </a:lnTo>
                  <a:lnTo>
                    <a:pt x="0" y="19853"/>
                  </a:lnTo>
                  <a:lnTo>
                    <a:pt x="9428" y="11868"/>
                  </a:lnTo>
                  <a:cubicBezTo>
                    <a:pt x="9465" y="11794"/>
                    <a:pt x="9539" y="11794"/>
                    <a:pt x="9613" y="11794"/>
                  </a:cubicBezTo>
                  <a:lnTo>
                    <a:pt x="11165" y="11794"/>
                  </a:lnTo>
                  <a:cubicBezTo>
                    <a:pt x="11461" y="11794"/>
                    <a:pt x="11831" y="11683"/>
                    <a:pt x="12237" y="11535"/>
                  </a:cubicBezTo>
                  <a:cubicBezTo>
                    <a:pt x="12644" y="11387"/>
                    <a:pt x="13088" y="11202"/>
                    <a:pt x="13494" y="10980"/>
                  </a:cubicBezTo>
                  <a:cubicBezTo>
                    <a:pt x="14308" y="10537"/>
                    <a:pt x="15084" y="10019"/>
                    <a:pt x="15343" y="9834"/>
                  </a:cubicBezTo>
                  <a:cubicBezTo>
                    <a:pt x="15454" y="9760"/>
                    <a:pt x="15491" y="9723"/>
                    <a:pt x="15491" y="9723"/>
                  </a:cubicBezTo>
                  <a:cubicBezTo>
                    <a:pt x="15528" y="9686"/>
                    <a:pt x="15602" y="9686"/>
                    <a:pt x="15676" y="9686"/>
                  </a:cubicBezTo>
                  <a:cubicBezTo>
                    <a:pt x="15750" y="9686"/>
                    <a:pt x="15824" y="9723"/>
                    <a:pt x="15898" y="9797"/>
                  </a:cubicBezTo>
                  <a:cubicBezTo>
                    <a:pt x="16008" y="9908"/>
                    <a:pt x="15971" y="10093"/>
                    <a:pt x="15861" y="10204"/>
                  </a:cubicBezTo>
                  <a:cubicBezTo>
                    <a:pt x="15861" y="10204"/>
                    <a:pt x="15047" y="11054"/>
                    <a:pt x="14604" y="11461"/>
                  </a:cubicBezTo>
                  <a:cubicBezTo>
                    <a:pt x="14567" y="11535"/>
                    <a:pt x="14493" y="11646"/>
                    <a:pt x="14419" y="11794"/>
                  </a:cubicBezTo>
                  <a:cubicBezTo>
                    <a:pt x="14382" y="11979"/>
                    <a:pt x="14345" y="12163"/>
                    <a:pt x="14345" y="12348"/>
                  </a:cubicBezTo>
                  <a:cubicBezTo>
                    <a:pt x="14345" y="12533"/>
                    <a:pt x="14382" y="12681"/>
                    <a:pt x="14419" y="12755"/>
                  </a:cubicBezTo>
                  <a:cubicBezTo>
                    <a:pt x="14493" y="12866"/>
                    <a:pt x="14530" y="12903"/>
                    <a:pt x="14604" y="12903"/>
                  </a:cubicBezTo>
                  <a:lnTo>
                    <a:pt x="14677" y="12903"/>
                  </a:lnTo>
                  <a:cubicBezTo>
                    <a:pt x="14825" y="12903"/>
                    <a:pt x="15084" y="12866"/>
                    <a:pt x="15454" y="12755"/>
                  </a:cubicBezTo>
                  <a:cubicBezTo>
                    <a:pt x="15787" y="12644"/>
                    <a:pt x="16230" y="12459"/>
                    <a:pt x="16785" y="12274"/>
                  </a:cubicBezTo>
                  <a:cubicBezTo>
                    <a:pt x="17820" y="11831"/>
                    <a:pt x="19151" y="11276"/>
                    <a:pt x="20741" y="10685"/>
                  </a:cubicBezTo>
                  <a:cubicBezTo>
                    <a:pt x="23218" y="9760"/>
                    <a:pt x="26619" y="7616"/>
                    <a:pt x="28431" y="6322"/>
                  </a:cubicBezTo>
                  <a:cubicBezTo>
                    <a:pt x="29022" y="5915"/>
                    <a:pt x="29466" y="5583"/>
                    <a:pt x="29614" y="5435"/>
                  </a:cubicBezTo>
                  <a:lnTo>
                    <a:pt x="29614" y="5398"/>
                  </a:lnTo>
                  <a:cubicBezTo>
                    <a:pt x="29614" y="5250"/>
                    <a:pt x="29503" y="4917"/>
                    <a:pt x="29318" y="4511"/>
                  </a:cubicBezTo>
                  <a:cubicBezTo>
                    <a:pt x="29096" y="4067"/>
                    <a:pt x="28800" y="3586"/>
                    <a:pt x="28468" y="3069"/>
                  </a:cubicBezTo>
                  <a:cubicBezTo>
                    <a:pt x="27839" y="2070"/>
                    <a:pt x="27063" y="961"/>
                    <a:pt x="26545" y="259"/>
                  </a:cubicBezTo>
                  <a:cubicBezTo>
                    <a:pt x="26471" y="185"/>
                    <a:pt x="26397" y="74"/>
                    <a:pt x="26323" y="0"/>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4" name="Google Shape;1924;p37"/>
            <p:cNvSpPr/>
            <p:nvPr/>
          </p:nvSpPr>
          <p:spPr>
            <a:xfrm>
              <a:off x="5105325" y="4022100"/>
              <a:ext cx="42550" cy="68175"/>
            </a:xfrm>
            <a:custGeom>
              <a:avLst/>
              <a:gdLst/>
              <a:ahLst/>
              <a:cxnLst/>
              <a:rect l="l" t="t" r="r" b="b"/>
              <a:pathLst>
                <a:path w="1702" h="2727" extrusionOk="0">
                  <a:moveTo>
                    <a:pt x="395" y="0"/>
                  </a:moveTo>
                  <a:cubicBezTo>
                    <a:pt x="340" y="0"/>
                    <a:pt x="281" y="13"/>
                    <a:pt x="223" y="36"/>
                  </a:cubicBezTo>
                  <a:cubicBezTo>
                    <a:pt x="75" y="110"/>
                    <a:pt x="1" y="258"/>
                    <a:pt x="75" y="443"/>
                  </a:cubicBezTo>
                  <a:lnTo>
                    <a:pt x="1073" y="2550"/>
                  </a:lnTo>
                  <a:cubicBezTo>
                    <a:pt x="1127" y="2658"/>
                    <a:pt x="1241" y="2727"/>
                    <a:pt x="1356" y="2727"/>
                  </a:cubicBezTo>
                  <a:cubicBezTo>
                    <a:pt x="1398" y="2727"/>
                    <a:pt x="1440" y="2718"/>
                    <a:pt x="1480" y="2698"/>
                  </a:cubicBezTo>
                  <a:cubicBezTo>
                    <a:pt x="1627" y="2624"/>
                    <a:pt x="1701" y="2439"/>
                    <a:pt x="1627" y="2291"/>
                  </a:cubicBezTo>
                  <a:lnTo>
                    <a:pt x="666" y="184"/>
                  </a:lnTo>
                  <a:cubicBezTo>
                    <a:pt x="616" y="58"/>
                    <a:pt x="513" y="0"/>
                    <a:pt x="395"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5" name="Google Shape;1925;p37"/>
            <p:cNvSpPr/>
            <p:nvPr/>
          </p:nvSpPr>
          <p:spPr>
            <a:xfrm>
              <a:off x="5196825" y="3955100"/>
              <a:ext cx="80450" cy="159375"/>
            </a:xfrm>
            <a:custGeom>
              <a:avLst/>
              <a:gdLst/>
              <a:ahLst/>
              <a:cxnLst/>
              <a:rect l="l" t="t" r="r" b="b"/>
              <a:pathLst>
                <a:path w="3218" h="6375" extrusionOk="0">
                  <a:moveTo>
                    <a:pt x="377" y="1"/>
                  </a:moveTo>
                  <a:cubicBezTo>
                    <a:pt x="325" y="1"/>
                    <a:pt x="272" y="17"/>
                    <a:pt x="223" y="54"/>
                  </a:cubicBezTo>
                  <a:cubicBezTo>
                    <a:pt x="75" y="128"/>
                    <a:pt x="1" y="313"/>
                    <a:pt x="75" y="461"/>
                  </a:cubicBezTo>
                  <a:cubicBezTo>
                    <a:pt x="75" y="461"/>
                    <a:pt x="260" y="757"/>
                    <a:pt x="481" y="1200"/>
                  </a:cubicBezTo>
                  <a:cubicBezTo>
                    <a:pt x="851" y="1903"/>
                    <a:pt x="1369" y="2938"/>
                    <a:pt x="1812" y="3899"/>
                  </a:cubicBezTo>
                  <a:cubicBezTo>
                    <a:pt x="2034" y="4380"/>
                    <a:pt x="2256" y="4823"/>
                    <a:pt x="2367" y="5193"/>
                  </a:cubicBezTo>
                  <a:cubicBezTo>
                    <a:pt x="2441" y="5378"/>
                    <a:pt x="2515" y="5563"/>
                    <a:pt x="2552" y="5674"/>
                  </a:cubicBezTo>
                  <a:cubicBezTo>
                    <a:pt x="2589" y="5822"/>
                    <a:pt x="2589" y="5933"/>
                    <a:pt x="2589" y="5969"/>
                  </a:cubicBezTo>
                  <a:lnTo>
                    <a:pt x="2608" y="5974"/>
                  </a:lnTo>
                  <a:lnTo>
                    <a:pt x="2608" y="5974"/>
                  </a:lnTo>
                  <a:cubicBezTo>
                    <a:pt x="2560" y="6114"/>
                    <a:pt x="2602" y="6272"/>
                    <a:pt x="2737" y="6339"/>
                  </a:cubicBezTo>
                  <a:cubicBezTo>
                    <a:pt x="2795" y="6363"/>
                    <a:pt x="2854" y="6375"/>
                    <a:pt x="2909" y="6375"/>
                  </a:cubicBezTo>
                  <a:cubicBezTo>
                    <a:pt x="3027" y="6375"/>
                    <a:pt x="3130" y="6318"/>
                    <a:pt x="3180" y="6191"/>
                  </a:cubicBezTo>
                  <a:cubicBezTo>
                    <a:pt x="3217" y="6117"/>
                    <a:pt x="3217" y="6043"/>
                    <a:pt x="3217" y="5969"/>
                  </a:cubicBezTo>
                  <a:cubicBezTo>
                    <a:pt x="3217" y="5785"/>
                    <a:pt x="3180" y="5600"/>
                    <a:pt x="3106" y="5341"/>
                  </a:cubicBezTo>
                  <a:cubicBezTo>
                    <a:pt x="2848" y="4565"/>
                    <a:pt x="2219" y="3271"/>
                    <a:pt x="1665" y="2162"/>
                  </a:cubicBezTo>
                  <a:cubicBezTo>
                    <a:pt x="1110" y="1089"/>
                    <a:pt x="629" y="165"/>
                    <a:pt x="629" y="165"/>
                  </a:cubicBezTo>
                  <a:cubicBezTo>
                    <a:pt x="580" y="67"/>
                    <a:pt x="481" y="1"/>
                    <a:pt x="377"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6" name="Google Shape;1926;p37"/>
            <p:cNvSpPr/>
            <p:nvPr/>
          </p:nvSpPr>
          <p:spPr>
            <a:xfrm>
              <a:off x="5292025" y="3860550"/>
              <a:ext cx="109100" cy="194575"/>
            </a:xfrm>
            <a:custGeom>
              <a:avLst/>
              <a:gdLst/>
              <a:ahLst/>
              <a:cxnLst/>
              <a:rect l="l" t="t" r="r" b="b"/>
              <a:pathLst>
                <a:path w="4364" h="7783" extrusionOk="0">
                  <a:moveTo>
                    <a:pt x="342" y="1"/>
                  </a:moveTo>
                  <a:cubicBezTo>
                    <a:pt x="285" y="1"/>
                    <a:pt x="229" y="21"/>
                    <a:pt x="186" y="65"/>
                  </a:cubicBezTo>
                  <a:cubicBezTo>
                    <a:pt x="38" y="139"/>
                    <a:pt x="1" y="324"/>
                    <a:pt x="75" y="472"/>
                  </a:cubicBezTo>
                  <a:cubicBezTo>
                    <a:pt x="112" y="472"/>
                    <a:pt x="334" y="805"/>
                    <a:pt x="666" y="1322"/>
                  </a:cubicBezTo>
                  <a:cubicBezTo>
                    <a:pt x="1184" y="2099"/>
                    <a:pt x="1960" y="3319"/>
                    <a:pt x="2626" y="4465"/>
                  </a:cubicBezTo>
                  <a:cubicBezTo>
                    <a:pt x="2958" y="5019"/>
                    <a:pt x="3254" y="5574"/>
                    <a:pt x="3439" y="6054"/>
                  </a:cubicBezTo>
                  <a:cubicBezTo>
                    <a:pt x="3661" y="6535"/>
                    <a:pt x="3772" y="6942"/>
                    <a:pt x="3772" y="7164"/>
                  </a:cubicBezTo>
                  <a:cubicBezTo>
                    <a:pt x="3772" y="7237"/>
                    <a:pt x="3735" y="7274"/>
                    <a:pt x="3735" y="7274"/>
                  </a:cubicBezTo>
                  <a:cubicBezTo>
                    <a:pt x="3661" y="7422"/>
                    <a:pt x="3661" y="7607"/>
                    <a:pt x="3809" y="7718"/>
                  </a:cubicBezTo>
                  <a:cubicBezTo>
                    <a:pt x="3867" y="7762"/>
                    <a:pt x="3931" y="7783"/>
                    <a:pt x="3994" y="7783"/>
                  </a:cubicBezTo>
                  <a:cubicBezTo>
                    <a:pt x="4091" y="7783"/>
                    <a:pt x="4185" y="7734"/>
                    <a:pt x="4252" y="7644"/>
                  </a:cubicBezTo>
                  <a:cubicBezTo>
                    <a:pt x="4363" y="7496"/>
                    <a:pt x="4363" y="7311"/>
                    <a:pt x="4363" y="7164"/>
                  </a:cubicBezTo>
                  <a:cubicBezTo>
                    <a:pt x="4363" y="6905"/>
                    <a:pt x="4326" y="6646"/>
                    <a:pt x="4215" y="6313"/>
                  </a:cubicBezTo>
                  <a:cubicBezTo>
                    <a:pt x="3809" y="5241"/>
                    <a:pt x="2922" y="3688"/>
                    <a:pt x="2108" y="2431"/>
                  </a:cubicBezTo>
                  <a:cubicBezTo>
                    <a:pt x="1332" y="1137"/>
                    <a:pt x="592" y="139"/>
                    <a:pt x="592" y="139"/>
                  </a:cubicBezTo>
                  <a:cubicBezTo>
                    <a:pt x="525" y="50"/>
                    <a:pt x="431" y="1"/>
                    <a:pt x="342"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7" name="Google Shape;1927;p37"/>
            <p:cNvSpPr/>
            <p:nvPr/>
          </p:nvSpPr>
          <p:spPr>
            <a:xfrm>
              <a:off x="4678325" y="3645900"/>
              <a:ext cx="1122075" cy="752975"/>
            </a:xfrm>
            <a:custGeom>
              <a:avLst/>
              <a:gdLst/>
              <a:ahLst/>
              <a:cxnLst/>
              <a:rect l="l" t="t" r="r" b="b"/>
              <a:pathLst>
                <a:path w="44883" h="30119" extrusionOk="0">
                  <a:moveTo>
                    <a:pt x="25436" y="629"/>
                  </a:moveTo>
                  <a:cubicBezTo>
                    <a:pt x="25510" y="629"/>
                    <a:pt x="25732" y="702"/>
                    <a:pt x="26065" y="887"/>
                  </a:cubicBezTo>
                  <a:cubicBezTo>
                    <a:pt x="27211" y="1442"/>
                    <a:pt x="29355" y="2810"/>
                    <a:pt x="31610" y="4178"/>
                  </a:cubicBezTo>
                  <a:cubicBezTo>
                    <a:pt x="33902" y="5546"/>
                    <a:pt x="36269" y="6914"/>
                    <a:pt x="38006" y="7505"/>
                  </a:cubicBezTo>
                  <a:cubicBezTo>
                    <a:pt x="39855" y="8134"/>
                    <a:pt x="41518" y="8429"/>
                    <a:pt x="42664" y="8688"/>
                  </a:cubicBezTo>
                  <a:cubicBezTo>
                    <a:pt x="43219" y="8836"/>
                    <a:pt x="43663" y="8947"/>
                    <a:pt x="43958" y="9058"/>
                  </a:cubicBezTo>
                  <a:cubicBezTo>
                    <a:pt x="44106" y="9132"/>
                    <a:pt x="44180" y="9169"/>
                    <a:pt x="44217" y="9206"/>
                  </a:cubicBezTo>
                  <a:lnTo>
                    <a:pt x="44254" y="9243"/>
                  </a:lnTo>
                  <a:cubicBezTo>
                    <a:pt x="44217" y="9391"/>
                    <a:pt x="44143" y="9538"/>
                    <a:pt x="43958" y="9686"/>
                  </a:cubicBezTo>
                  <a:cubicBezTo>
                    <a:pt x="43441" y="10204"/>
                    <a:pt x="42073" y="10685"/>
                    <a:pt x="39929" y="10685"/>
                  </a:cubicBezTo>
                  <a:cubicBezTo>
                    <a:pt x="39263" y="10685"/>
                    <a:pt x="38228" y="10426"/>
                    <a:pt x="37045" y="10056"/>
                  </a:cubicBezTo>
                  <a:cubicBezTo>
                    <a:pt x="35344" y="9465"/>
                    <a:pt x="33348" y="8577"/>
                    <a:pt x="31795" y="7838"/>
                  </a:cubicBezTo>
                  <a:cubicBezTo>
                    <a:pt x="31019" y="7468"/>
                    <a:pt x="30353" y="7135"/>
                    <a:pt x="29873" y="6914"/>
                  </a:cubicBezTo>
                  <a:cubicBezTo>
                    <a:pt x="29392" y="6655"/>
                    <a:pt x="29096" y="6507"/>
                    <a:pt x="29096" y="6507"/>
                  </a:cubicBezTo>
                  <a:cubicBezTo>
                    <a:pt x="29057" y="6481"/>
                    <a:pt x="29013" y="6468"/>
                    <a:pt x="28968" y="6468"/>
                  </a:cubicBezTo>
                  <a:cubicBezTo>
                    <a:pt x="28885" y="6468"/>
                    <a:pt x="28798" y="6509"/>
                    <a:pt x="28727" y="6581"/>
                  </a:cubicBezTo>
                  <a:cubicBezTo>
                    <a:pt x="28653" y="6692"/>
                    <a:pt x="28616" y="6840"/>
                    <a:pt x="28727" y="6987"/>
                  </a:cubicBezTo>
                  <a:cubicBezTo>
                    <a:pt x="28727" y="6987"/>
                    <a:pt x="28948" y="7283"/>
                    <a:pt x="29318" y="7727"/>
                  </a:cubicBezTo>
                  <a:cubicBezTo>
                    <a:pt x="29836" y="8429"/>
                    <a:pt x="30612" y="9538"/>
                    <a:pt x="31241" y="10537"/>
                  </a:cubicBezTo>
                  <a:cubicBezTo>
                    <a:pt x="31573" y="11054"/>
                    <a:pt x="31869" y="11535"/>
                    <a:pt x="32091" y="11979"/>
                  </a:cubicBezTo>
                  <a:cubicBezTo>
                    <a:pt x="32276" y="12385"/>
                    <a:pt x="32387" y="12718"/>
                    <a:pt x="32387" y="12866"/>
                  </a:cubicBezTo>
                  <a:cubicBezTo>
                    <a:pt x="32239" y="13014"/>
                    <a:pt x="31832" y="13383"/>
                    <a:pt x="31204" y="13790"/>
                  </a:cubicBezTo>
                  <a:cubicBezTo>
                    <a:pt x="29392" y="15084"/>
                    <a:pt x="25991" y="17228"/>
                    <a:pt x="23514" y="18153"/>
                  </a:cubicBezTo>
                  <a:cubicBezTo>
                    <a:pt x="21924" y="18744"/>
                    <a:pt x="20593" y="19299"/>
                    <a:pt x="19558" y="19742"/>
                  </a:cubicBezTo>
                  <a:cubicBezTo>
                    <a:pt x="19003" y="19927"/>
                    <a:pt x="18560" y="20112"/>
                    <a:pt x="18227" y="20223"/>
                  </a:cubicBezTo>
                  <a:cubicBezTo>
                    <a:pt x="17923" y="20314"/>
                    <a:pt x="17694" y="20381"/>
                    <a:pt x="17540" y="20381"/>
                  </a:cubicBezTo>
                  <a:cubicBezTo>
                    <a:pt x="17506" y="20381"/>
                    <a:pt x="17477" y="20377"/>
                    <a:pt x="17450" y="20371"/>
                  </a:cubicBezTo>
                  <a:lnTo>
                    <a:pt x="17377" y="20371"/>
                  </a:lnTo>
                  <a:cubicBezTo>
                    <a:pt x="17303" y="20371"/>
                    <a:pt x="17266" y="20334"/>
                    <a:pt x="17192" y="20223"/>
                  </a:cubicBezTo>
                  <a:cubicBezTo>
                    <a:pt x="17155" y="20149"/>
                    <a:pt x="17118" y="20001"/>
                    <a:pt x="17118" y="19816"/>
                  </a:cubicBezTo>
                  <a:cubicBezTo>
                    <a:pt x="17118" y="19631"/>
                    <a:pt x="17155" y="19447"/>
                    <a:pt x="17192" y="19262"/>
                  </a:cubicBezTo>
                  <a:cubicBezTo>
                    <a:pt x="17266" y="19114"/>
                    <a:pt x="17340" y="19003"/>
                    <a:pt x="17377" y="18929"/>
                  </a:cubicBezTo>
                  <a:cubicBezTo>
                    <a:pt x="17820" y="18522"/>
                    <a:pt x="18634" y="17672"/>
                    <a:pt x="18634" y="17672"/>
                  </a:cubicBezTo>
                  <a:cubicBezTo>
                    <a:pt x="18744" y="17561"/>
                    <a:pt x="18781" y="17376"/>
                    <a:pt x="18671" y="17265"/>
                  </a:cubicBezTo>
                  <a:cubicBezTo>
                    <a:pt x="18606" y="17179"/>
                    <a:pt x="18515" y="17143"/>
                    <a:pt x="18429" y="17143"/>
                  </a:cubicBezTo>
                  <a:cubicBezTo>
                    <a:pt x="18368" y="17143"/>
                    <a:pt x="18310" y="17161"/>
                    <a:pt x="18264" y="17191"/>
                  </a:cubicBezTo>
                  <a:cubicBezTo>
                    <a:pt x="18264" y="17191"/>
                    <a:pt x="18227" y="17228"/>
                    <a:pt x="18116" y="17302"/>
                  </a:cubicBezTo>
                  <a:cubicBezTo>
                    <a:pt x="17857" y="17487"/>
                    <a:pt x="17081" y="18005"/>
                    <a:pt x="16267" y="18448"/>
                  </a:cubicBezTo>
                  <a:cubicBezTo>
                    <a:pt x="15861" y="18670"/>
                    <a:pt x="15417" y="18855"/>
                    <a:pt x="15010" y="19003"/>
                  </a:cubicBezTo>
                  <a:cubicBezTo>
                    <a:pt x="14604" y="19151"/>
                    <a:pt x="14197" y="19262"/>
                    <a:pt x="13938" y="19262"/>
                  </a:cubicBezTo>
                  <a:lnTo>
                    <a:pt x="12386" y="19262"/>
                  </a:lnTo>
                  <a:cubicBezTo>
                    <a:pt x="12312" y="19262"/>
                    <a:pt x="12238" y="19262"/>
                    <a:pt x="12201" y="19336"/>
                  </a:cubicBezTo>
                  <a:lnTo>
                    <a:pt x="703" y="29096"/>
                  </a:lnTo>
                  <a:lnTo>
                    <a:pt x="1463" y="20733"/>
                  </a:lnTo>
                  <a:lnTo>
                    <a:pt x="1463" y="20733"/>
                  </a:lnTo>
                  <a:cubicBezTo>
                    <a:pt x="2668" y="20238"/>
                    <a:pt x="8882" y="17544"/>
                    <a:pt x="12718" y="14308"/>
                  </a:cubicBezTo>
                  <a:cubicBezTo>
                    <a:pt x="14863" y="12533"/>
                    <a:pt x="17746" y="9095"/>
                    <a:pt x="20297" y="6100"/>
                  </a:cubicBezTo>
                  <a:cubicBezTo>
                    <a:pt x="21554" y="4584"/>
                    <a:pt x="22737" y="3216"/>
                    <a:pt x="23662" y="2181"/>
                  </a:cubicBezTo>
                  <a:cubicBezTo>
                    <a:pt x="24142" y="1701"/>
                    <a:pt x="24549" y="1294"/>
                    <a:pt x="24845" y="998"/>
                  </a:cubicBezTo>
                  <a:cubicBezTo>
                    <a:pt x="25029" y="850"/>
                    <a:pt x="25177" y="776"/>
                    <a:pt x="25251" y="702"/>
                  </a:cubicBezTo>
                  <a:lnTo>
                    <a:pt x="25399" y="629"/>
                  </a:lnTo>
                  <a:close/>
                  <a:moveTo>
                    <a:pt x="25436" y="0"/>
                  </a:moveTo>
                  <a:cubicBezTo>
                    <a:pt x="25251" y="0"/>
                    <a:pt x="25103" y="74"/>
                    <a:pt x="24956" y="185"/>
                  </a:cubicBezTo>
                  <a:cubicBezTo>
                    <a:pt x="24660" y="333"/>
                    <a:pt x="24364" y="629"/>
                    <a:pt x="23957" y="998"/>
                  </a:cubicBezTo>
                  <a:cubicBezTo>
                    <a:pt x="22626" y="2292"/>
                    <a:pt x="20556" y="4806"/>
                    <a:pt x="18412" y="7357"/>
                  </a:cubicBezTo>
                  <a:cubicBezTo>
                    <a:pt x="16267" y="9871"/>
                    <a:pt x="14012" y="12459"/>
                    <a:pt x="12349" y="13864"/>
                  </a:cubicBezTo>
                  <a:cubicBezTo>
                    <a:pt x="10278" y="15565"/>
                    <a:pt x="7431" y="17191"/>
                    <a:pt x="5139" y="18374"/>
                  </a:cubicBezTo>
                  <a:cubicBezTo>
                    <a:pt x="3956" y="18929"/>
                    <a:pt x="2958" y="19410"/>
                    <a:pt x="2219" y="19742"/>
                  </a:cubicBezTo>
                  <a:cubicBezTo>
                    <a:pt x="1849" y="19927"/>
                    <a:pt x="1553" y="20038"/>
                    <a:pt x="1368" y="20112"/>
                  </a:cubicBezTo>
                  <a:cubicBezTo>
                    <a:pt x="1146" y="20223"/>
                    <a:pt x="1036" y="20260"/>
                    <a:pt x="1036" y="20260"/>
                  </a:cubicBezTo>
                  <a:cubicBezTo>
                    <a:pt x="925" y="20297"/>
                    <a:pt x="851" y="20408"/>
                    <a:pt x="851" y="20519"/>
                  </a:cubicBezTo>
                  <a:lnTo>
                    <a:pt x="0" y="29798"/>
                  </a:lnTo>
                  <a:cubicBezTo>
                    <a:pt x="0" y="29909"/>
                    <a:pt x="74" y="30020"/>
                    <a:pt x="185" y="30094"/>
                  </a:cubicBezTo>
                  <a:cubicBezTo>
                    <a:pt x="231" y="30109"/>
                    <a:pt x="277" y="30118"/>
                    <a:pt x="323" y="30118"/>
                  </a:cubicBezTo>
                  <a:cubicBezTo>
                    <a:pt x="388" y="30118"/>
                    <a:pt x="453" y="30101"/>
                    <a:pt x="518" y="30057"/>
                  </a:cubicBezTo>
                  <a:lnTo>
                    <a:pt x="12520" y="19853"/>
                  </a:lnTo>
                  <a:lnTo>
                    <a:pt x="13938" y="19853"/>
                  </a:lnTo>
                  <a:cubicBezTo>
                    <a:pt x="14382" y="19853"/>
                    <a:pt x="14900" y="19705"/>
                    <a:pt x="15417" y="19521"/>
                  </a:cubicBezTo>
                  <a:cubicBezTo>
                    <a:pt x="15848" y="19342"/>
                    <a:pt x="16291" y="19118"/>
                    <a:pt x="16704" y="18890"/>
                  </a:cubicBezTo>
                  <a:lnTo>
                    <a:pt x="16704" y="18890"/>
                  </a:lnTo>
                  <a:cubicBezTo>
                    <a:pt x="16681" y="18950"/>
                    <a:pt x="16659" y="19012"/>
                    <a:pt x="16637" y="19077"/>
                  </a:cubicBezTo>
                  <a:cubicBezTo>
                    <a:pt x="16563" y="19299"/>
                    <a:pt x="16526" y="19558"/>
                    <a:pt x="16526" y="19816"/>
                  </a:cubicBezTo>
                  <a:cubicBezTo>
                    <a:pt x="16526" y="20038"/>
                    <a:pt x="16563" y="20297"/>
                    <a:pt x="16637" y="20519"/>
                  </a:cubicBezTo>
                  <a:cubicBezTo>
                    <a:pt x="16748" y="20741"/>
                    <a:pt x="16970" y="20925"/>
                    <a:pt x="17266" y="20999"/>
                  </a:cubicBezTo>
                  <a:lnTo>
                    <a:pt x="17450" y="20999"/>
                  </a:lnTo>
                  <a:cubicBezTo>
                    <a:pt x="17709" y="20999"/>
                    <a:pt x="18005" y="20925"/>
                    <a:pt x="18412" y="20815"/>
                  </a:cubicBezTo>
                  <a:cubicBezTo>
                    <a:pt x="19558" y="20445"/>
                    <a:pt x="21369" y="19631"/>
                    <a:pt x="23735" y="18744"/>
                  </a:cubicBezTo>
                  <a:cubicBezTo>
                    <a:pt x="25473" y="18079"/>
                    <a:pt x="27543" y="16933"/>
                    <a:pt x="29281" y="15823"/>
                  </a:cubicBezTo>
                  <a:cubicBezTo>
                    <a:pt x="30168" y="15269"/>
                    <a:pt x="30945" y="14751"/>
                    <a:pt x="31573" y="14308"/>
                  </a:cubicBezTo>
                  <a:cubicBezTo>
                    <a:pt x="32202" y="13864"/>
                    <a:pt x="32608" y="13531"/>
                    <a:pt x="32830" y="13309"/>
                  </a:cubicBezTo>
                  <a:cubicBezTo>
                    <a:pt x="32978" y="13199"/>
                    <a:pt x="33015" y="13014"/>
                    <a:pt x="33015" y="12866"/>
                  </a:cubicBezTo>
                  <a:cubicBezTo>
                    <a:pt x="33015" y="12644"/>
                    <a:pt x="32941" y="12385"/>
                    <a:pt x="32830" y="12126"/>
                  </a:cubicBezTo>
                  <a:cubicBezTo>
                    <a:pt x="32424" y="11165"/>
                    <a:pt x="31536" y="9834"/>
                    <a:pt x="30723" y="8651"/>
                  </a:cubicBezTo>
                  <a:cubicBezTo>
                    <a:pt x="30464" y="8287"/>
                    <a:pt x="30217" y="7945"/>
                    <a:pt x="30000" y="7648"/>
                  </a:cubicBezTo>
                  <a:lnTo>
                    <a:pt x="30000" y="7648"/>
                  </a:lnTo>
                  <a:cubicBezTo>
                    <a:pt x="30804" y="8046"/>
                    <a:pt x="31950" y="8602"/>
                    <a:pt x="33200" y="9169"/>
                  </a:cubicBezTo>
                  <a:cubicBezTo>
                    <a:pt x="34420" y="9686"/>
                    <a:pt x="35677" y="10241"/>
                    <a:pt x="36860" y="10611"/>
                  </a:cubicBezTo>
                  <a:cubicBezTo>
                    <a:pt x="38043" y="11017"/>
                    <a:pt x="39115" y="11313"/>
                    <a:pt x="39929" y="11313"/>
                  </a:cubicBezTo>
                  <a:cubicBezTo>
                    <a:pt x="41407" y="11313"/>
                    <a:pt x="42590" y="11091"/>
                    <a:pt x="43404" y="10759"/>
                  </a:cubicBezTo>
                  <a:cubicBezTo>
                    <a:pt x="43811" y="10574"/>
                    <a:pt x="44143" y="10389"/>
                    <a:pt x="44402" y="10167"/>
                  </a:cubicBezTo>
                  <a:cubicBezTo>
                    <a:pt x="44661" y="9908"/>
                    <a:pt x="44809" y="9649"/>
                    <a:pt x="44846" y="9354"/>
                  </a:cubicBezTo>
                  <a:lnTo>
                    <a:pt x="44883" y="9243"/>
                  </a:lnTo>
                  <a:cubicBezTo>
                    <a:pt x="44883" y="9058"/>
                    <a:pt x="44772" y="8873"/>
                    <a:pt x="44661" y="8762"/>
                  </a:cubicBezTo>
                  <a:cubicBezTo>
                    <a:pt x="44439" y="8577"/>
                    <a:pt x="44143" y="8466"/>
                    <a:pt x="43737" y="8318"/>
                  </a:cubicBezTo>
                  <a:cubicBezTo>
                    <a:pt x="42590" y="7986"/>
                    <a:pt x="40594" y="7727"/>
                    <a:pt x="38191" y="6914"/>
                  </a:cubicBezTo>
                  <a:cubicBezTo>
                    <a:pt x="36342" y="6285"/>
                    <a:pt x="33496" y="4621"/>
                    <a:pt x="30982" y="3069"/>
                  </a:cubicBezTo>
                  <a:cubicBezTo>
                    <a:pt x="29725" y="2292"/>
                    <a:pt x="28542" y="1553"/>
                    <a:pt x="27580" y="998"/>
                  </a:cubicBezTo>
                  <a:cubicBezTo>
                    <a:pt x="27100" y="739"/>
                    <a:pt x="26693" y="518"/>
                    <a:pt x="26323" y="333"/>
                  </a:cubicBezTo>
                  <a:cubicBezTo>
                    <a:pt x="25991" y="148"/>
                    <a:pt x="25732" y="37"/>
                    <a:pt x="25473"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8" name="Google Shape;1928;p37"/>
            <p:cNvSpPr/>
            <p:nvPr/>
          </p:nvSpPr>
          <p:spPr>
            <a:xfrm>
              <a:off x="3709700" y="2698525"/>
              <a:ext cx="1055525" cy="2070975"/>
            </a:xfrm>
            <a:custGeom>
              <a:avLst/>
              <a:gdLst/>
              <a:ahLst/>
              <a:cxnLst/>
              <a:rect l="l" t="t" r="r" b="b"/>
              <a:pathLst>
                <a:path w="42221" h="82839" extrusionOk="0">
                  <a:moveTo>
                    <a:pt x="21776" y="0"/>
                  </a:moveTo>
                  <a:cubicBezTo>
                    <a:pt x="20667" y="0"/>
                    <a:pt x="18966" y="850"/>
                    <a:pt x="18707" y="4658"/>
                  </a:cubicBezTo>
                  <a:cubicBezTo>
                    <a:pt x="18412" y="8429"/>
                    <a:pt x="0" y="79376"/>
                    <a:pt x="0" y="81188"/>
                  </a:cubicBezTo>
                  <a:cubicBezTo>
                    <a:pt x="0" y="82197"/>
                    <a:pt x="872" y="82839"/>
                    <a:pt x="3134" y="82839"/>
                  </a:cubicBezTo>
                  <a:cubicBezTo>
                    <a:pt x="4932" y="82839"/>
                    <a:pt x="7609" y="82433"/>
                    <a:pt x="11424" y="81483"/>
                  </a:cubicBezTo>
                  <a:cubicBezTo>
                    <a:pt x="18707" y="79672"/>
                    <a:pt x="40335" y="72352"/>
                    <a:pt x="40335" y="72352"/>
                  </a:cubicBezTo>
                  <a:lnTo>
                    <a:pt x="42221" y="57009"/>
                  </a:lnTo>
                  <a:lnTo>
                    <a:pt x="19669" y="61519"/>
                  </a:lnTo>
                  <a:lnTo>
                    <a:pt x="30649" y="29355"/>
                  </a:lnTo>
                  <a:lnTo>
                    <a:pt x="27543" y="444"/>
                  </a:lnTo>
                  <a:cubicBezTo>
                    <a:pt x="27543" y="444"/>
                    <a:pt x="22922" y="0"/>
                    <a:pt x="21776" y="0"/>
                  </a:cubicBez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29" name="Google Shape;1929;p37"/>
            <p:cNvSpPr/>
            <p:nvPr/>
          </p:nvSpPr>
          <p:spPr>
            <a:xfrm>
              <a:off x="3709700" y="3396325"/>
              <a:ext cx="1024100" cy="1373175"/>
            </a:xfrm>
            <a:custGeom>
              <a:avLst/>
              <a:gdLst/>
              <a:ahLst/>
              <a:cxnLst/>
              <a:rect l="l" t="t" r="r" b="b"/>
              <a:pathLst>
                <a:path w="40964" h="54927" extrusionOk="0">
                  <a:moveTo>
                    <a:pt x="13199" y="1"/>
                  </a:moveTo>
                  <a:cubicBezTo>
                    <a:pt x="7690" y="22109"/>
                    <a:pt x="0" y="52093"/>
                    <a:pt x="0" y="53276"/>
                  </a:cubicBezTo>
                  <a:cubicBezTo>
                    <a:pt x="0" y="54285"/>
                    <a:pt x="872" y="54927"/>
                    <a:pt x="3134" y="54927"/>
                  </a:cubicBezTo>
                  <a:cubicBezTo>
                    <a:pt x="4932" y="54927"/>
                    <a:pt x="7609" y="54521"/>
                    <a:pt x="11424" y="53571"/>
                  </a:cubicBezTo>
                  <a:cubicBezTo>
                    <a:pt x="18707" y="51760"/>
                    <a:pt x="40335" y="44440"/>
                    <a:pt x="40335" y="44440"/>
                  </a:cubicBezTo>
                  <a:lnTo>
                    <a:pt x="40964" y="39301"/>
                  </a:lnTo>
                  <a:lnTo>
                    <a:pt x="40964" y="39301"/>
                  </a:lnTo>
                  <a:cubicBezTo>
                    <a:pt x="39374" y="39744"/>
                    <a:pt x="14197" y="46510"/>
                    <a:pt x="9391" y="48100"/>
                  </a:cubicBezTo>
                  <a:cubicBezTo>
                    <a:pt x="8943" y="48249"/>
                    <a:pt x="8622" y="48317"/>
                    <a:pt x="8405" y="48317"/>
                  </a:cubicBezTo>
                  <a:cubicBezTo>
                    <a:pt x="7334" y="48317"/>
                    <a:pt x="8820" y="46661"/>
                    <a:pt x="10204" y="45031"/>
                  </a:cubicBezTo>
                  <a:cubicBezTo>
                    <a:pt x="11587" y="43400"/>
                    <a:pt x="12868" y="41769"/>
                    <a:pt x="11502" y="41769"/>
                  </a:cubicBezTo>
                  <a:cubicBezTo>
                    <a:pt x="11444" y="41769"/>
                    <a:pt x="11381" y="41772"/>
                    <a:pt x="11313" y="41778"/>
                  </a:cubicBezTo>
                  <a:cubicBezTo>
                    <a:pt x="7764" y="42037"/>
                    <a:pt x="3623" y="46991"/>
                    <a:pt x="3623" y="46991"/>
                  </a:cubicBezTo>
                  <a:lnTo>
                    <a:pt x="13199" y="1"/>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0" name="Google Shape;1930;p37"/>
            <p:cNvSpPr/>
            <p:nvPr/>
          </p:nvSpPr>
          <p:spPr>
            <a:xfrm>
              <a:off x="3718000" y="3645900"/>
              <a:ext cx="1007475" cy="1115600"/>
            </a:xfrm>
            <a:custGeom>
              <a:avLst/>
              <a:gdLst/>
              <a:ahLst/>
              <a:cxnLst/>
              <a:rect l="l" t="t" r="r" b="b"/>
              <a:pathLst>
                <a:path w="40299" h="44624" extrusionOk="0">
                  <a:moveTo>
                    <a:pt x="10685" y="0"/>
                  </a:moveTo>
                  <a:cubicBezTo>
                    <a:pt x="8134" y="10241"/>
                    <a:pt x="5399" y="20925"/>
                    <a:pt x="3365" y="29170"/>
                  </a:cubicBezTo>
                  <a:cubicBezTo>
                    <a:pt x="1591" y="36268"/>
                    <a:pt x="297" y="41555"/>
                    <a:pt x="38" y="42997"/>
                  </a:cubicBezTo>
                  <a:cubicBezTo>
                    <a:pt x="1" y="43145"/>
                    <a:pt x="1" y="43293"/>
                    <a:pt x="1" y="43293"/>
                  </a:cubicBezTo>
                  <a:cubicBezTo>
                    <a:pt x="1" y="43515"/>
                    <a:pt x="38" y="43662"/>
                    <a:pt x="112" y="43847"/>
                  </a:cubicBezTo>
                  <a:cubicBezTo>
                    <a:pt x="223" y="43995"/>
                    <a:pt x="334" y="44106"/>
                    <a:pt x="555" y="44217"/>
                  </a:cubicBezTo>
                  <a:cubicBezTo>
                    <a:pt x="962" y="44476"/>
                    <a:pt x="1702" y="44624"/>
                    <a:pt x="2774" y="44624"/>
                  </a:cubicBezTo>
                  <a:cubicBezTo>
                    <a:pt x="4548" y="44624"/>
                    <a:pt x="7210" y="44217"/>
                    <a:pt x="11018" y="43293"/>
                  </a:cubicBezTo>
                  <a:cubicBezTo>
                    <a:pt x="17377" y="41703"/>
                    <a:pt x="34716" y="35899"/>
                    <a:pt x="38968" y="34457"/>
                  </a:cubicBezTo>
                  <a:cubicBezTo>
                    <a:pt x="39301" y="34346"/>
                    <a:pt x="39559" y="34272"/>
                    <a:pt x="39707" y="34235"/>
                  </a:cubicBezTo>
                  <a:lnTo>
                    <a:pt x="40299" y="29429"/>
                  </a:lnTo>
                  <a:lnTo>
                    <a:pt x="40299" y="29429"/>
                  </a:lnTo>
                  <a:cubicBezTo>
                    <a:pt x="36972" y="30316"/>
                    <a:pt x="13680" y="36564"/>
                    <a:pt x="9059" y="38117"/>
                  </a:cubicBezTo>
                  <a:cubicBezTo>
                    <a:pt x="8615" y="38265"/>
                    <a:pt x="8282" y="38339"/>
                    <a:pt x="8061" y="38339"/>
                  </a:cubicBezTo>
                  <a:cubicBezTo>
                    <a:pt x="7839" y="38339"/>
                    <a:pt x="7728" y="38228"/>
                    <a:pt x="7728" y="38080"/>
                  </a:cubicBezTo>
                  <a:cubicBezTo>
                    <a:pt x="7728" y="37525"/>
                    <a:pt x="8800" y="36305"/>
                    <a:pt x="9872" y="35048"/>
                  </a:cubicBezTo>
                  <a:cubicBezTo>
                    <a:pt x="10833" y="33902"/>
                    <a:pt x="11758" y="32756"/>
                    <a:pt x="11758" y="32165"/>
                  </a:cubicBezTo>
                  <a:cubicBezTo>
                    <a:pt x="11758" y="31943"/>
                    <a:pt x="11573" y="31795"/>
                    <a:pt x="11166" y="31795"/>
                  </a:cubicBezTo>
                  <a:lnTo>
                    <a:pt x="10981" y="31795"/>
                  </a:lnTo>
                  <a:cubicBezTo>
                    <a:pt x="7432" y="32054"/>
                    <a:pt x="3291" y="37008"/>
                    <a:pt x="3291" y="37008"/>
                  </a:cubicBezTo>
                  <a:lnTo>
                    <a:pt x="10833" y="0"/>
                  </a:lnTo>
                  <a:close/>
                </a:path>
              </a:pathLst>
            </a:custGeom>
            <a:solidFill>
              <a:schemeClr val="accent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1" name="Google Shape;1931;p37"/>
            <p:cNvSpPr/>
            <p:nvPr/>
          </p:nvSpPr>
          <p:spPr>
            <a:xfrm>
              <a:off x="3702300" y="2691125"/>
              <a:ext cx="1071250" cy="2086100"/>
            </a:xfrm>
            <a:custGeom>
              <a:avLst/>
              <a:gdLst/>
              <a:ahLst/>
              <a:cxnLst/>
              <a:rect l="l" t="t" r="r" b="b"/>
              <a:pathLst>
                <a:path w="42850" h="83444" extrusionOk="0">
                  <a:moveTo>
                    <a:pt x="22072" y="0"/>
                  </a:moveTo>
                  <a:cubicBezTo>
                    <a:pt x="21443" y="0"/>
                    <a:pt x="20630" y="259"/>
                    <a:pt x="20002" y="998"/>
                  </a:cubicBezTo>
                  <a:cubicBezTo>
                    <a:pt x="19336" y="1775"/>
                    <a:pt x="18818" y="2995"/>
                    <a:pt x="18671" y="4917"/>
                  </a:cubicBezTo>
                  <a:cubicBezTo>
                    <a:pt x="18671" y="5139"/>
                    <a:pt x="18597" y="5620"/>
                    <a:pt x="18449" y="6359"/>
                  </a:cubicBezTo>
                  <a:cubicBezTo>
                    <a:pt x="17303" y="11794"/>
                    <a:pt x="12718" y="30131"/>
                    <a:pt x="8393" y="47323"/>
                  </a:cubicBezTo>
                  <a:cubicBezTo>
                    <a:pt x="6211" y="55937"/>
                    <a:pt x="4141" y="64218"/>
                    <a:pt x="2588" y="70503"/>
                  </a:cubicBezTo>
                  <a:cubicBezTo>
                    <a:pt x="1812" y="73646"/>
                    <a:pt x="1147" y="76271"/>
                    <a:pt x="703" y="78156"/>
                  </a:cubicBezTo>
                  <a:cubicBezTo>
                    <a:pt x="481" y="79081"/>
                    <a:pt x="296" y="79857"/>
                    <a:pt x="185" y="80412"/>
                  </a:cubicBezTo>
                  <a:cubicBezTo>
                    <a:pt x="148" y="80707"/>
                    <a:pt x="74" y="80929"/>
                    <a:pt x="74" y="81114"/>
                  </a:cubicBezTo>
                  <a:cubicBezTo>
                    <a:pt x="37" y="81262"/>
                    <a:pt x="0" y="81373"/>
                    <a:pt x="0" y="81484"/>
                  </a:cubicBezTo>
                  <a:cubicBezTo>
                    <a:pt x="0" y="81779"/>
                    <a:pt x="74" y="82075"/>
                    <a:pt x="222" y="82334"/>
                  </a:cubicBezTo>
                  <a:cubicBezTo>
                    <a:pt x="444" y="82704"/>
                    <a:pt x="814" y="83000"/>
                    <a:pt x="1331" y="83184"/>
                  </a:cubicBezTo>
                  <a:cubicBezTo>
                    <a:pt x="1886" y="83369"/>
                    <a:pt x="2551" y="83443"/>
                    <a:pt x="3402" y="83443"/>
                  </a:cubicBezTo>
                  <a:cubicBezTo>
                    <a:pt x="5250" y="83443"/>
                    <a:pt x="7949" y="83037"/>
                    <a:pt x="11794" y="82075"/>
                  </a:cubicBezTo>
                  <a:cubicBezTo>
                    <a:pt x="19114" y="80227"/>
                    <a:pt x="40705" y="72943"/>
                    <a:pt x="40705" y="72943"/>
                  </a:cubicBezTo>
                  <a:cubicBezTo>
                    <a:pt x="40816" y="72907"/>
                    <a:pt x="40927" y="72796"/>
                    <a:pt x="40927" y="72685"/>
                  </a:cubicBezTo>
                  <a:lnTo>
                    <a:pt x="42849" y="57342"/>
                  </a:lnTo>
                  <a:cubicBezTo>
                    <a:pt x="42849" y="57231"/>
                    <a:pt x="42812" y="57157"/>
                    <a:pt x="42738" y="57083"/>
                  </a:cubicBezTo>
                  <a:cubicBezTo>
                    <a:pt x="42684" y="57029"/>
                    <a:pt x="42610" y="56995"/>
                    <a:pt x="42546" y="56995"/>
                  </a:cubicBezTo>
                  <a:cubicBezTo>
                    <a:pt x="42522" y="56995"/>
                    <a:pt x="42499" y="56999"/>
                    <a:pt x="42480" y="57009"/>
                  </a:cubicBezTo>
                  <a:lnTo>
                    <a:pt x="20445" y="61409"/>
                  </a:lnTo>
                  <a:lnTo>
                    <a:pt x="31204" y="29762"/>
                  </a:lnTo>
                  <a:cubicBezTo>
                    <a:pt x="31278" y="29614"/>
                    <a:pt x="31204" y="29429"/>
                    <a:pt x="31019" y="29355"/>
                  </a:cubicBezTo>
                  <a:cubicBezTo>
                    <a:pt x="30994" y="29349"/>
                    <a:pt x="30968" y="29346"/>
                    <a:pt x="30943" y="29346"/>
                  </a:cubicBezTo>
                  <a:cubicBezTo>
                    <a:pt x="30813" y="29346"/>
                    <a:pt x="30680" y="29423"/>
                    <a:pt x="30649" y="29577"/>
                  </a:cubicBezTo>
                  <a:lnTo>
                    <a:pt x="19669" y="61741"/>
                  </a:lnTo>
                  <a:cubicBezTo>
                    <a:pt x="19632" y="61815"/>
                    <a:pt x="19669" y="61963"/>
                    <a:pt x="19743" y="62037"/>
                  </a:cubicBezTo>
                  <a:cubicBezTo>
                    <a:pt x="19797" y="62091"/>
                    <a:pt x="19871" y="62126"/>
                    <a:pt x="19950" y="62126"/>
                  </a:cubicBezTo>
                  <a:cubicBezTo>
                    <a:pt x="19979" y="62126"/>
                    <a:pt x="20009" y="62121"/>
                    <a:pt x="20038" y="62111"/>
                  </a:cubicBezTo>
                  <a:lnTo>
                    <a:pt x="42184" y="57675"/>
                  </a:lnTo>
                  <a:lnTo>
                    <a:pt x="40323" y="72417"/>
                  </a:lnTo>
                  <a:lnTo>
                    <a:pt x="40323" y="72417"/>
                  </a:lnTo>
                  <a:cubicBezTo>
                    <a:pt x="40166" y="72467"/>
                    <a:pt x="39920" y="72546"/>
                    <a:pt x="39596" y="72648"/>
                  </a:cubicBezTo>
                  <a:cubicBezTo>
                    <a:pt x="35344" y="74090"/>
                    <a:pt x="18005" y="79894"/>
                    <a:pt x="11646" y="81484"/>
                  </a:cubicBezTo>
                  <a:cubicBezTo>
                    <a:pt x="7838" y="82408"/>
                    <a:pt x="5176" y="82815"/>
                    <a:pt x="3402" y="82815"/>
                  </a:cubicBezTo>
                  <a:cubicBezTo>
                    <a:pt x="2330" y="82815"/>
                    <a:pt x="1590" y="82667"/>
                    <a:pt x="1183" y="82408"/>
                  </a:cubicBezTo>
                  <a:cubicBezTo>
                    <a:pt x="962" y="82297"/>
                    <a:pt x="851" y="82186"/>
                    <a:pt x="740" y="82038"/>
                  </a:cubicBezTo>
                  <a:cubicBezTo>
                    <a:pt x="666" y="81853"/>
                    <a:pt x="629" y="81706"/>
                    <a:pt x="629" y="81484"/>
                  </a:cubicBezTo>
                  <a:cubicBezTo>
                    <a:pt x="629" y="81484"/>
                    <a:pt x="629" y="81336"/>
                    <a:pt x="666" y="81188"/>
                  </a:cubicBezTo>
                  <a:cubicBezTo>
                    <a:pt x="925" y="79746"/>
                    <a:pt x="2219" y="74459"/>
                    <a:pt x="3993" y="67361"/>
                  </a:cubicBezTo>
                  <a:cubicBezTo>
                    <a:pt x="6655" y="56676"/>
                    <a:pt x="10426" y="41777"/>
                    <a:pt x="13569" y="29207"/>
                  </a:cubicBezTo>
                  <a:cubicBezTo>
                    <a:pt x="15121" y="22922"/>
                    <a:pt x="16526" y="17229"/>
                    <a:pt x="17561" y="12903"/>
                  </a:cubicBezTo>
                  <a:cubicBezTo>
                    <a:pt x="18079" y="10759"/>
                    <a:pt x="18486" y="8947"/>
                    <a:pt x="18781" y="7616"/>
                  </a:cubicBezTo>
                  <a:cubicBezTo>
                    <a:pt x="19077" y="6248"/>
                    <a:pt x="19262" y="5361"/>
                    <a:pt x="19299" y="4954"/>
                  </a:cubicBezTo>
                  <a:cubicBezTo>
                    <a:pt x="19447" y="3106"/>
                    <a:pt x="19928" y="2034"/>
                    <a:pt x="20445" y="1405"/>
                  </a:cubicBezTo>
                  <a:cubicBezTo>
                    <a:pt x="21000" y="777"/>
                    <a:pt x="21591" y="629"/>
                    <a:pt x="22072" y="629"/>
                  </a:cubicBezTo>
                  <a:cubicBezTo>
                    <a:pt x="22626" y="629"/>
                    <a:pt x="24068" y="740"/>
                    <a:pt x="25362" y="814"/>
                  </a:cubicBezTo>
                  <a:cubicBezTo>
                    <a:pt x="26656" y="925"/>
                    <a:pt x="27802" y="1035"/>
                    <a:pt x="27802" y="1035"/>
                  </a:cubicBezTo>
                  <a:cubicBezTo>
                    <a:pt x="27822" y="1039"/>
                    <a:pt x="27841" y="1041"/>
                    <a:pt x="27859" y="1041"/>
                  </a:cubicBezTo>
                  <a:cubicBezTo>
                    <a:pt x="28017" y="1041"/>
                    <a:pt x="28135" y="909"/>
                    <a:pt x="28135" y="777"/>
                  </a:cubicBezTo>
                  <a:cubicBezTo>
                    <a:pt x="28172" y="592"/>
                    <a:pt x="28024" y="444"/>
                    <a:pt x="27876" y="444"/>
                  </a:cubicBezTo>
                  <a:cubicBezTo>
                    <a:pt x="27876" y="444"/>
                    <a:pt x="26693" y="333"/>
                    <a:pt x="25399" y="222"/>
                  </a:cubicBezTo>
                  <a:cubicBezTo>
                    <a:pt x="24105" y="111"/>
                    <a:pt x="22663" y="0"/>
                    <a:pt x="22072"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2" name="Google Shape;1932;p37"/>
            <p:cNvSpPr/>
            <p:nvPr/>
          </p:nvSpPr>
          <p:spPr>
            <a:xfrm>
              <a:off x="4389950" y="3681000"/>
              <a:ext cx="277300" cy="403025"/>
            </a:xfrm>
            <a:custGeom>
              <a:avLst/>
              <a:gdLst/>
              <a:ahLst/>
              <a:cxnLst/>
              <a:rect l="l" t="t" r="r" b="b"/>
              <a:pathLst>
                <a:path w="11092" h="16121" extrusionOk="0">
                  <a:moveTo>
                    <a:pt x="1258" y="1"/>
                  </a:moveTo>
                  <a:lnTo>
                    <a:pt x="1" y="15713"/>
                  </a:lnTo>
                  <a:lnTo>
                    <a:pt x="10130" y="16120"/>
                  </a:lnTo>
                  <a:lnTo>
                    <a:pt x="11092" y="851"/>
                  </a:lnTo>
                  <a:lnTo>
                    <a:pt x="1258"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3" name="Google Shape;1933;p37"/>
            <p:cNvSpPr/>
            <p:nvPr/>
          </p:nvSpPr>
          <p:spPr>
            <a:xfrm>
              <a:off x="4381625" y="3673250"/>
              <a:ext cx="293950" cy="419075"/>
            </a:xfrm>
            <a:custGeom>
              <a:avLst/>
              <a:gdLst/>
              <a:ahLst/>
              <a:cxnLst/>
              <a:rect l="l" t="t" r="r" b="b"/>
              <a:pathLst>
                <a:path w="11758" h="16763" extrusionOk="0">
                  <a:moveTo>
                    <a:pt x="1864" y="633"/>
                  </a:moveTo>
                  <a:lnTo>
                    <a:pt x="11092" y="1420"/>
                  </a:lnTo>
                  <a:lnTo>
                    <a:pt x="10205" y="16134"/>
                  </a:lnTo>
                  <a:lnTo>
                    <a:pt x="666" y="15728"/>
                  </a:lnTo>
                  <a:lnTo>
                    <a:pt x="1864" y="633"/>
                  </a:lnTo>
                  <a:close/>
                  <a:moveTo>
                    <a:pt x="1562" y="1"/>
                  </a:moveTo>
                  <a:cubicBezTo>
                    <a:pt x="1499" y="1"/>
                    <a:pt x="1433" y="35"/>
                    <a:pt x="1406" y="89"/>
                  </a:cubicBezTo>
                  <a:cubicBezTo>
                    <a:pt x="1332" y="126"/>
                    <a:pt x="1295" y="200"/>
                    <a:pt x="1295" y="274"/>
                  </a:cubicBezTo>
                  <a:lnTo>
                    <a:pt x="38" y="16023"/>
                  </a:lnTo>
                  <a:cubicBezTo>
                    <a:pt x="1" y="16097"/>
                    <a:pt x="38" y="16171"/>
                    <a:pt x="112" y="16245"/>
                  </a:cubicBezTo>
                  <a:cubicBezTo>
                    <a:pt x="149" y="16319"/>
                    <a:pt x="223" y="16356"/>
                    <a:pt x="334" y="16356"/>
                  </a:cubicBezTo>
                  <a:lnTo>
                    <a:pt x="10463" y="16763"/>
                  </a:lnTo>
                  <a:cubicBezTo>
                    <a:pt x="10648" y="16763"/>
                    <a:pt x="10759" y="16615"/>
                    <a:pt x="10796" y="16467"/>
                  </a:cubicBezTo>
                  <a:lnTo>
                    <a:pt x="11720" y="1161"/>
                  </a:lnTo>
                  <a:cubicBezTo>
                    <a:pt x="11757" y="1013"/>
                    <a:pt x="11610" y="865"/>
                    <a:pt x="11462" y="829"/>
                  </a:cubicBezTo>
                  <a:lnTo>
                    <a:pt x="1628" y="15"/>
                  </a:lnTo>
                  <a:cubicBezTo>
                    <a:pt x="1608" y="5"/>
                    <a:pt x="1585" y="1"/>
                    <a:pt x="1562"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4" name="Google Shape;1934;p37"/>
            <p:cNvSpPr/>
            <p:nvPr/>
          </p:nvSpPr>
          <p:spPr>
            <a:xfrm>
              <a:off x="4512875" y="3582125"/>
              <a:ext cx="70275" cy="158075"/>
            </a:xfrm>
            <a:custGeom>
              <a:avLst/>
              <a:gdLst/>
              <a:ahLst/>
              <a:cxnLst/>
              <a:rect l="l" t="t" r="r" b="b"/>
              <a:pathLst>
                <a:path w="2811" h="6323" extrusionOk="0">
                  <a:moveTo>
                    <a:pt x="149" y="0"/>
                  </a:moveTo>
                  <a:lnTo>
                    <a:pt x="1" y="6174"/>
                  </a:lnTo>
                  <a:lnTo>
                    <a:pt x="2663" y="6322"/>
                  </a:lnTo>
                  <a:lnTo>
                    <a:pt x="2810" y="0"/>
                  </a:lnTo>
                  <a:close/>
                </a:path>
              </a:pathLst>
            </a:custGeom>
            <a:solidFill>
              <a:srgbClr val="FFFFFF"/>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5" name="Google Shape;1935;p37"/>
            <p:cNvSpPr/>
            <p:nvPr/>
          </p:nvSpPr>
          <p:spPr>
            <a:xfrm>
              <a:off x="4505475" y="3574725"/>
              <a:ext cx="85075" cy="172850"/>
            </a:xfrm>
            <a:custGeom>
              <a:avLst/>
              <a:gdLst/>
              <a:ahLst/>
              <a:cxnLst/>
              <a:rect l="l" t="t" r="r" b="b"/>
              <a:pathLst>
                <a:path w="3403" h="6914" extrusionOk="0">
                  <a:moveTo>
                    <a:pt x="2774" y="592"/>
                  </a:moveTo>
                  <a:lnTo>
                    <a:pt x="2663" y="6285"/>
                  </a:lnTo>
                  <a:lnTo>
                    <a:pt x="629" y="6174"/>
                  </a:lnTo>
                  <a:lnTo>
                    <a:pt x="735" y="592"/>
                  </a:lnTo>
                  <a:close/>
                  <a:moveTo>
                    <a:pt x="445" y="0"/>
                  </a:moveTo>
                  <a:cubicBezTo>
                    <a:pt x="260" y="0"/>
                    <a:pt x="149" y="111"/>
                    <a:pt x="149" y="296"/>
                  </a:cubicBezTo>
                  <a:lnTo>
                    <a:pt x="1" y="6470"/>
                  </a:lnTo>
                  <a:cubicBezTo>
                    <a:pt x="1" y="6618"/>
                    <a:pt x="112" y="6766"/>
                    <a:pt x="297" y="6766"/>
                  </a:cubicBezTo>
                  <a:lnTo>
                    <a:pt x="2959" y="6914"/>
                  </a:lnTo>
                  <a:cubicBezTo>
                    <a:pt x="3032" y="6914"/>
                    <a:pt x="3106" y="6877"/>
                    <a:pt x="3180" y="6840"/>
                  </a:cubicBezTo>
                  <a:cubicBezTo>
                    <a:pt x="3254" y="6766"/>
                    <a:pt x="3254" y="6692"/>
                    <a:pt x="3291" y="6618"/>
                  </a:cubicBezTo>
                  <a:lnTo>
                    <a:pt x="3402" y="296"/>
                  </a:lnTo>
                  <a:cubicBezTo>
                    <a:pt x="3402" y="222"/>
                    <a:pt x="3402" y="148"/>
                    <a:pt x="3328" y="74"/>
                  </a:cubicBezTo>
                  <a:cubicBezTo>
                    <a:pt x="3254" y="0"/>
                    <a:pt x="3180" y="0"/>
                    <a:pt x="3106"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6" name="Google Shape;1936;p37"/>
            <p:cNvSpPr/>
            <p:nvPr/>
          </p:nvSpPr>
          <p:spPr>
            <a:xfrm>
              <a:off x="5426975" y="3461900"/>
              <a:ext cx="1298625" cy="1073150"/>
            </a:xfrm>
            <a:custGeom>
              <a:avLst/>
              <a:gdLst/>
              <a:ahLst/>
              <a:cxnLst/>
              <a:rect l="l" t="t" r="r" b="b"/>
              <a:pathLst>
                <a:path w="51945" h="42926" extrusionOk="0">
                  <a:moveTo>
                    <a:pt x="19915" y="0"/>
                  </a:moveTo>
                  <a:cubicBezTo>
                    <a:pt x="19319" y="0"/>
                    <a:pt x="18770" y="363"/>
                    <a:pt x="18523" y="927"/>
                  </a:cubicBezTo>
                  <a:lnTo>
                    <a:pt x="481" y="40412"/>
                  </a:lnTo>
                  <a:cubicBezTo>
                    <a:pt x="1" y="41447"/>
                    <a:pt x="740" y="42667"/>
                    <a:pt x="1886" y="42667"/>
                  </a:cubicBezTo>
                  <a:lnTo>
                    <a:pt x="31167" y="42926"/>
                  </a:lnTo>
                  <a:cubicBezTo>
                    <a:pt x="31758" y="42926"/>
                    <a:pt x="32350" y="42593"/>
                    <a:pt x="32609" y="42039"/>
                  </a:cubicBezTo>
                  <a:lnTo>
                    <a:pt x="51464" y="3145"/>
                  </a:lnTo>
                  <a:cubicBezTo>
                    <a:pt x="51944" y="2110"/>
                    <a:pt x="51205" y="890"/>
                    <a:pt x="50059" y="853"/>
                  </a:cubicBezTo>
                  <a:lnTo>
                    <a:pt x="20002" y="3"/>
                  </a:lnTo>
                  <a:cubicBezTo>
                    <a:pt x="19973" y="1"/>
                    <a:pt x="19944" y="0"/>
                    <a:pt x="19915"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7" name="Google Shape;1937;p37"/>
            <p:cNvSpPr/>
            <p:nvPr/>
          </p:nvSpPr>
          <p:spPr>
            <a:xfrm>
              <a:off x="5426975" y="3453650"/>
              <a:ext cx="1297700" cy="1088800"/>
            </a:xfrm>
            <a:custGeom>
              <a:avLst/>
              <a:gdLst/>
              <a:ahLst/>
              <a:cxnLst/>
              <a:rect l="l" t="t" r="r" b="b"/>
              <a:pathLst>
                <a:path w="51908" h="43552" extrusionOk="0">
                  <a:moveTo>
                    <a:pt x="20002" y="629"/>
                  </a:moveTo>
                  <a:lnTo>
                    <a:pt x="50059" y="1516"/>
                  </a:lnTo>
                  <a:cubicBezTo>
                    <a:pt x="50798" y="1516"/>
                    <a:pt x="51316" y="2144"/>
                    <a:pt x="51316" y="2810"/>
                  </a:cubicBezTo>
                  <a:cubicBezTo>
                    <a:pt x="51316" y="2995"/>
                    <a:pt x="51279" y="3180"/>
                    <a:pt x="51168" y="3364"/>
                  </a:cubicBezTo>
                  <a:lnTo>
                    <a:pt x="32313" y="42221"/>
                  </a:lnTo>
                  <a:cubicBezTo>
                    <a:pt x="32128" y="42664"/>
                    <a:pt x="31647" y="42960"/>
                    <a:pt x="31167" y="42960"/>
                  </a:cubicBezTo>
                  <a:lnTo>
                    <a:pt x="1886" y="42701"/>
                  </a:lnTo>
                  <a:cubicBezTo>
                    <a:pt x="1147" y="42701"/>
                    <a:pt x="629" y="42073"/>
                    <a:pt x="629" y="41407"/>
                  </a:cubicBezTo>
                  <a:cubicBezTo>
                    <a:pt x="629" y="41222"/>
                    <a:pt x="666" y="41038"/>
                    <a:pt x="740" y="40890"/>
                  </a:cubicBezTo>
                  <a:lnTo>
                    <a:pt x="18819" y="1368"/>
                  </a:lnTo>
                  <a:cubicBezTo>
                    <a:pt x="19003" y="924"/>
                    <a:pt x="19484" y="629"/>
                    <a:pt x="19965" y="629"/>
                  </a:cubicBezTo>
                  <a:close/>
                  <a:moveTo>
                    <a:pt x="19965" y="0"/>
                  </a:moveTo>
                  <a:cubicBezTo>
                    <a:pt x="19225" y="0"/>
                    <a:pt x="18560" y="444"/>
                    <a:pt x="18227" y="1109"/>
                  </a:cubicBezTo>
                  <a:lnTo>
                    <a:pt x="185" y="40631"/>
                  </a:lnTo>
                  <a:cubicBezTo>
                    <a:pt x="74" y="40890"/>
                    <a:pt x="1" y="41149"/>
                    <a:pt x="1" y="41407"/>
                  </a:cubicBezTo>
                  <a:cubicBezTo>
                    <a:pt x="1" y="42406"/>
                    <a:pt x="814" y="43293"/>
                    <a:pt x="1886" y="43293"/>
                  </a:cubicBezTo>
                  <a:lnTo>
                    <a:pt x="31167" y="43552"/>
                  </a:lnTo>
                  <a:cubicBezTo>
                    <a:pt x="31906" y="43552"/>
                    <a:pt x="32572" y="43145"/>
                    <a:pt x="32867" y="42479"/>
                  </a:cubicBezTo>
                  <a:lnTo>
                    <a:pt x="51722" y="3623"/>
                  </a:lnTo>
                  <a:cubicBezTo>
                    <a:pt x="51870" y="3364"/>
                    <a:pt x="51907" y="3069"/>
                    <a:pt x="51907" y="2810"/>
                  </a:cubicBezTo>
                  <a:cubicBezTo>
                    <a:pt x="51907" y="1812"/>
                    <a:pt x="51168" y="924"/>
                    <a:pt x="50059" y="887"/>
                  </a:cubicBezTo>
                  <a:lnTo>
                    <a:pt x="20039" y="0"/>
                  </a:ln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8" name="Google Shape;1938;p37"/>
            <p:cNvSpPr/>
            <p:nvPr/>
          </p:nvSpPr>
          <p:spPr>
            <a:xfrm>
              <a:off x="5548050" y="4175700"/>
              <a:ext cx="53625" cy="94825"/>
            </a:xfrm>
            <a:custGeom>
              <a:avLst/>
              <a:gdLst/>
              <a:ahLst/>
              <a:cxnLst/>
              <a:rect l="l" t="t" r="r" b="b"/>
              <a:pathLst>
                <a:path w="2145" h="3793" extrusionOk="0">
                  <a:moveTo>
                    <a:pt x="1777" y="0"/>
                  </a:moveTo>
                  <a:cubicBezTo>
                    <a:pt x="1650" y="0"/>
                    <a:pt x="1544" y="69"/>
                    <a:pt x="1516" y="177"/>
                  </a:cubicBezTo>
                  <a:lnTo>
                    <a:pt x="38" y="3357"/>
                  </a:lnTo>
                  <a:cubicBezTo>
                    <a:pt x="1" y="3504"/>
                    <a:pt x="38" y="3689"/>
                    <a:pt x="223" y="3763"/>
                  </a:cubicBezTo>
                  <a:cubicBezTo>
                    <a:pt x="262" y="3783"/>
                    <a:pt x="304" y="3792"/>
                    <a:pt x="347" y="3792"/>
                  </a:cubicBezTo>
                  <a:cubicBezTo>
                    <a:pt x="461" y="3792"/>
                    <a:pt x="575" y="3724"/>
                    <a:pt x="629" y="3615"/>
                  </a:cubicBezTo>
                  <a:lnTo>
                    <a:pt x="2071" y="436"/>
                  </a:lnTo>
                  <a:cubicBezTo>
                    <a:pt x="2145" y="288"/>
                    <a:pt x="2071" y="103"/>
                    <a:pt x="1923" y="29"/>
                  </a:cubicBezTo>
                  <a:cubicBezTo>
                    <a:pt x="1874" y="9"/>
                    <a:pt x="1824" y="0"/>
                    <a:pt x="1777" y="0"/>
                  </a:cubicBez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39" name="Google Shape;1939;p37"/>
            <p:cNvSpPr/>
            <p:nvPr/>
          </p:nvSpPr>
          <p:spPr>
            <a:xfrm>
              <a:off x="5610900" y="3469350"/>
              <a:ext cx="451075" cy="661600"/>
            </a:xfrm>
            <a:custGeom>
              <a:avLst/>
              <a:gdLst/>
              <a:ahLst/>
              <a:cxnLst/>
              <a:rect l="l" t="t" r="r" b="b"/>
              <a:pathLst>
                <a:path w="18043" h="26464" extrusionOk="0">
                  <a:moveTo>
                    <a:pt x="13236" y="1"/>
                  </a:moveTo>
                  <a:cubicBezTo>
                    <a:pt x="12460" y="1"/>
                    <a:pt x="11794" y="407"/>
                    <a:pt x="11499" y="1110"/>
                  </a:cubicBezTo>
                  <a:lnTo>
                    <a:pt x="75" y="26028"/>
                  </a:lnTo>
                  <a:cubicBezTo>
                    <a:pt x="1" y="26176"/>
                    <a:pt x="75" y="26361"/>
                    <a:pt x="223" y="26435"/>
                  </a:cubicBezTo>
                  <a:cubicBezTo>
                    <a:pt x="272" y="26454"/>
                    <a:pt x="322" y="26464"/>
                    <a:pt x="368" y="26464"/>
                  </a:cubicBezTo>
                  <a:cubicBezTo>
                    <a:pt x="496" y="26464"/>
                    <a:pt x="602" y="26395"/>
                    <a:pt x="629" y="26287"/>
                  </a:cubicBezTo>
                  <a:lnTo>
                    <a:pt x="12053" y="1369"/>
                  </a:lnTo>
                  <a:cubicBezTo>
                    <a:pt x="12275" y="888"/>
                    <a:pt x="12719" y="592"/>
                    <a:pt x="13236" y="592"/>
                  </a:cubicBezTo>
                  <a:lnTo>
                    <a:pt x="13273" y="592"/>
                  </a:lnTo>
                  <a:lnTo>
                    <a:pt x="17710" y="740"/>
                  </a:lnTo>
                  <a:cubicBezTo>
                    <a:pt x="17894" y="740"/>
                    <a:pt x="18042" y="592"/>
                    <a:pt x="18042" y="444"/>
                  </a:cubicBezTo>
                  <a:cubicBezTo>
                    <a:pt x="18042" y="259"/>
                    <a:pt x="17931" y="112"/>
                    <a:pt x="17747" y="112"/>
                  </a:cubicBezTo>
                  <a:lnTo>
                    <a:pt x="13273" y="1"/>
                  </a:ln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0" name="Google Shape;1940;p37"/>
            <p:cNvSpPr/>
            <p:nvPr/>
          </p:nvSpPr>
          <p:spPr>
            <a:xfrm>
              <a:off x="6081350" y="3473050"/>
              <a:ext cx="74900" cy="17575"/>
            </a:xfrm>
            <a:custGeom>
              <a:avLst/>
              <a:gdLst/>
              <a:ahLst/>
              <a:cxnLst/>
              <a:rect l="l" t="t" r="r" b="b"/>
              <a:pathLst>
                <a:path w="2996" h="703" extrusionOk="0">
                  <a:moveTo>
                    <a:pt x="333" y="1"/>
                  </a:moveTo>
                  <a:cubicBezTo>
                    <a:pt x="149" y="1"/>
                    <a:pt x="1" y="148"/>
                    <a:pt x="1" y="296"/>
                  </a:cubicBezTo>
                  <a:cubicBezTo>
                    <a:pt x="1" y="481"/>
                    <a:pt x="149" y="629"/>
                    <a:pt x="296" y="629"/>
                  </a:cubicBezTo>
                  <a:lnTo>
                    <a:pt x="2663" y="703"/>
                  </a:lnTo>
                  <a:cubicBezTo>
                    <a:pt x="2847" y="703"/>
                    <a:pt x="2995" y="555"/>
                    <a:pt x="2995" y="407"/>
                  </a:cubicBezTo>
                  <a:cubicBezTo>
                    <a:pt x="2995" y="222"/>
                    <a:pt x="2847" y="74"/>
                    <a:pt x="2700" y="74"/>
                  </a:cubicBezTo>
                  <a:lnTo>
                    <a:pt x="333" y="1"/>
                  </a:ln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1" name="Google Shape;1941;p37"/>
            <p:cNvSpPr/>
            <p:nvPr/>
          </p:nvSpPr>
          <p:spPr>
            <a:xfrm>
              <a:off x="6350325" y="4060025"/>
              <a:ext cx="263225" cy="113650"/>
            </a:xfrm>
            <a:custGeom>
              <a:avLst/>
              <a:gdLst/>
              <a:ahLst/>
              <a:cxnLst/>
              <a:rect l="l" t="t" r="r" b="b"/>
              <a:pathLst>
                <a:path w="10529" h="4546" extrusionOk="0">
                  <a:moveTo>
                    <a:pt x="9134" y="1"/>
                  </a:moveTo>
                  <a:cubicBezTo>
                    <a:pt x="9019" y="1"/>
                    <a:pt x="8895" y="12"/>
                    <a:pt x="8762" y="35"/>
                  </a:cubicBezTo>
                  <a:cubicBezTo>
                    <a:pt x="8762" y="35"/>
                    <a:pt x="5287" y="1551"/>
                    <a:pt x="2625" y="2586"/>
                  </a:cubicBezTo>
                  <a:cubicBezTo>
                    <a:pt x="0" y="3621"/>
                    <a:pt x="1479" y="4545"/>
                    <a:pt x="2551" y="4545"/>
                  </a:cubicBezTo>
                  <a:cubicBezTo>
                    <a:pt x="3586" y="4545"/>
                    <a:pt x="7616" y="3325"/>
                    <a:pt x="9132" y="2364"/>
                  </a:cubicBezTo>
                  <a:cubicBezTo>
                    <a:pt x="10529" y="1512"/>
                    <a:pt x="10481" y="1"/>
                    <a:pt x="9134"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2" name="Google Shape;1942;p37"/>
            <p:cNvSpPr/>
            <p:nvPr/>
          </p:nvSpPr>
          <p:spPr>
            <a:xfrm>
              <a:off x="6386375" y="4075675"/>
              <a:ext cx="210750" cy="90600"/>
            </a:xfrm>
            <a:custGeom>
              <a:avLst/>
              <a:gdLst/>
              <a:ahLst/>
              <a:cxnLst/>
              <a:rect l="l" t="t" r="r" b="b"/>
              <a:pathLst>
                <a:path w="8430" h="3624" extrusionOk="0">
                  <a:moveTo>
                    <a:pt x="8355" y="0"/>
                  </a:moveTo>
                  <a:cubicBezTo>
                    <a:pt x="7801" y="222"/>
                    <a:pt x="7135" y="481"/>
                    <a:pt x="6507" y="703"/>
                  </a:cubicBezTo>
                  <a:cubicBezTo>
                    <a:pt x="5139" y="1220"/>
                    <a:pt x="3697" y="1627"/>
                    <a:pt x="2551" y="1886"/>
                  </a:cubicBezTo>
                  <a:cubicBezTo>
                    <a:pt x="2218" y="1997"/>
                    <a:pt x="1922" y="2034"/>
                    <a:pt x="1627" y="2108"/>
                  </a:cubicBezTo>
                  <a:cubicBezTo>
                    <a:pt x="1516" y="2145"/>
                    <a:pt x="1405" y="2182"/>
                    <a:pt x="1294" y="2219"/>
                  </a:cubicBezTo>
                  <a:cubicBezTo>
                    <a:pt x="776" y="2440"/>
                    <a:pt x="444" y="2625"/>
                    <a:pt x="222" y="2810"/>
                  </a:cubicBezTo>
                  <a:cubicBezTo>
                    <a:pt x="37" y="2958"/>
                    <a:pt x="0" y="3069"/>
                    <a:pt x="37" y="3106"/>
                  </a:cubicBezTo>
                  <a:cubicBezTo>
                    <a:pt x="37" y="3143"/>
                    <a:pt x="37" y="3180"/>
                    <a:pt x="74" y="3254"/>
                  </a:cubicBezTo>
                  <a:cubicBezTo>
                    <a:pt x="111" y="3328"/>
                    <a:pt x="222" y="3365"/>
                    <a:pt x="333" y="3439"/>
                  </a:cubicBezTo>
                  <a:cubicBezTo>
                    <a:pt x="518" y="3550"/>
                    <a:pt x="850" y="3624"/>
                    <a:pt x="1072" y="3624"/>
                  </a:cubicBezTo>
                  <a:lnTo>
                    <a:pt x="1109" y="3624"/>
                  </a:lnTo>
                  <a:cubicBezTo>
                    <a:pt x="1294" y="3624"/>
                    <a:pt x="1738" y="3550"/>
                    <a:pt x="2292" y="3439"/>
                  </a:cubicBezTo>
                  <a:cubicBezTo>
                    <a:pt x="2810" y="3291"/>
                    <a:pt x="3475" y="3106"/>
                    <a:pt x="4141" y="2921"/>
                  </a:cubicBezTo>
                  <a:cubicBezTo>
                    <a:pt x="5435" y="2477"/>
                    <a:pt x="6840" y="1923"/>
                    <a:pt x="7542" y="1479"/>
                  </a:cubicBezTo>
                  <a:cubicBezTo>
                    <a:pt x="8171" y="1110"/>
                    <a:pt x="8429" y="592"/>
                    <a:pt x="8429" y="259"/>
                  </a:cubicBezTo>
                  <a:cubicBezTo>
                    <a:pt x="8429" y="148"/>
                    <a:pt x="8392" y="74"/>
                    <a:pt x="8355" y="0"/>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3" name="Google Shape;1943;p37"/>
            <p:cNvSpPr/>
            <p:nvPr/>
          </p:nvSpPr>
          <p:spPr>
            <a:xfrm>
              <a:off x="6371575" y="4051650"/>
              <a:ext cx="240325" cy="130350"/>
            </a:xfrm>
            <a:custGeom>
              <a:avLst/>
              <a:gdLst/>
              <a:ahLst/>
              <a:cxnLst/>
              <a:rect l="l" t="t" r="r" b="b"/>
              <a:pathLst>
                <a:path w="9613" h="5214" extrusionOk="0">
                  <a:moveTo>
                    <a:pt x="8282" y="629"/>
                  </a:moveTo>
                  <a:cubicBezTo>
                    <a:pt x="8578" y="629"/>
                    <a:pt x="8726" y="703"/>
                    <a:pt x="8836" y="814"/>
                  </a:cubicBezTo>
                  <a:cubicBezTo>
                    <a:pt x="8947" y="924"/>
                    <a:pt x="9021" y="1035"/>
                    <a:pt x="9021" y="1220"/>
                  </a:cubicBezTo>
                  <a:cubicBezTo>
                    <a:pt x="9021" y="1553"/>
                    <a:pt x="8763" y="2071"/>
                    <a:pt x="8134" y="2440"/>
                  </a:cubicBezTo>
                  <a:cubicBezTo>
                    <a:pt x="7432" y="2884"/>
                    <a:pt x="6027" y="3438"/>
                    <a:pt x="4733" y="3882"/>
                  </a:cubicBezTo>
                  <a:cubicBezTo>
                    <a:pt x="4067" y="4067"/>
                    <a:pt x="3402" y="4252"/>
                    <a:pt x="2884" y="4400"/>
                  </a:cubicBezTo>
                  <a:cubicBezTo>
                    <a:pt x="2330" y="4511"/>
                    <a:pt x="1886" y="4585"/>
                    <a:pt x="1701" y="4585"/>
                  </a:cubicBezTo>
                  <a:cubicBezTo>
                    <a:pt x="1442" y="4585"/>
                    <a:pt x="1110" y="4511"/>
                    <a:pt x="925" y="4400"/>
                  </a:cubicBezTo>
                  <a:cubicBezTo>
                    <a:pt x="814" y="4326"/>
                    <a:pt x="703" y="4289"/>
                    <a:pt x="666" y="4215"/>
                  </a:cubicBezTo>
                  <a:cubicBezTo>
                    <a:pt x="629" y="4141"/>
                    <a:pt x="629" y="4104"/>
                    <a:pt x="629" y="4067"/>
                  </a:cubicBezTo>
                  <a:cubicBezTo>
                    <a:pt x="592" y="4030"/>
                    <a:pt x="629" y="3919"/>
                    <a:pt x="814" y="3771"/>
                  </a:cubicBezTo>
                  <a:cubicBezTo>
                    <a:pt x="1036" y="3586"/>
                    <a:pt x="1368" y="3401"/>
                    <a:pt x="1886" y="3180"/>
                  </a:cubicBezTo>
                  <a:cubicBezTo>
                    <a:pt x="4319" y="2234"/>
                    <a:pt x="7431" y="886"/>
                    <a:pt x="7949" y="661"/>
                  </a:cubicBezTo>
                  <a:lnTo>
                    <a:pt x="7949" y="661"/>
                  </a:lnTo>
                  <a:lnTo>
                    <a:pt x="7949" y="666"/>
                  </a:lnTo>
                  <a:cubicBezTo>
                    <a:pt x="8060" y="629"/>
                    <a:pt x="8171" y="629"/>
                    <a:pt x="8282" y="629"/>
                  </a:cubicBezTo>
                  <a:close/>
                  <a:moveTo>
                    <a:pt x="8282" y="0"/>
                  </a:moveTo>
                  <a:cubicBezTo>
                    <a:pt x="8134" y="0"/>
                    <a:pt x="8023" y="37"/>
                    <a:pt x="7875" y="37"/>
                  </a:cubicBezTo>
                  <a:lnTo>
                    <a:pt x="7801" y="74"/>
                  </a:lnTo>
                  <a:cubicBezTo>
                    <a:pt x="7801" y="74"/>
                    <a:pt x="6914" y="444"/>
                    <a:pt x="5731" y="961"/>
                  </a:cubicBezTo>
                  <a:cubicBezTo>
                    <a:pt x="4511" y="1479"/>
                    <a:pt x="2995" y="2107"/>
                    <a:pt x="1664" y="2625"/>
                  </a:cubicBezTo>
                  <a:cubicBezTo>
                    <a:pt x="1110" y="2847"/>
                    <a:pt x="703" y="3069"/>
                    <a:pt x="444" y="3291"/>
                  </a:cubicBezTo>
                  <a:cubicBezTo>
                    <a:pt x="148" y="3512"/>
                    <a:pt x="0" y="3808"/>
                    <a:pt x="0" y="4067"/>
                  </a:cubicBezTo>
                  <a:cubicBezTo>
                    <a:pt x="0" y="4289"/>
                    <a:pt x="74" y="4474"/>
                    <a:pt x="185" y="4622"/>
                  </a:cubicBezTo>
                  <a:cubicBezTo>
                    <a:pt x="370" y="4806"/>
                    <a:pt x="629" y="4954"/>
                    <a:pt x="888" y="5065"/>
                  </a:cubicBezTo>
                  <a:cubicBezTo>
                    <a:pt x="1147" y="5139"/>
                    <a:pt x="1405" y="5213"/>
                    <a:pt x="1701" y="5213"/>
                  </a:cubicBezTo>
                  <a:cubicBezTo>
                    <a:pt x="1997" y="5176"/>
                    <a:pt x="2441" y="5102"/>
                    <a:pt x="2995" y="4991"/>
                  </a:cubicBezTo>
                  <a:cubicBezTo>
                    <a:pt x="3845" y="4769"/>
                    <a:pt x="4918" y="4474"/>
                    <a:pt x="5916" y="4104"/>
                  </a:cubicBezTo>
                  <a:cubicBezTo>
                    <a:pt x="6914" y="3734"/>
                    <a:pt x="7838" y="3365"/>
                    <a:pt x="8467" y="2995"/>
                  </a:cubicBezTo>
                  <a:cubicBezTo>
                    <a:pt x="9206" y="2514"/>
                    <a:pt x="9613" y="1849"/>
                    <a:pt x="9613" y="1220"/>
                  </a:cubicBezTo>
                  <a:cubicBezTo>
                    <a:pt x="9613" y="887"/>
                    <a:pt x="9502" y="592"/>
                    <a:pt x="9243" y="370"/>
                  </a:cubicBezTo>
                  <a:cubicBezTo>
                    <a:pt x="9021" y="148"/>
                    <a:pt x="8689" y="0"/>
                    <a:pt x="8282"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4" name="Google Shape;1944;p37"/>
            <p:cNvSpPr/>
            <p:nvPr/>
          </p:nvSpPr>
          <p:spPr>
            <a:xfrm>
              <a:off x="6319825" y="3967450"/>
              <a:ext cx="358550" cy="155375"/>
            </a:xfrm>
            <a:custGeom>
              <a:avLst/>
              <a:gdLst/>
              <a:ahLst/>
              <a:cxnLst/>
              <a:rect l="l" t="t" r="r" b="b"/>
              <a:pathLst>
                <a:path w="14342" h="6215" extrusionOk="0">
                  <a:moveTo>
                    <a:pt x="12382" y="1"/>
                  </a:moveTo>
                  <a:cubicBezTo>
                    <a:pt x="12234" y="1"/>
                    <a:pt x="12075" y="14"/>
                    <a:pt x="11905" y="41"/>
                  </a:cubicBezTo>
                  <a:cubicBezTo>
                    <a:pt x="11905" y="41"/>
                    <a:pt x="7172" y="2111"/>
                    <a:pt x="3586" y="3516"/>
                  </a:cubicBezTo>
                  <a:cubicBezTo>
                    <a:pt x="0" y="4921"/>
                    <a:pt x="2034" y="6215"/>
                    <a:pt x="3438" y="6215"/>
                  </a:cubicBezTo>
                  <a:cubicBezTo>
                    <a:pt x="4880" y="6215"/>
                    <a:pt x="10389" y="4551"/>
                    <a:pt x="12422" y="3257"/>
                  </a:cubicBezTo>
                  <a:cubicBezTo>
                    <a:pt x="14341" y="2058"/>
                    <a:pt x="14259" y="1"/>
                    <a:pt x="12382"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5" name="Google Shape;1945;p37"/>
            <p:cNvSpPr/>
            <p:nvPr/>
          </p:nvSpPr>
          <p:spPr>
            <a:xfrm>
              <a:off x="6366950" y="3975850"/>
              <a:ext cx="291175" cy="139600"/>
            </a:xfrm>
            <a:custGeom>
              <a:avLst/>
              <a:gdLst/>
              <a:ahLst/>
              <a:cxnLst/>
              <a:rect l="l" t="t" r="r" b="b"/>
              <a:pathLst>
                <a:path w="11647" h="5584" extrusionOk="0">
                  <a:moveTo>
                    <a:pt x="10722" y="1"/>
                  </a:moveTo>
                  <a:cubicBezTo>
                    <a:pt x="10685" y="38"/>
                    <a:pt x="10648" y="38"/>
                    <a:pt x="10611" y="75"/>
                  </a:cubicBezTo>
                  <a:cubicBezTo>
                    <a:pt x="9724" y="629"/>
                    <a:pt x="8356" y="1221"/>
                    <a:pt x="6877" y="1738"/>
                  </a:cubicBezTo>
                  <a:cubicBezTo>
                    <a:pt x="5731" y="2145"/>
                    <a:pt x="4548" y="2515"/>
                    <a:pt x="3513" y="2773"/>
                  </a:cubicBezTo>
                  <a:cubicBezTo>
                    <a:pt x="2921" y="3032"/>
                    <a:pt x="2367" y="3254"/>
                    <a:pt x="1812" y="3476"/>
                  </a:cubicBezTo>
                  <a:cubicBezTo>
                    <a:pt x="1073" y="3772"/>
                    <a:pt x="629" y="4030"/>
                    <a:pt x="333" y="4252"/>
                  </a:cubicBezTo>
                  <a:cubicBezTo>
                    <a:pt x="75" y="4511"/>
                    <a:pt x="1" y="4696"/>
                    <a:pt x="1" y="4770"/>
                  </a:cubicBezTo>
                  <a:cubicBezTo>
                    <a:pt x="1" y="4881"/>
                    <a:pt x="38" y="4955"/>
                    <a:pt x="112" y="5029"/>
                  </a:cubicBezTo>
                  <a:cubicBezTo>
                    <a:pt x="185" y="5139"/>
                    <a:pt x="296" y="5213"/>
                    <a:pt x="444" y="5287"/>
                  </a:cubicBezTo>
                  <a:cubicBezTo>
                    <a:pt x="777" y="5472"/>
                    <a:pt x="1184" y="5583"/>
                    <a:pt x="1553" y="5583"/>
                  </a:cubicBezTo>
                  <a:lnTo>
                    <a:pt x="1590" y="5583"/>
                  </a:lnTo>
                  <a:cubicBezTo>
                    <a:pt x="1886" y="5583"/>
                    <a:pt x="2478" y="5472"/>
                    <a:pt x="3217" y="5287"/>
                  </a:cubicBezTo>
                  <a:cubicBezTo>
                    <a:pt x="3956" y="5139"/>
                    <a:pt x="4807" y="4881"/>
                    <a:pt x="5731" y="4585"/>
                  </a:cubicBezTo>
                  <a:cubicBezTo>
                    <a:pt x="7506" y="4030"/>
                    <a:pt x="9391" y="3291"/>
                    <a:pt x="10389" y="2662"/>
                  </a:cubicBezTo>
                  <a:cubicBezTo>
                    <a:pt x="11240" y="2108"/>
                    <a:pt x="11646" y="1405"/>
                    <a:pt x="11609" y="888"/>
                  </a:cubicBezTo>
                  <a:cubicBezTo>
                    <a:pt x="11609" y="629"/>
                    <a:pt x="11535" y="407"/>
                    <a:pt x="11351" y="259"/>
                  </a:cubicBezTo>
                  <a:cubicBezTo>
                    <a:pt x="11240" y="111"/>
                    <a:pt x="11018" y="38"/>
                    <a:pt x="10722" y="1"/>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6" name="Google Shape;1946;p37"/>
            <p:cNvSpPr/>
            <p:nvPr/>
          </p:nvSpPr>
          <p:spPr>
            <a:xfrm>
              <a:off x="6351250" y="3960150"/>
              <a:ext cx="321650" cy="170075"/>
            </a:xfrm>
            <a:custGeom>
              <a:avLst/>
              <a:gdLst/>
              <a:ahLst/>
              <a:cxnLst/>
              <a:rect l="l" t="t" r="r" b="b"/>
              <a:pathLst>
                <a:path w="12866" h="6803" extrusionOk="0">
                  <a:moveTo>
                    <a:pt x="11128" y="629"/>
                  </a:moveTo>
                  <a:cubicBezTo>
                    <a:pt x="11572" y="629"/>
                    <a:pt x="11831" y="739"/>
                    <a:pt x="11979" y="887"/>
                  </a:cubicBezTo>
                  <a:cubicBezTo>
                    <a:pt x="12163" y="1035"/>
                    <a:pt x="12237" y="1257"/>
                    <a:pt x="12237" y="1516"/>
                  </a:cubicBezTo>
                  <a:cubicBezTo>
                    <a:pt x="12274" y="2033"/>
                    <a:pt x="11868" y="2736"/>
                    <a:pt x="11017" y="3290"/>
                  </a:cubicBezTo>
                  <a:cubicBezTo>
                    <a:pt x="10019" y="3919"/>
                    <a:pt x="8134" y="4658"/>
                    <a:pt x="6359" y="5213"/>
                  </a:cubicBezTo>
                  <a:cubicBezTo>
                    <a:pt x="5435" y="5509"/>
                    <a:pt x="4584" y="5767"/>
                    <a:pt x="3845" y="5915"/>
                  </a:cubicBezTo>
                  <a:cubicBezTo>
                    <a:pt x="3106" y="6100"/>
                    <a:pt x="2477" y="6211"/>
                    <a:pt x="2181" y="6211"/>
                  </a:cubicBezTo>
                  <a:cubicBezTo>
                    <a:pt x="1849" y="6211"/>
                    <a:pt x="1405" y="6100"/>
                    <a:pt x="1072" y="5915"/>
                  </a:cubicBezTo>
                  <a:cubicBezTo>
                    <a:pt x="924" y="5841"/>
                    <a:pt x="813" y="5767"/>
                    <a:pt x="740" y="5657"/>
                  </a:cubicBezTo>
                  <a:cubicBezTo>
                    <a:pt x="666" y="5583"/>
                    <a:pt x="629" y="5509"/>
                    <a:pt x="629" y="5398"/>
                  </a:cubicBezTo>
                  <a:cubicBezTo>
                    <a:pt x="629" y="5324"/>
                    <a:pt x="703" y="5139"/>
                    <a:pt x="961" y="4880"/>
                  </a:cubicBezTo>
                  <a:cubicBezTo>
                    <a:pt x="1257" y="4658"/>
                    <a:pt x="1701" y="4400"/>
                    <a:pt x="2440" y="4104"/>
                  </a:cubicBezTo>
                  <a:cubicBezTo>
                    <a:pt x="5763" y="2802"/>
                    <a:pt x="10101" y="929"/>
                    <a:pt x="10721" y="661"/>
                  </a:cubicBezTo>
                  <a:lnTo>
                    <a:pt x="10721" y="661"/>
                  </a:lnTo>
                  <a:lnTo>
                    <a:pt x="10722" y="666"/>
                  </a:lnTo>
                  <a:cubicBezTo>
                    <a:pt x="10869" y="629"/>
                    <a:pt x="11017" y="629"/>
                    <a:pt x="11128" y="629"/>
                  </a:cubicBezTo>
                  <a:close/>
                  <a:moveTo>
                    <a:pt x="11128" y="0"/>
                  </a:moveTo>
                  <a:cubicBezTo>
                    <a:pt x="10980" y="0"/>
                    <a:pt x="10796" y="0"/>
                    <a:pt x="10611" y="37"/>
                  </a:cubicBezTo>
                  <a:lnTo>
                    <a:pt x="10537" y="74"/>
                  </a:lnTo>
                  <a:cubicBezTo>
                    <a:pt x="10537" y="74"/>
                    <a:pt x="10241" y="185"/>
                    <a:pt x="9723" y="407"/>
                  </a:cubicBezTo>
                  <a:cubicBezTo>
                    <a:pt x="8245" y="1035"/>
                    <a:pt x="4880" y="2477"/>
                    <a:pt x="2218" y="3512"/>
                  </a:cubicBezTo>
                  <a:cubicBezTo>
                    <a:pt x="1442" y="3808"/>
                    <a:pt x="924" y="4104"/>
                    <a:pt x="555" y="4437"/>
                  </a:cubicBezTo>
                  <a:cubicBezTo>
                    <a:pt x="222" y="4732"/>
                    <a:pt x="0" y="5065"/>
                    <a:pt x="0" y="5398"/>
                  </a:cubicBezTo>
                  <a:cubicBezTo>
                    <a:pt x="0" y="5657"/>
                    <a:pt x="111" y="5878"/>
                    <a:pt x="259" y="6063"/>
                  </a:cubicBezTo>
                  <a:cubicBezTo>
                    <a:pt x="481" y="6322"/>
                    <a:pt x="777" y="6507"/>
                    <a:pt x="1146" y="6618"/>
                  </a:cubicBezTo>
                  <a:cubicBezTo>
                    <a:pt x="1479" y="6729"/>
                    <a:pt x="1849" y="6803"/>
                    <a:pt x="2181" y="6803"/>
                  </a:cubicBezTo>
                  <a:cubicBezTo>
                    <a:pt x="2588" y="6803"/>
                    <a:pt x="3217" y="6692"/>
                    <a:pt x="3956" y="6507"/>
                  </a:cubicBezTo>
                  <a:cubicBezTo>
                    <a:pt x="5102" y="6248"/>
                    <a:pt x="6544" y="5841"/>
                    <a:pt x="7912" y="5324"/>
                  </a:cubicBezTo>
                  <a:cubicBezTo>
                    <a:pt x="9243" y="4843"/>
                    <a:pt x="10537" y="4326"/>
                    <a:pt x="11350" y="3808"/>
                  </a:cubicBezTo>
                  <a:cubicBezTo>
                    <a:pt x="12348" y="3180"/>
                    <a:pt x="12866" y="2329"/>
                    <a:pt x="12866" y="1516"/>
                  </a:cubicBezTo>
                  <a:cubicBezTo>
                    <a:pt x="12866" y="1109"/>
                    <a:pt x="12718" y="703"/>
                    <a:pt x="12422" y="444"/>
                  </a:cubicBezTo>
                  <a:cubicBezTo>
                    <a:pt x="12090" y="148"/>
                    <a:pt x="11683" y="0"/>
                    <a:pt x="11128"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7" name="Google Shape;1947;p37"/>
            <p:cNvSpPr/>
            <p:nvPr/>
          </p:nvSpPr>
          <p:spPr>
            <a:xfrm>
              <a:off x="6287475" y="3882150"/>
              <a:ext cx="392175" cy="169525"/>
            </a:xfrm>
            <a:custGeom>
              <a:avLst/>
              <a:gdLst/>
              <a:ahLst/>
              <a:cxnLst/>
              <a:rect l="l" t="t" r="r" b="b"/>
              <a:pathLst>
                <a:path w="15687" h="6781" extrusionOk="0">
                  <a:moveTo>
                    <a:pt x="13608" y="0"/>
                  </a:moveTo>
                  <a:cubicBezTo>
                    <a:pt x="13436" y="0"/>
                    <a:pt x="13251" y="17"/>
                    <a:pt x="13051" y="51"/>
                  </a:cubicBezTo>
                  <a:cubicBezTo>
                    <a:pt x="13051" y="51"/>
                    <a:pt x="7875" y="2307"/>
                    <a:pt x="3919" y="3823"/>
                  </a:cubicBezTo>
                  <a:cubicBezTo>
                    <a:pt x="0" y="5375"/>
                    <a:pt x="2255" y="6780"/>
                    <a:pt x="3808" y="6780"/>
                  </a:cubicBezTo>
                  <a:cubicBezTo>
                    <a:pt x="5324" y="6780"/>
                    <a:pt x="11387" y="4969"/>
                    <a:pt x="13642" y="3564"/>
                  </a:cubicBezTo>
                  <a:cubicBezTo>
                    <a:pt x="15687" y="2269"/>
                    <a:pt x="15627" y="0"/>
                    <a:pt x="13608"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8" name="Google Shape;1948;p37"/>
            <p:cNvSpPr/>
            <p:nvPr/>
          </p:nvSpPr>
          <p:spPr>
            <a:xfrm>
              <a:off x="6338300" y="3891750"/>
              <a:ext cx="320750" cy="152525"/>
            </a:xfrm>
            <a:custGeom>
              <a:avLst/>
              <a:gdLst/>
              <a:ahLst/>
              <a:cxnLst/>
              <a:rect l="l" t="t" r="r" b="b"/>
              <a:pathLst>
                <a:path w="12830" h="6101" extrusionOk="0">
                  <a:moveTo>
                    <a:pt x="12090" y="0"/>
                  </a:moveTo>
                  <a:cubicBezTo>
                    <a:pt x="12053" y="0"/>
                    <a:pt x="12016" y="37"/>
                    <a:pt x="12016" y="37"/>
                  </a:cubicBezTo>
                  <a:cubicBezTo>
                    <a:pt x="10278" y="1109"/>
                    <a:pt x="6286" y="2440"/>
                    <a:pt x="3845" y="2995"/>
                  </a:cubicBezTo>
                  <a:cubicBezTo>
                    <a:pt x="3217" y="3254"/>
                    <a:pt x="2625" y="3512"/>
                    <a:pt x="2034" y="3734"/>
                  </a:cubicBezTo>
                  <a:cubicBezTo>
                    <a:pt x="1221" y="4067"/>
                    <a:pt x="703" y="4363"/>
                    <a:pt x="407" y="4622"/>
                  </a:cubicBezTo>
                  <a:cubicBezTo>
                    <a:pt x="74" y="4880"/>
                    <a:pt x="1" y="5065"/>
                    <a:pt x="1" y="5213"/>
                  </a:cubicBezTo>
                  <a:cubicBezTo>
                    <a:pt x="1" y="5287"/>
                    <a:pt x="38" y="5398"/>
                    <a:pt x="148" y="5509"/>
                  </a:cubicBezTo>
                  <a:cubicBezTo>
                    <a:pt x="222" y="5583"/>
                    <a:pt x="370" y="5694"/>
                    <a:pt x="555" y="5805"/>
                  </a:cubicBezTo>
                  <a:cubicBezTo>
                    <a:pt x="888" y="5989"/>
                    <a:pt x="1368" y="6100"/>
                    <a:pt x="1738" y="6100"/>
                  </a:cubicBezTo>
                  <a:lnTo>
                    <a:pt x="1775" y="6100"/>
                  </a:lnTo>
                  <a:cubicBezTo>
                    <a:pt x="2108" y="6100"/>
                    <a:pt x="2773" y="5989"/>
                    <a:pt x="3550" y="5805"/>
                  </a:cubicBezTo>
                  <a:cubicBezTo>
                    <a:pt x="4363" y="5620"/>
                    <a:pt x="5324" y="5324"/>
                    <a:pt x="6323" y="5028"/>
                  </a:cubicBezTo>
                  <a:cubicBezTo>
                    <a:pt x="8282" y="4400"/>
                    <a:pt x="10352" y="3586"/>
                    <a:pt x="11424" y="2921"/>
                  </a:cubicBezTo>
                  <a:cubicBezTo>
                    <a:pt x="12386" y="2329"/>
                    <a:pt x="12829" y="1516"/>
                    <a:pt x="12792" y="925"/>
                  </a:cubicBezTo>
                  <a:cubicBezTo>
                    <a:pt x="12792" y="629"/>
                    <a:pt x="12718" y="407"/>
                    <a:pt x="12534" y="222"/>
                  </a:cubicBezTo>
                  <a:cubicBezTo>
                    <a:pt x="12423" y="111"/>
                    <a:pt x="12275" y="37"/>
                    <a:pt x="12090" y="0"/>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49" name="Google Shape;1949;p37"/>
            <p:cNvSpPr/>
            <p:nvPr/>
          </p:nvSpPr>
          <p:spPr>
            <a:xfrm>
              <a:off x="6323525" y="3874175"/>
              <a:ext cx="350300" cy="184875"/>
            </a:xfrm>
            <a:custGeom>
              <a:avLst/>
              <a:gdLst/>
              <a:ahLst/>
              <a:cxnLst/>
              <a:rect l="l" t="t" r="r" b="b"/>
              <a:pathLst>
                <a:path w="14012" h="7395" extrusionOk="0">
                  <a:moveTo>
                    <a:pt x="12163" y="629"/>
                  </a:moveTo>
                  <a:cubicBezTo>
                    <a:pt x="12607" y="629"/>
                    <a:pt x="12903" y="740"/>
                    <a:pt x="13125" y="925"/>
                  </a:cubicBezTo>
                  <a:cubicBezTo>
                    <a:pt x="13309" y="1110"/>
                    <a:pt x="13383" y="1332"/>
                    <a:pt x="13383" y="1628"/>
                  </a:cubicBezTo>
                  <a:cubicBezTo>
                    <a:pt x="13420" y="2219"/>
                    <a:pt x="12977" y="3032"/>
                    <a:pt x="12015" y="3624"/>
                  </a:cubicBezTo>
                  <a:cubicBezTo>
                    <a:pt x="10943" y="4289"/>
                    <a:pt x="8873" y="5103"/>
                    <a:pt x="6914" y="5731"/>
                  </a:cubicBezTo>
                  <a:cubicBezTo>
                    <a:pt x="5915" y="6027"/>
                    <a:pt x="4954" y="6323"/>
                    <a:pt x="4141" y="6508"/>
                  </a:cubicBezTo>
                  <a:cubicBezTo>
                    <a:pt x="3364" y="6692"/>
                    <a:pt x="2699" y="6803"/>
                    <a:pt x="2366" y="6803"/>
                  </a:cubicBezTo>
                  <a:cubicBezTo>
                    <a:pt x="1959" y="6803"/>
                    <a:pt x="1479" y="6692"/>
                    <a:pt x="1146" y="6508"/>
                  </a:cubicBezTo>
                  <a:cubicBezTo>
                    <a:pt x="961" y="6397"/>
                    <a:pt x="813" y="6286"/>
                    <a:pt x="739" y="6212"/>
                  </a:cubicBezTo>
                  <a:cubicBezTo>
                    <a:pt x="629" y="6101"/>
                    <a:pt x="592" y="5990"/>
                    <a:pt x="592" y="5916"/>
                  </a:cubicBezTo>
                  <a:cubicBezTo>
                    <a:pt x="592" y="5768"/>
                    <a:pt x="665" y="5583"/>
                    <a:pt x="998" y="5325"/>
                  </a:cubicBezTo>
                  <a:cubicBezTo>
                    <a:pt x="1294" y="5066"/>
                    <a:pt x="1812" y="4770"/>
                    <a:pt x="2625" y="4437"/>
                  </a:cubicBezTo>
                  <a:cubicBezTo>
                    <a:pt x="6268" y="2994"/>
                    <a:pt x="11030" y="943"/>
                    <a:pt x="11682" y="662"/>
                  </a:cubicBezTo>
                  <a:lnTo>
                    <a:pt x="11682" y="662"/>
                  </a:lnTo>
                  <a:lnTo>
                    <a:pt x="11683" y="666"/>
                  </a:lnTo>
                  <a:cubicBezTo>
                    <a:pt x="11831" y="629"/>
                    <a:pt x="12015" y="629"/>
                    <a:pt x="12163" y="629"/>
                  </a:cubicBezTo>
                  <a:close/>
                  <a:moveTo>
                    <a:pt x="12163" y="1"/>
                  </a:moveTo>
                  <a:cubicBezTo>
                    <a:pt x="11978" y="1"/>
                    <a:pt x="11794" y="38"/>
                    <a:pt x="11572" y="75"/>
                  </a:cubicBezTo>
                  <a:lnTo>
                    <a:pt x="11498" y="75"/>
                  </a:lnTo>
                  <a:cubicBezTo>
                    <a:pt x="11498" y="75"/>
                    <a:pt x="11165" y="223"/>
                    <a:pt x="10611" y="444"/>
                  </a:cubicBezTo>
                  <a:cubicBezTo>
                    <a:pt x="8984" y="1147"/>
                    <a:pt x="5324" y="2700"/>
                    <a:pt x="2366" y="3883"/>
                  </a:cubicBezTo>
                  <a:cubicBezTo>
                    <a:pt x="1553" y="4178"/>
                    <a:pt x="961" y="4511"/>
                    <a:pt x="592" y="4844"/>
                  </a:cubicBezTo>
                  <a:cubicBezTo>
                    <a:pt x="222" y="5177"/>
                    <a:pt x="0" y="5546"/>
                    <a:pt x="0" y="5916"/>
                  </a:cubicBezTo>
                  <a:cubicBezTo>
                    <a:pt x="0" y="6175"/>
                    <a:pt x="111" y="6397"/>
                    <a:pt x="259" y="6582"/>
                  </a:cubicBezTo>
                  <a:cubicBezTo>
                    <a:pt x="481" y="6877"/>
                    <a:pt x="813" y="7062"/>
                    <a:pt x="1183" y="7210"/>
                  </a:cubicBezTo>
                  <a:cubicBezTo>
                    <a:pt x="1553" y="7321"/>
                    <a:pt x="1959" y="7395"/>
                    <a:pt x="2366" y="7395"/>
                  </a:cubicBezTo>
                  <a:cubicBezTo>
                    <a:pt x="2810" y="7395"/>
                    <a:pt x="3475" y="7284"/>
                    <a:pt x="4289" y="7099"/>
                  </a:cubicBezTo>
                  <a:cubicBezTo>
                    <a:pt x="5546" y="6803"/>
                    <a:pt x="7098" y="6323"/>
                    <a:pt x="8614" y="5805"/>
                  </a:cubicBezTo>
                  <a:cubicBezTo>
                    <a:pt x="10093" y="5288"/>
                    <a:pt x="11461" y="4696"/>
                    <a:pt x="12348" y="4142"/>
                  </a:cubicBezTo>
                  <a:cubicBezTo>
                    <a:pt x="13420" y="3439"/>
                    <a:pt x="14012" y="2515"/>
                    <a:pt x="14012" y="1628"/>
                  </a:cubicBezTo>
                  <a:cubicBezTo>
                    <a:pt x="14012" y="1184"/>
                    <a:pt x="13864" y="777"/>
                    <a:pt x="13531" y="481"/>
                  </a:cubicBezTo>
                  <a:cubicBezTo>
                    <a:pt x="13199" y="186"/>
                    <a:pt x="12718" y="1"/>
                    <a:pt x="121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0" name="Google Shape;1950;p37"/>
            <p:cNvSpPr/>
            <p:nvPr/>
          </p:nvSpPr>
          <p:spPr>
            <a:xfrm>
              <a:off x="6297625" y="3803775"/>
              <a:ext cx="392475" cy="169325"/>
            </a:xfrm>
            <a:custGeom>
              <a:avLst/>
              <a:gdLst/>
              <a:ahLst/>
              <a:cxnLst/>
              <a:rect l="l" t="t" r="r" b="b"/>
              <a:pathLst>
                <a:path w="15699" h="6773" extrusionOk="0">
                  <a:moveTo>
                    <a:pt x="13576" y="0"/>
                  </a:moveTo>
                  <a:cubicBezTo>
                    <a:pt x="13413" y="0"/>
                    <a:pt x="13239" y="14"/>
                    <a:pt x="13051" y="44"/>
                  </a:cubicBezTo>
                  <a:cubicBezTo>
                    <a:pt x="13051" y="44"/>
                    <a:pt x="7876" y="2299"/>
                    <a:pt x="3957" y="3852"/>
                  </a:cubicBezTo>
                  <a:cubicBezTo>
                    <a:pt x="1" y="5368"/>
                    <a:pt x="2256" y="6773"/>
                    <a:pt x="3809" y="6773"/>
                  </a:cubicBezTo>
                  <a:cubicBezTo>
                    <a:pt x="5362" y="6773"/>
                    <a:pt x="11388" y="4961"/>
                    <a:pt x="13643" y="3556"/>
                  </a:cubicBezTo>
                  <a:cubicBezTo>
                    <a:pt x="15699" y="2254"/>
                    <a:pt x="15627" y="0"/>
                    <a:pt x="13576"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1" name="Google Shape;1951;p37"/>
            <p:cNvSpPr/>
            <p:nvPr/>
          </p:nvSpPr>
          <p:spPr>
            <a:xfrm>
              <a:off x="6341075" y="3803950"/>
              <a:ext cx="335525" cy="169150"/>
            </a:xfrm>
            <a:custGeom>
              <a:avLst/>
              <a:gdLst/>
              <a:ahLst/>
              <a:cxnLst/>
              <a:rect l="l" t="t" r="r" b="b"/>
              <a:pathLst>
                <a:path w="13421" h="6766" extrusionOk="0">
                  <a:moveTo>
                    <a:pt x="11868" y="0"/>
                  </a:moveTo>
                  <a:cubicBezTo>
                    <a:pt x="11683" y="0"/>
                    <a:pt x="11535" y="0"/>
                    <a:pt x="11313" y="37"/>
                  </a:cubicBezTo>
                  <a:cubicBezTo>
                    <a:pt x="11313" y="37"/>
                    <a:pt x="6138" y="2292"/>
                    <a:pt x="2219" y="3845"/>
                  </a:cubicBezTo>
                  <a:cubicBezTo>
                    <a:pt x="592" y="4473"/>
                    <a:pt x="0" y="5065"/>
                    <a:pt x="0" y="5583"/>
                  </a:cubicBezTo>
                  <a:cubicBezTo>
                    <a:pt x="0" y="6285"/>
                    <a:pt x="1147" y="6766"/>
                    <a:pt x="2071" y="6766"/>
                  </a:cubicBezTo>
                  <a:cubicBezTo>
                    <a:pt x="3624" y="6766"/>
                    <a:pt x="9650" y="4954"/>
                    <a:pt x="11905" y="3549"/>
                  </a:cubicBezTo>
                  <a:cubicBezTo>
                    <a:pt x="11905" y="3549"/>
                    <a:pt x="11942" y="3512"/>
                    <a:pt x="11979" y="3512"/>
                  </a:cubicBezTo>
                  <a:cubicBezTo>
                    <a:pt x="12164" y="3364"/>
                    <a:pt x="12349" y="3216"/>
                    <a:pt x="12533" y="3069"/>
                  </a:cubicBezTo>
                  <a:cubicBezTo>
                    <a:pt x="13125" y="2514"/>
                    <a:pt x="13421" y="1886"/>
                    <a:pt x="13421" y="1331"/>
                  </a:cubicBezTo>
                  <a:cubicBezTo>
                    <a:pt x="13421" y="592"/>
                    <a:pt x="12903" y="0"/>
                    <a:pt x="11868" y="0"/>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2" name="Google Shape;1952;p37"/>
            <p:cNvSpPr/>
            <p:nvPr/>
          </p:nvSpPr>
          <p:spPr>
            <a:xfrm>
              <a:off x="6333675" y="3795625"/>
              <a:ext cx="350325" cy="185800"/>
            </a:xfrm>
            <a:custGeom>
              <a:avLst/>
              <a:gdLst/>
              <a:ahLst/>
              <a:cxnLst/>
              <a:rect l="l" t="t" r="r" b="b"/>
              <a:pathLst>
                <a:path w="14013" h="7432" extrusionOk="0">
                  <a:moveTo>
                    <a:pt x="12164" y="629"/>
                  </a:moveTo>
                  <a:cubicBezTo>
                    <a:pt x="12608" y="629"/>
                    <a:pt x="12903" y="777"/>
                    <a:pt x="13125" y="925"/>
                  </a:cubicBezTo>
                  <a:cubicBezTo>
                    <a:pt x="13310" y="1109"/>
                    <a:pt x="13384" y="1331"/>
                    <a:pt x="13421" y="1664"/>
                  </a:cubicBezTo>
                  <a:cubicBezTo>
                    <a:pt x="13421" y="2219"/>
                    <a:pt x="12977" y="3032"/>
                    <a:pt x="12016" y="3623"/>
                  </a:cubicBezTo>
                  <a:cubicBezTo>
                    <a:pt x="10944" y="4289"/>
                    <a:pt x="8874" y="5102"/>
                    <a:pt x="6914" y="5731"/>
                  </a:cubicBezTo>
                  <a:cubicBezTo>
                    <a:pt x="5916" y="6027"/>
                    <a:pt x="4955" y="6322"/>
                    <a:pt x="4141" y="6507"/>
                  </a:cubicBezTo>
                  <a:cubicBezTo>
                    <a:pt x="3365" y="6692"/>
                    <a:pt x="2700" y="6803"/>
                    <a:pt x="2367" y="6803"/>
                  </a:cubicBezTo>
                  <a:cubicBezTo>
                    <a:pt x="1960" y="6803"/>
                    <a:pt x="1480" y="6692"/>
                    <a:pt x="1147" y="6507"/>
                  </a:cubicBezTo>
                  <a:cubicBezTo>
                    <a:pt x="962" y="6433"/>
                    <a:pt x="814" y="6322"/>
                    <a:pt x="740" y="6211"/>
                  </a:cubicBezTo>
                  <a:cubicBezTo>
                    <a:pt x="629" y="6100"/>
                    <a:pt x="592" y="6027"/>
                    <a:pt x="592" y="5916"/>
                  </a:cubicBezTo>
                  <a:cubicBezTo>
                    <a:pt x="592" y="5805"/>
                    <a:pt x="666" y="5583"/>
                    <a:pt x="999" y="5324"/>
                  </a:cubicBezTo>
                  <a:cubicBezTo>
                    <a:pt x="1295" y="5065"/>
                    <a:pt x="1812" y="4770"/>
                    <a:pt x="2626" y="4437"/>
                  </a:cubicBezTo>
                  <a:cubicBezTo>
                    <a:pt x="6544" y="2884"/>
                    <a:pt x="11757" y="666"/>
                    <a:pt x="11757" y="666"/>
                  </a:cubicBezTo>
                  <a:lnTo>
                    <a:pt x="11751" y="654"/>
                  </a:lnTo>
                  <a:lnTo>
                    <a:pt x="11751" y="654"/>
                  </a:lnTo>
                  <a:cubicBezTo>
                    <a:pt x="11905" y="629"/>
                    <a:pt x="12035" y="629"/>
                    <a:pt x="12164" y="629"/>
                  </a:cubicBezTo>
                  <a:close/>
                  <a:moveTo>
                    <a:pt x="12164" y="0"/>
                  </a:moveTo>
                  <a:cubicBezTo>
                    <a:pt x="11979" y="0"/>
                    <a:pt x="11794" y="37"/>
                    <a:pt x="11572" y="74"/>
                  </a:cubicBezTo>
                  <a:lnTo>
                    <a:pt x="11499" y="74"/>
                  </a:lnTo>
                  <a:cubicBezTo>
                    <a:pt x="11499" y="74"/>
                    <a:pt x="11166" y="222"/>
                    <a:pt x="10648" y="481"/>
                  </a:cubicBezTo>
                  <a:cubicBezTo>
                    <a:pt x="8985" y="1183"/>
                    <a:pt x="5324" y="2736"/>
                    <a:pt x="2367" y="3882"/>
                  </a:cubicBezTo>
                  <a:cubicBezTo>
                    <a:pt x="1553" y="4215"/>
                    <a:pt x="962" y="4511"/>
                    <a:pt x="592" y="4843"/>
                  </a:cubicBezTo>
                  <a:cubicBezTo>
                    <a:pt x="223" y="5176"/>
                    <a:pt x="1" y="5546"/>
                    <a:pt x="1" y="5916"/>
                  </a:cubicBezTo>
                  <a:cubicBezTo>
                    <a:pt x="1" y="6174"/>
                    <a:pt x="112" y="6433"/>
                    <a:pt x="259" y="6618"/>
                  </a:cubicBezTo>
                  <a:cubicBezTo>
                    <a:pt x="481" y="6877"/>
                    <a:pt x="851" y="7062"/>
                    <a:pt x="1184" y="7210"/>
                  </a:cubicBezTo>
                  <a:cubicBezTo>
                    <a:pt x="1553" y="7357"/>
                    <a:pt x="1960" y="7431"/>
                    <a:pt x="2367" y="7431"/>
                  </a:cubicBezTo>
                  <a:cubicBezTo>
                    <a:pt x="2810" y="7431"/>
                    <a:pt x="3476" y="7284"/>
                    <a:pt x="4289" y="7099"/>
                  </a:cubicBezTo>
                  <a:cubicBezTo>
                    <a:pt x="5546" y="6803"/>
                    <a:pt x="7099" y="6359"/>
                    <a:pt x="8615" y="5805"/>
                  </a:cubicBezTo>
                  <a:cubicBezTo>
                    <a:pt x="10094" y="5287"/>
                    <a:pt x="11462" y="4696"/>
                    <a:pt x="12349" y="4141"/>
                  </a:cubicBezTo>
                  <a:cubicBezTo>
                    <a:pt x="13458" y="3476"/>
                    <a:pt x="14013" y="2514"/>
                    <a:pt x="14013" y="1664"/>
                  </a:cubicBezTo>
                  <a:cubicBezTo>
                    <a:pt x="14013" y="1220"/>
                    <a:pt x="13865" y="777"/>
                    <a:pt x="13532" y="481"/>
                  </a:cubicBezTo>
                  <a:cubicBezTo>
                    <a:pt x="13199" y="185"/>
                    <a:pt x="12719" y="0"/>
                    <a:pt x="12164"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3" name="Google Shape;1953;p37"/>
            <p:cNvSpPr/>
            <p:nvPr/>
          </p:nvSpPr>
          <p:spPr>
            <a:xfrm>
              <a:off x="4942650" y="1866675"/>
              <a:ext cx="849425" cy="1047800"/>
            </a:xfrm>
            <a:custGeom>
              <a:avLst/>
              <a:gdLst/>
              <a:ahLst/>
              <a:cxnLst/>
              <a:rect l="l" t="t" r="r" b="b"/>
              <a:pathLst>
                <a:path w="33977" h="41912" extrusionOk="0">
                  <a:moveTo>
                    <a:pt x="14309" y="0"/>
                  </a:moveTo>
                  <a:cubicBezTo>
                    <a:pt x="14309" y="0"/>
                    <a:pt x="4216" y="6470"/>
                    <a:pt x="2108" y="8984"/>
                  </a:cubicBezTo>
                  <a:cubicBezTo>
                    <a:pt x="1" y="11535"/>
                    <a:pt x="962" y="16859"/>
                    <a:pt x="1110" y="18560"/>
                  </a:cubicBezTo>
                  <a:cubicBezTo>
                    <a:pt x="1258" y="20223"/>
                    <a:pt x="1406" y="31462"/>
                    <a:pt x="2367" y="33274"/>
                  </a:cubicBezTo>
                  <a:cubicBezTo>
                    <a:pt x="3333" y="35063"/>
                    <a:pt x="6205" y="41911"/>
                    <a:pt x="15275" y="41911"/>
                  </a:cubicBezTo>
                  <a:cubicBezTo>
                    <a:pt x="15575" y="41911"/>
                    <a:pt x="15881" y="41904"/>
                    <a:pt x="16194" y="41888"/>
                  </a:cubicBezTo>
                  <a:cubicBezTo>
                    <a:pt x="23255" y="41592"/>
                    <a:pt x="26805" y="35825"/>
                    <a:pt x="28210" y="32165"/>
                  </a:cubicBezTo>
                  <a:cubicBezTo>
                    <a:pt x="29614" y="28505"/>
                    <a:pt x="29910" y="24290"/>
                    <a:pt x="29910" y="24290"/>
                  </a:cubicBezTo>
                  <a:cubicBezTo>
                    <a:pt x="29910" y="24290"/>
                    <a:pt x="33977" y="23588"/>
                    <a:pt x="33977" y="20223"/>
                  </a:cubicBezTo>
                  <a:cubicBezTo>
                    <a:pt x="33977" y="17022"/>
                    <a:pt x="33173" y="13318"/>
                    <a:pt x="31439" y="13318"/>
                  </a:cubicBezTo>
                  <a:cubicBezTo>
                    <a:pt x="31351" y="13318"/>
                    <a:pt x="31260" y="13327"/>
                    <a:pt x="31167" y="13347"/>
                  </a:cubicBezTo>
                  <a:cubicBezTo>
                    <a:pt x="30206" y="13569"/>
                    <a:pt x="28912" y="15750"/>
                    <a:pt x="28912" y="15750"/>
                  </a:cubicBezTo>
                  <a:cubicBezTo>
                    <a:pt x="28912" y="15750"/>
                    <a:pt x="23588" y="12238"/>
                    <a:pt x="19078" y="7025"/>
                  </a:cubicBezTo>
                  <a:cubicBezTo>
                    <a:pt x="14604" y="1812"/>
                    <a:pt x="14309" y="0"/>
                    <a:pt x="14309" y="0"/>
                  </a:cubicBezTo>
                  <a:close/>
                </a:path>
              </a:pathLst>
            </a:custGeom>
            <a:solidFill>
              <a:srgbClr val="ADADAD"/>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4" name="Google Shape;1954;p37"/>
            <p:cNvSpPr/>
            <p:nvPr/>
          </p:nvSpPr>
          <p:spPr>
            <a:xfrm>
              <a:off x="4970400" y="1866675"/>
              <a:ext cx="695050" cy="401125"/>
            </a:xfrm>
            <a:custGeom>
              <a:avLst/>
              <a:gdLst/>
              <a:ahLst/>
              <a:cxnLst/>
              <a:rect l="l" t="t" r="r" b="b"/>
              <a:pathLst>
                <a:path w="27802" h="16045" extrusionOk="0">
                  <a:moveTo>
                    <a:pt x="13199" y="0"/>
                  </a:moveTo>
                  <a:cubicBezTo>
                    <a:pt x="13199" y="0"/>
                    <a:pt x="3106" y="6470"/>
                    <a:pt x="998" y="8984"/>
                  </a:cubicBezTo>
                  <a:cubicBezTo>
                    <a:pt x="518" y="9576"/>
                    <a:pt x="185" y="10278"/>
                    <a:pt x="0" y="11055"/>
                  </a:cubicBezTo>
                  <a:lnTo>
                    <a:pt x="12570" y="5842"/>
                  </a:lnTo>
                  <a:cubicBezTo>
                    <a:pt x="12570" y="5842"/>
                    <a:pt x="20307" y="16045"/>
                    <a:pt x="26183" y="16045"/>
                  </a:cubicBezTo>
                  <a:cubicBezTo>
                    <a:pt x="26742" y="16045"/>
                    <a:pt x="27285" y="15952"/>
                    <a:pt x="27802" y="15750"/>
                  </a:cubicBezTo>
                  <a:cubicBezTo>
                    <a:pt x="27802" y="15750"/>
                    <a:pt x="22478" y="12238"/>
                    <a:pt x="17968" y="7025"/>
                  </a:cubicBezTo>
                  <a:cubicBezTo>
                    <a:pt x="13494" y="1812"/>
                    <a:pt x="13199" y="0"/>
                    <a:pt x="13199"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5" name="Google Shape;1955;p37"/>
            <p:cNvSpPr/>
            <p:nvPr/>
          </p:nvSpPr>
          <p:spPr>
            <a:xfrm>
              <a:off x="4968550" y="2285850"/>
              <a:ext cx="823525" cy="628625"/>
            </a:xfrm>
            <a:custGeom>
              <a:avLst/>
              <a:gdLst/>
              <a:ahLst/>
              <a:cxnLst/>
              <a:rect l="l" t="t" r="r" b="b"/>
              <a:pathLst>
                <a:path w="32941" h="25145" extrusionOk="0">
                  <a:moveTo>
                    <a:pt x="3235" y="0"/>
                  </a:moveTo>
                  <a:cubicBezTo>
                    <a:pt x="3026" y="0"/>
                    <a:pt x="2810" y="6"/>
                    <a:pt x="2588" y="18"/>
                  </a:cubicBezTo>
                  <a:cubicBezTo>
                    <a:pt x="1479" y="92"/>
                    <a:pt x="666" y="536"/>
                    <a:pt x="0" y="1090"/>
                  </a:cubicBezTo>
                  <a:cubicBezTo>
                    <a:pt x="37" y="1349"/>
                    <a:pt x="74" y="1608"/>
                    <a:pt x="74" y="1793"/>
                  </a:cubicBezTo>
                  <a:cubicBezTo>
                    <a:pt x="222" y="3456"/>
                    <a:pt x="370" y="14695"/>
                    <a:pt x="1331" y="16507"/>
                  </a:cubicBezTo>
                  <a:cubicBezTo>
                    <a:pt x="2297" y="18296"/>
                    <a:pt x="5169" y="25144"/>
                    <a:pt x="14239" y="25144"/>
                  </a:cubicBezTo>
                  <a:cubicBezTo>
                    <a:pt x="14539" y="25144"/>
                    <a:pt x="14845" y="25137"/>
                    <a:pt x="15158" y="25121"/>
                  </a:cubicBezTo>
                  <a:cubicBezTo>
                    <a:pt x="22219" y="24825"/>
                    <a:pt x="25769" y="19058"/>
                    <a:pt x="27174" y="15398"/>
                  </a:cubicBezTo>
                  <a:cubicBezTo>
                    <a:pt x="28578" y="11738"/>
                    <a:pt x="28874" y="7523"/>
                    <a:pt x="28874" y="7523"/>
                  </a:cubicBezTo>
                  <a:cubicBezTo>
                    <a:pt x="28874" y="7523"/>
                    <a:pt x="32941" y="6821"/>
                    <a:pt x="32941" y="3456"/>
                  </a:cubicBezTo>
                  <a:cubicBezTo>
                    <a:pt x="32941" y="2791"/>
                    <a:pt x="32904" y="2088"/>
                    <a:pt x="32830" y="1386"/>
                  </a:cubicBezTo>
                  <a:cubicBezTo>
                    <a:pt x="32719" y="2458"/>
                    <a:pt x="32497" y="3641"/>
                    <a:pt x="32054" y="4602"/>
                  </a:cubicBezTo>
                  <a:cubicBezTo>
                    <a:pt x="31225" y="6421"/>
                    <a:pt x="29447" y="6673"/>
                    <a:pt x="28528" y="6673"/>
                  </a:cubicBezTo>
                  <a:cubicBezTo>
                    <a:pt x="28176" y="6673"/>
                    <a:pt x="27950" y="6636"/>
                    <a:pt x="27950" y="6636"/>
                  </a:cubicBezTo>
                  <a:cubicBezTo>
                    <a:pt x="27950" y="6636"/>
                    <a:pt x="26101" y="16248"/>
                    <a:pt x="23587" y="19206"/>
                  </a:cubicBezTo>
                  <a:cubicBezTo>
                    <a:pt x="21937" y="21148"/>
                    <a:pt x="18421" y="22899"/>
                    <a:pt x="14265" y="22899"/>
                  </a:cubicBezTo>
                  <a:cubicBezTo>
                    <a:pt x="12091" y="22899"/>
                    <a:pt x="9743" y="22420"/>
                    <a:pt x="7394" y="21239"/>
                  </a:cubicBezTo>
                  <a:cubicBezTo>
                    <a:pt x="555" y="17838"/>
                    <a:pt x="1479" y="9409"/>
                    <a:pt x="1479" y="9409"/>
                  </a:cubicBezTo>
                  <a:cubicBezTo>
                    <a:pt x="1479" y="9409"/>
                    <a:pt x="5583" y="9409"/>
                    <a:pt x="7172" y="5527"/>
                  </a:cubicBezTo>
                  <a:cubicBezTo>
                    <a:pt x="8677" y="1853"/>
                    <a:pt x="6936" y="0"/>
                    <a:pt x="3235"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6" name="Google Shape;1956;p37"/>
            <p:cNvSpPr/>
            <p:nvPr/>
          </p:nvSpPr>
          <p:spPr>
            <a:xfrm>
              <a:off x="4968550" y="2286300"/>
              <a:ext cx="823525" cy="628525"/>
            </a:xfrm>
            <a:custGeom>
              <a:avLst/>
              <a:gdLst/>
              <a:ahLst/>
              <a:cxnLst/>
              <a:rect l="l" t="t" r="r" b="b"/>
              <a:pathLst>
                <a:path w="32941" h="25141" extrusionOk="0">
                  <a:moveTo>
                    <a:pt x="2588" y="0"/>
                  </a:moveTo>
                  <a:cubicBezTo>
                    <a:pt x="1479" y="74"/>
                    <a:pt x="666" y="518"/>
                    <a:pt x="0" y="1072"/>
                  </a:cubicBezTo>
                  <a:cubicBezTo>
                    <a:pt x="37" y="1331"/>
                    <a:pt x="74" y="1553"/>
                    <a:pt x="74" y="1775"/>
                  </a:cubicBezTo>
                  <a:cubicBezTo>
                    <a:pt x="222" y="3401"/>
                    <a:pt x="370" y="14197"/>
                    <a:pt x="1294" y="16378"/>
                  </a:cubicBezTo>
                  <a:cubicBezTo>
                    <a:pt x="1294" y="16415"/>
                    <a:pt x="1331" y="16452"/>
                    <a:pt x="1331" y="16489"/>
                  </a:cubicBezTo>
                  <a:cubicBezTo>
                    <a:pt x="1405" y="16637"/>
                    <a:pt x="1479" y="16785"/>
                    <a:pt x="1590" y="16970"/>
                  </a:cubicBezTo>
                  <a:cubicBezTo>
                    <a:pt x="1664" y="17155"/>
                    <a:pt x="1812" y="17376"/>
                    <a:pt x="1923" y="17598"/>
                  </a:cubicBezTo>
                  <a:cubicBezTo>
                    <a:pt x="2255" y="18227"/>
                    <a:pt x="2699" y="19003"/>
                    <a:pt x="3327" y="19816"/>
                  </a:cubicBezTo>
                  <a:cubicBezTo>
                    <a:pt x="3475" y="20038"/>
                    <a:pt x="3623" y="20260"/>
                    <a:pt x="3808" y="20482"/>
                  </a:cubicBezTo>
                  <a:cubicBezTo>
                    <a:pt x="3919" y="20593"/>
                    <a:pt x="3993" y="20667"/>
                    <a:pt x="4067" y="20778"/>
                  </a:cubicBezTo>
                  <a:cubicBezTo>
                    <a:pt x="6026" y="22996"/>
                    <a:pt x="9169" y="25140"/>
                    <a:pt x="14271" y="25140"/>
                  </a:cubicBezTo>
                  <a:cubicBezTo>
                    <a:pt x="14567" y="25140"/>
                    <a:pt x="14862" y="25140"/>
                    <a:pt x="15158" y="25103"/>
                  </a:cubicBezTo>
                  <a:cubicBezTo>
                    <a:pt x="16748" y="25029"/>
                    <a:pt x="18190" y="24697"/>
                    <a:pt x="19447" y="24142"/>
                  </a:cubicBezTo>
                  <a:cubicBezTo>
                    <a:pt x="19853" y="23957"/>
                    <a:pt x="20223" y="23772"/>
                    <a:pt x="20593" y="23587"/>
                  </a:cubicBezTo>
                  <a:lnTo>
                    <a:pt x="20630" y="23550"/>
                  </a:lnTo>
                  <a:cubicBezTo>
                    <a:pt x="20852" y="23403"/>
                    <a:pt x="21073" y="23292"/>
                    <a:pt x="21295" y="23144"/>
                  </a:cubicBezTo>
                  <a:cubicBezTo>
                    <a:pt x="22811" y="22109"/>
                    <a:pt x="24031" y="20815"/>
                    <a:pt x="24992" y="19484"/>
                  </a:cubicBezTo>
                  <a:cubicBezTo>
                    <a:pt x="25140" y="19299"/>
                    <a:pt x="25251" y="19114"/>
                    <a:pt x="25399" y="18892"/>
                  </a:cubicBezTo>
                  <a:cubicBezTo>
                    <a:pt x="25584" y="18596"/>
                    <a:pt x="25769" y="18301"/>
                    <a:pt x="25953" y="18005"/>
                  </a:cubicBezTo>
                  <a:cubicBezTo>
                    <a:pt x="26064" y="17783"/>
                    <a:pt x="26175" y="17598"/>
                    <a:pt x="26286" y="17376"/>
                  </a:cubicBezTo>
                  <a:cubicBezTo>
                    <a:pt x="26656" y="16674"/>
                    <a:pt x="26952" y="16008"/>
                    <a:pt x="27174" y="15380"/>
                  </a:cubicBezTo>
                  <a:cubicBezTo>
                    <a:pt x="28578" y="11720"/>
                    <a:pt x="28874" y="7505"/>
                    <a:pt x="28874" y="7505"/>
                  </a:cubicBezTo>
                  <a:cubicBezTo>
                    <a:pt x="28874" y="7505"/>
                    <a:pt x="32941" y="6803"/>
                    <a:pt x="32941" y="3438"/>
                  </a:cubicBezTo>
                  <a:cubicBezTo>
                    <a:pt x="32941" y="2773"/>
                    <a:pt x="32904" y="2070"/>
                    <a:pt x="32830" y="1368"/>
                  </a:cubicBezTo>
                  <a:cubicBezTo>
                    <a:pt x="32719" y="2440"/>
                    <a:pt x="32497" y="3623"/>
                    <a:pt x="32054" y="4584"/>
                  </a:cubicBezTo>
                  <a:cubicBezTo>
                    <a:pt x="31203" y="6433"/>
                    <a:pt x="29392" y="6655"/>
                    <a:pt x="28467" y="6655"/>
                  </a:cubicBezTo>
                  <a:cubicBezTo>
                    <a:pt x="28135" y="6655"/>
                    <a:pt x="27950" y="6618"/>
                    <a:pt x="27950" y="6618"/>
                  </a:cubicBezTo>
                  <a:cubicBezTo>
                    <a:pt x="27950" y="6618"/>
                    <a:pt x="26101" y="16230"/>
                    <a:pt x="23587" y="19188"/>
                  </a:cubicBezTo>
                  <a:cubicBezTo>
                    <a:pt x="21961" y="21147"/>
                    <a:pt x="18411" y="22885"/>
                    <a:pt x="14271" y="22885"/>
                  </a:cubicBezTo>
                  <a:cubicBezTo>
                    <a:pt x="12090" y="22885"/>
                    <a:pt x="9760" y="22404"/>
                    <a:pt x="7394" y="21221"/>
                  </a:cubicBezTo>
                  <a:cubicBezTo>
                    <a:pt x="1997" y="18522"/>
                    <a:pt x="1442" y="12718"/>
                    <a:pt x="1405" y="10389"/>
                  </a:cubicBezTo>
                  <a:cubicBezTo>
                    <a:pt x="1405" y="9760"/>
                    <a:pt x="1479" y="9391"/>
                    <a:pt x="1479" y="9391"/>
                  </a:cubicBezTo>
                  <a:cubicBezTo>
                    <a:pt x="1479" y="9391"/>
                    <a:pt x="5583" y="9391"/>
                    <a:pt x="7172" y="5509"/>
                  </a:cubicBezTo>
                  <a:cubicBezTo>
                    <a:pt x="7542" y="4584"/>
                    <a:pt x="7727" y="3808"/>
                    <a:pt x="7727" y="3143"/>
                  </a:cubicBezTo>
                  <a:cubicBezTo>
                    <a:pt x="7727" y="1035"/>
                    <a:pt x="6026" y="0"/>
                    <a:pt x="3254" y="0"/>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7" name="Google Shape;1957;p37"/>
            <p:cNvSpPr/>
            <p:nvPr/>
          </p:nvSpPr>
          <p:spPr>
            <a:xfrm>
              <a:off x="5305900" y="2213275"/>
              <a:ext cx="281000" cy="281000"/>
            </a:xfrm>
            <a:custGeom>
              <a:avLst/>
              <a:gdLst/>
              <a:ahLst/>
              <a:cxnLst/>
              <a:rect l="l" t="t" r="r" b="b"/>
              <a:pathLst>
                <a:path w="11240" h="11240" extrusionOk="0">
                  <a:moveTo>
                    <a:pt x="5620" y="0"/>
                  </a:moveTo>
                  <a:cubicBezTo>
                    <a:pt x="2514" y="0"/>
                    <a:pt x="0" y="2514"/>
                    <a:pt x="0" y="5620"/>
                  </a:cubicBezTo>
                  <a:cubicBezTo>
                    <a:pt x="0" y="8726"/>
                    <a:pt x="2514" y="11240"/>
                    <a:pt x="5620" y="11240"/>
                  </a:cubicBezTo>
                  <a:cubicBezTo>
                    <a:pt x="8725" y="11240"/>
                    <a:pt x="11239" y="8726"/>
                    <a:pt x="11239" y="5620"/>
                  </a:cubicBezTo>
                  <a:cubicBezTo>
                    <a:pt x="11239" y="2514"/>
                    <a:pt x="8725" y="0"/>
                    <a:pt x="5620"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8" name="Google Shape;1958;p37"/>
            <p:cNvSpPr/>
            <p:nvPr/>
          </p:nvSpPr>
          <p:spPr>
            <a:xfrm>
              <a:off x="5305900" y="2213275"/>
              <a:ext cx="281000" cy="281000"/>
            </a:xfrm>
            <a:custGeom>
              <a:avLst/>
              <a:gdLst/>
              <a:ahLst/>
              <a:cxnLst/>
              <a:rect l="l" t="t" r="r" b="b"/>
              <a:pathLst>
                <a:path w="11240" h="11240" extrusionOk="0">
                  <a:moveTo>
                    <a:pt x="5620" y="0"/>
                  </a:moveTo>
                  <a:cubicBezTo>
                    <a:pt x="2514" y="0"/>
                    <a:pt x="0" y="2514"/>
                    <a:pt x="0" y="5620"/>
                  </a:cubicBezTo>
                  <a:cubicBezTo>
                    <a:pt x="0" y="8726"/>
                    <a:pt x="2514" y="11240"/>
                    <a:pt x="5620" y="11240"/>
                  </a:cubicBezTo>
                  <a:cubicBezTo>
                    <a:pt x="8725" y="11240"/>
                    <a:pt x="11239" y="8726"/>
                    <a:pt x="11239" y="5620"/>
                  </a:cubicBezTo>
                  <a:cubicBezTo>
                    <a:pt x="11239" y="3624"/>
                    <a:pt x="10204" y="1886"/>
                    <a:pt x="8652" y="888"/>
                  </a:cubicBezTo>
                  <a:cubicBezTo>
                    <a:pt x="8504" y="814"/>
                    <a:pt x="8393" y="740"/>
                    <a:pt x="8282" y="666"/>
                  </a:cubicBezTo>
                  <a:cubicBezTo>
                    <a:pt x="7468" y="222"/>
                    <a:pt x="6581" y="0"/>
                    <a:pt x="5620" y="0"/>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59" name="Google Shape;1959;p37"/>
            <p:cNvSpPr/>
            <p:nvPr/>
          </p:nvSpPr>
          <p:spPr>
            <a:xfrm>
              <a:off x="4970400" y="1866675"/>
              <a:ext cx="695050" cy="401150"/>
            </a:xfrm>
            <a:custGeom>
              <a:avLst/>
              <a:gdLst/>
              <a:ahLst/>
              <a:cxnLst/>
              <a:rect l="l" t="t" r="r" b="b"/>
              <a:pathLst>
                <a:path w="27802" h="16046" extrusionOk="0">
                  <a:moveTo>
                    <a:pt x="13199" y="0"/>
                  </a:moveTo>
                  <a:cubicBezTo>
                    <a:pt x="13199" y="0"/>
                    <a:pt x="3106" y="6470"/>
                    <a:pt x="998" y="8984"/>
                  </a:cubicBezTo>
                  <a:cubicBezTo>
                    <a:pt x="518" y="9576"/>
                    <a:pt x="185" y="10278"/>
                    <a:pt x="0" y="11055"/>
                  </a:cubicBezTo>
                  <a:lnTo>
                    <a:pt x="12570" y="5842"/>
                  </a:lnTo>
                  <a:cubicBezTo>
                    <a:pt x="12570" y="5842"/>
                    <a:pt x="16970" y="11683"/>
                    <a:pt x="21702" y="14530"/>
                  </a:cubicBezTo>
                  <a:cubicBezTo>
                    <a:pt x="21813" y="14604"/>
                    <a:pt x="21924" y="14678"/>
                    <a:pt x="22072" y="14752"/>
                  </a:cubicBezTo>
                  <a:cubicBezTo>
                    <a:pt x="23439" y="15528"/>
                    <a:pt x="24844" y="16046"/>
                    <a:pt x="26175" y="16046"/>
                  </a:cubicBezTo>
                  <a:cubicBezTo>
                    <a:pt x="26730" y="16046"/>
                    <a:pt x="27284" y="15935"/>
                    <a:pt x="27802" y="15750"/>
                  </a:cubicBezTo>
                  <a:cubicBezTo>
                    <a:pt x="27802" y="15750"/>
                    <a:pt x="22478" y="12238"/>
                    <a:pt x="17968" y="7025"/>
                  </a:cubicBezTo>
                  <a:cubicBezTo>
                    <a:pt x="13494" y="1812"/>
                    <a:pt x="13199" y="0"/>
                    <a:pt x="13199" y="0"/>
                  </a:cubicBezTo>
                  <a:close/>
                </a:path>
              </a:pathLst>
            </a:custGeom>
            <a:solidFill>
              <a:srgbClr val="9C9C9C"/>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0" name="Google Shape;1960;p37"/>
            <p:cNvSpPr/>
            <p:nvPr/>
          </p:nvSpPr>
          <p:spPr>
            <a:xfrm>
              <a:off x="5512925" y="2229900"/>
              <a:ext cx="9275" cy="5575"/>
            </a:xfrm>
            <a:custGeom>
              <a:avLst/>
              <a:gdLst/>
              <a:ahLst/>
              <a:cxnLst/>
              <a:rect l="l" t="t" r="r" b="b"/>
              <a:pathLst>
                <a:path w="371" h="223" extrusionOk="0">
                  <a:moveTo>
                    <a:pt x="371" y="223"/>
                  </a:moveTo>
                  <a:cubicBezTo>
                    <a:pt x="223" y="149"/>
                    <a:pt x="112" y="75"/>
                    <a:pt x="1" y="1"/>
                  </a:cubicBezTo>
                  <a:cubicBezTo>
                    <a:pt x="112" y="75"/>
                    <a:pt x="223" y="149"/>
                    <a:pt x="371" y="223"/>
                  </a:cubicBezTo>
                  <a:close/>
                </a:path>
              </a:pathLst>
            </a:custGeom>
            <a:solidFill>
              <a:schemeClr val="accent3"/>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1" name="Google Shape;1961;p37"/>
            <p:cNvSpPr/>
            <p:nvPr/>
          </p:nvSpPr>
          <p:spPr>
            <a:xfrm>
              <a:off x="4953750" y="1859125"/>
              <a:ext cx="846650" cy="1063075"/>
            </a:xfrm>
            <a:custGeom>
              <a:avLst/>
              <a:gdLst/>
              <a:ahLst/>
              <a:cxnLst/>
              <a:rect l="l" t="t" r="r" b="b"/>
              <a:pathLst>
                <a:path w="33866" h="42523" extrusionOk="0">
                  <a:moveTo>
                    <a:pt x="13708" y="776"/>
                  </a:moveTo>
                  <a:cubicBezTo>
                    <a:pt x="14019" y="1589"/>
                    <a:pt x="15032" y="3606"/>
                    <a:pt x="18412" y="7512"/>
                  </a:cubicBezTo>
                  <a:cubicBezTo>
                    <a:pt x="22959" y="12762"/>
                    <a:pt x="28283" y="16274"/>
                    <a:pt x="28320" y="16311"/>
                  </a:cubicBezTo>
                  <a:cubicBezTo>
                    <a:pt x="28394" y="16348"/>
                    <a:pt x="28468" y="16348"/>
                    <a:pt x="28542" y="16348"/>
                  </a:cubicBezTo>
                  <a:cubicBezTo>
                    <a:pt x="28616" y="16311"/>
                    <a:pt x="28690" y="16274"/>
                    <a:pt x="28764" y="16200"/>
                  </a:cubicBezTo>
                  <a:cubicBezTo>
                    <a:pt x="28764" y="16200"/>
                    <a:pt x="28764" y="16163"/>
                    <a:pt x="28801" y="16089"/>
                  </a:cubicBezTo>
                  <a:cubicBezTo>
                    <a:pt x="28912" y="15904"/>
                    <a:pt x="29244" y="15386"/>
                    <a:pt x="29651" y="14906"/>
                  </a:cubicBezTo>
                  <a:cubicBezTo>
                    <a:pt x="29836" y="14647"/>
                    <a:pt x="30058" y="14425"/>
                    <a:pt x="30280" y="14277"/>
                  </a:cubicBezTo>
                  <a:cubicBezTo>
                    <a:pt x="30464" y="14092"/>
                    <a:pt x="30649" y="13982"/>
                    <a:pt x="30797" y="13945"/>
                  </a:cubicBezTo>
                  <a:cubicBezTo>
                    <a:pt x="30871" y="13945"/>
                    <a:pt x="30945" y="13908"/>
                    <a:pt x="31019" y="13908"/>
                  </a:cubicBezTo>
                  <a:cubicBezTo>
                    <a:pt x="31315" y="13908"/>
                    <a:pt x="31610" y="14092"/>
                    <a:pt x="31869" y="14425"/>
                  </a:cubicBezTo>
                  <a:cubicBezTo>
                    <a:pt x="32313" y="14980"/>
                    <a:pt x="32683" y="15904"/>
                    <a:pt x="32904" y="17013"/>
                  </a:cubicBezTo>
                  <a:cubicBezTo>
                    <a:pt x="33126" y="18085"/>
                    <a:pt x="33237" y="19342"/>
                    <a:pt x="33237" y="20525"/>
                  </a:cubicBezTo>
                  <a:cubicBezTo>
                    <a:pt x="33237" y="21302"/>
                    <a:pt x="33015" y="21930"/>
                    <a:pt x="32646" y="22411"/>
                  </a:cubicBezTo>
                  <a:cubicBezTo>
                    <a:pt x="32128" y="23150"/>
                    <a:pt x="31315" y="23631"/>
                    <a:pt x="30649" y="23927"/>
                  </a:cubicBezTo>
                  <a:cubicBezTo>
                    <a:pt x="30280" y="24075"/>
                    <a:pt x="29984" y="24149"/>
                    <a:pt x="29762" y="24222"/>
                  </a:cubicBezTo>
                  <a:cubicBezTo>
                    <a:pt x="29651" y="24259"/>
                    <a:pt x="29577" y="24259"/>
                    <a:pt x="29503" y="24296"/>
                  </a:cubicBezTo>
                  <a:lnTo>
                    <a:pt x="29429" y="24296"/>
                  </a:lnTo>
                  <a:cubicBezTo>
                    <a:pt x="29281" y="24333"/>
                    <a:pt x="29170" y="24444"/>
                    <a:pt x="29170" y="24592"/>
                  </a:cubicBezTo>
                  <a:cubicBezTo>
                    <a:pt x="29170" y="24592"/>
                    <a:pt x="29170" y="24629"/>
                    <a:pt x="29133" y="24777"/>
                  </a:cubicBezTo>
                  <a:cubicBezTo>
                    <a:pt x="29059" y="25590"/>
                    <a:pt x="28690" y="29213"/>
                    <a:pt x="27507" y="32356"/>
                  </a:cubicBezTo>
                  <a:cubicBezTo>
                    <a:pt x="26804" y="34168"/>
                    <a:pt x="25584" y="36460"/>
                    <a:pt x="23662" y="38382"/>
                  </a:cubicBezTo>
                  <a:cubicBezTo>
                    <a:pt x="21776" y="40268"/>
                    <a:pt x="19188" y="41747"/>
                    <a:pt x="15750" y="41894"/>
                  </a:cubicBezTo>
                  <a:cubicBezTo>
                    <a:pt x="15454" y="41894"/>
                    <a:pt x="15159" y="41931"/>
                    <a:pt x="14863" y="41931"/>
                  </a:cubicBezTo>
                  <a:cubicBezTo>
                    <a:pt x="10389" y="41931"/>
                    <a:pt x="7506" y="40231"/>
                    <a:pt x="5546" y="38345"/>
                  </a:cubicBezTo>
                  <a:cubicBezTo>
                    <a:pt x="4585" y="37421"/>
                    <a:pt x="3883" y="36386"/>
                    <a:pt x="3328" y="35535"/>
                  </a:cubicBezTo>
                  <a:cubicBezTo>
                    <a:pt x="2810" y="34648"/>
                    <a:pt x="2441" y="33909"/>
                    <a:pt x="2219" y="33428"/>
                  </a:cubicBezTo>
                  <a:cubicBezTo>
                    <a:pt x="2108" y="33280"/>
                    <a:pt x="1997" y="32911"/>
                    <a:pt x="1923" y="32430"/>
                  </a:cubicBezTo>
                  <a:cubicBezTo>
                    <a:pt x="1590" y="30766"/>
                    <a:pt x="1369" y="27735"/>
                    <a:pt x="1221" y="24925"/>
                  </a:cubicBezTo>
                  <a:cubicBezTo>
                    <a:pt x="1110" y="22115"/>
                    <a:pt x="1036" y="19564"/>
                    <a:pt x="999" y="18825"/>
                  </a:cubicBezTo>
                  <a:cubicBezTo>
                    <a:pt x="925" y="17937"/>
                    <a:pt x="629" y="16237"/>
                    <a:pt x="629" y="14388"/>
                  </a:cubicBezTo>
                  <a:cubicBezTo>
                    <a:pt x="629" y="12540"/>
                    <a:pt x="925" y="10654"/>
                    <a:pt x="1886" y="9508"/>
                  </a:cubicBezTo>
                  <a:cubicBezTo>
                    <a:pt x="2404" y="8917"/>
                    <a:pt x="3402" y="8029"/>
                    <a:pt x="4659" y="7068"/>
                  </a:cubicBezTo>
                  <a:cubicBezTo>
                    <a:pt x="6507" y="5626"/>
                    <a:pt x="8837" y="3999"/>
                    <a:pt x="10722" y="2742"/>
                  </a:cubicBezTo>
                  <a:cubicBezTo>
                    <a:pt x="11683" y="2114"/>
                    <a:pt x="12497" y="1559"/>
                    <a:pt x="13088" y="1190"/>
                  </a:cubicBezTo>
                  <a:cubicBezTo>
                    <a:pt x="13338" y="1018"/>
                    <a:pt x="13548" y="879"/>
                    <a:pt x="13708" y="776"/>
                  </a:cubicBezTo>
                  <a:close/>
                  <a:moveTo>
                    <a:pt x="13875" y="1"/>
                  </a:moveTo>
                  <a:cubicBezTo>
                    <a:pt x="13814" y="1"/>
                    <a:pt x="13759" y="22"/>
                    <a:pt x="13717" y="44"/>
                  </a:cubicBezTo>
                  <a:cubicBezTo>
                    <a:pt x="13717" y="44"/>
                    <a:pt x="11166" y="1670"/>
                    <a:pt x="8393" y="3593"/>
                  </a:cubicBezTo>
                  <a:cubicBezTo>
                    <a:pt x="6988" y="4554"/>
                    <a:pt x="5509" y="5626"/>
                    <a:pt x="4252" y="6587"/>
                  </a:cubicBezTo>
                  <a:cubicBezTo>
                    <a:pt x="3032" y="7549"/>
                    <a:pt x="1997" y="8436"/>
                    <a:pt x="1405" y="9101"/>
                  </a:cubicBezTo>
                  <a:cubicBezTo>
                    <a:pt x="296" y="10469"/>
                    <a:pt x="1" y="12503"/>
                    <a:pt x="1" y="14388"/>
                  </a:cubicBezTo>
                  <a:cubicBezTo>
                    <a:pt x="1" y="16274"/>
                    <a:pt x="296" y="18048"/>
                    <a:pt x="370" y="18862"/>
                  </a:cubicBezTo>
                  <a:cubicBezTo>
                    <a:pt x="444" y="19675"/>
                    <a:pt x="518" y="22928"/>
                    <a:pt x="666" y="26182"/>
                  </a:cubicBezTo>
                  <a:cubicBezTo>
                    <a:pt x="777" y="27809"/>
                    <a:pt x="888" y="29435"/>
                    <a:pt x="1036" y="30803"/>
                  </a:cubicBezTo>
                  <a:cubicBezTo>
                    <a:pt x="1110" y="31469"/>
                    <a:pt x="1221" y="32060"/>
                    <a:pt x="1295" y="32578"/>
                  </a:cubicBezTo>
                  <a:cubicBezTo>
                    <a:pt x="1405" y="33058"/>
                    <a:pt x="1516" y="33465"/>
                    <a:pt x="1664" y="33724"/>
                  </a:cubicBezTo>
                  <a:cubicBezTo>
                    <a:pt x="1886" y="34168"/>
                    <a:pt x="2256" y="34944"/>
                    <a:pt x="2810" y="35831"/>
                  </a:cubicBezTo>
                  <a:cubicBezTo>
                    <a:pt x="3661" y="37199"/>
                    <a:pt x="4918" y="38900"/>
                    <a:pt x="6840" y="40231"/>
                  </a:cubicBezTo>
                  <a:cubicBezTo>
                    <a:pt x="8800" y="41562"/>
                    <a:pt x="11388" y="42523"/>
                    <a:pt x="14863" y="42523"/>
                  </a:cubicBezTo>
                  <a:lnTo>
                    <a:pt x="15750" y="42523"/>
                  </a:lnTo>
                  <a:cubicBezTo>
                    <a:pt x="19373" y="42338"/>
                    <a:pt x="22109" y="40785"/>
                    <a:pt x="24105" y="38789"/>
                  </a:cubicBezTo>
                  <a:cubicBezTo>
                    <a:pt x="26102" y="36829"/>
                    <a:pt x="27359" y="34426"/>
                    <a:pt x="28061" y="32578"/>
                  </a:cubicBezTo>
                  <a:cubicBezTo>
                    <a:pt x="29304" y="29392"/>
                    <a:pt x="29668" y="25795"/>
                    <a:pt x="29745" y="24860"/>
                  </a:cubicBezTo>
                  <a:lnTo>
                    <a:pt x="29745" y="24860"/>
                  </a:lnTo>
                  <a:cubicBezTo>
                    <a:pt x="30118" y="24769"/>
                    <a:pt x="30873" y="24565"/>
                    <a:pt x="31647" y="24112"/>
                  </a:cubicBezTo>
                  <a:cubicBezTo>
                    <a:pt x="32202" y="23779"/>
                    <a:pt x="32757" y="23335"/>
                    <a:pt x="33163" y="22781"/>
                  </a:cubicBezTo>
                  <a:cubicBezTo>
                    <a:pt x="33570" y="22189"/>
                    <a:pt x="33866" y="21450"/>
                    <a:pt x="33866" y="20525"/>
                  </a:cubicBezTo>
                  <a:cubicBezTo>
                    <a:pt x="33866" y="18899"/>
                    <a:pt x="33644" y="17161"/>
                    <a:pt x="33200" y="15793"/>
                  </a:cubicBezTo>
                  <a:cubicBezTo>
                    <a:pt x="32978" y="15091"/>
                    <a:pt x="32720" y="14499"/>
                    <a:pt x="32387" y="14056"/>
                  </a:cubicBezTo>
                  <a:cubicBezTo>
                    <a:pt x="32017" y="13612"/>
                    <a:pt x="31537" y="13316"/>
                    <a:pt x="31019" y="13316"/>
                  </a:cubicBezTo>
                  <a:cubicBezTo>
                    <a:pt x="30908" y="13316"/>
                    <a:pt x="30760" y="13316"/>
                    <a:pt x="30649" y="13353"/>
                  </a:cubicBezTo>
                  <a:cubicBezTo>
                    <a:pt x="30316" y="13427"/>
                    <a:pt x="30021" y="13649"/>
                    <a:pt x="29762" y="13871"/>
                  </a:cubicBezTo>
                  <a:cubicBezTo>
                    <a:pt x="29193" y="14414"/>
                    <a:pt x="28661" y="15173"/>
                    <a:pt x="28392" y="15581"/>
                  </a:cubicBezTo>
                  <a:lnTo>
                    <a:pt x="28392" y="15581"/>
                  </a:lnTo>
                  <a:cubicBezTo>
                    <a:pt x="27251" y="14793"/>
                    <a:pt x="22729" y="11599"/>
                    <a:pt x="18893" y="7142"/>
                  </a:cubicBezTo>
                  <a:cubicBezTo>
                    <a:pt x="16637" y="4554"/>
                    <a:pt x="15454" y="2816"/>
                    <a:pt x="14863" y="1707"/>
                  </a:cubicBezTo>
                  <a:cubicBezTo>
                    <a:pt x="14530" y="1190"/>
                    <a:pt x="14382" y="783"/>
                    <a:pt x="14271" y="561"/>
                  </a:cubicBezTo>
                  <a:cubicBezTo>
                    <a:pt x="14234" y="450"/>
                    <a:pt x="14197" y="376"/>
                    <a:pt x="14197" y="302"/>
                  </a:cubicBezTo>
                  <a:lnTo>
                    <a:pt x="14197" y="265"/>
                  </a:lnTo>
                  <a:cubicBezTo>
                    <a:pt x="14160" y="155"/>
                    <a:pt x="14086" y="81"/>
                    <a:pt x="14012" y="44"/>
                  </a:cubicBezTo>
                  <a:cubicBezTo>
                    <a:pt x="13966" y="12"/>
                    <a:pt x="13919" y="1"/>
                    <a:pt x="13875"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2" name="Google Shape;1962;p37"/>
            <p:cNvSpPr/>
            <p:nvPr/>
          </p:nvSpPr>
          <p:spPr>
            <a:xfrm>
              <a:off x="4911225" y="2165200"/>
              <a:ext cx="287475" cy="288400"/>
            </a:xfrm>
            <a:custGeom>
              <a:avLst/>
              <a:gdLst/>
              <a:ahLst/>
              <a:cxnLst/>
              <a:rect l="l" t="t" r="r" b="b"/>
              <a:pathLst>
                <a:path w="11499" h="11536" extrusionOk="0">
                  <a:moveTo>
                    <a:pt x="5731" y="1"/>
                  </a:moveTo>
                  <a:cubicBezTo>
                    <a:pt x="2552" y="1"/>
                    <a:pt x="1" y="2589"/>
                    <a:pt x="1" y="5768"/>
                  </a:cubicBezTo>
                  <a:cubicBezTo>
                    <a:pt x="1" y="8948"/>
                    <a:pt x="2552" y="11536"/>
                    <a:pt x="5731" y="11536"/>
                  </a:cubicBezTo>
                  <a:cubicBezTo>
                    <a:pt x="8911" y="11536"/>
                    <a:pt x="11499" y="8948"/>
                    <a:pt x="11499" y="5768"/>
                  </a:cubicBezTo>
                  <a:cubicBezTo>
                    <a:pt x="11499" y="2589"/>
                    <a:pt x="8911" y="1"/>
                    <a:pt x="5731" y="1"/>
                  </a:cubicBez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3" name="Google Shape;1963;p37"/>
            <p:cNvSpPr/>
            <p:nvPr/>
          </p:nvSpPr>
          <p:spPr>
            <a:xfrm>
              <a:off x="4936200" y="2265950"/>
              <a:ext cx="262500" cy="187650"/>
            </a:xfrm>
            <a:custGeom>
              <a:avLst/>
              <a:gdLst/>
              <a:ahLst/>
              <a:cxnLst/>
              <a:rect l="l" t="t" r="r" b="b"/>
              <a:pathLst>
                <a:path w="10500" h="7506" extrusionOk="0">
                  <a:moveTo>
                    <a:pt x="10241" y="1"/>
                  </a:moveTo>
                  <a:cubicBezTo>
                    <a:pt x="9760" y="1036"/>
                    <a:pt x="9169" y="1849"/>
                    <a:pt x="8577" y="1886"/>
                  </a:cubicBezTo>
                  <a:cubicBezTo>
                    <a:pt x="8232" y="1919"/>
                    <a:pt x="7936" y="1932"/>
                    <a:pt x="7674" y="1932"/>
                  </a:cubicBezTo>
                  <a:cubicBezTo>
                    <a:pt x="6621" y="1932"/>
                    <a:pt x="6125" y="1720"/>
                    <a:pt x="5209" y="1720"/>
                  </a:cubicBezTo>
                  <a:cubicBezTo>
                    <a:pt x="5063" y="1720"/>
                    <a:pt x="4905" y="1726"/>
                    <a:pt x="4732" y="1738"/>
                  </a:cubicBezTo>
                  <a:cubicBezTo>
                    <a:pt x="3771" y="1775"/>
                    <a:pt x="1479" y="3661"/>
                    <a:pt x="0" y="4955"/>
                  </a:cubicBezTo>
                  <a:cubicBezTo>
                    <a:pt x="1035" y="6471"/>
                    <a:pt x="2773" y="7506"/>
                    <a:pt x="4732" y="7506"/>
                  </a:cubicBezTo>
                  <a:cubicBezTo>
                    <a:pt x="7912" y="7506"/>
                    <a:pt x="10500" y="4918"/>
                    <a:pt x="10500" y="1738"/>
                  </a:cubicBezTo>
                  <a:cubicBezTo>
                    <a:pt x="10500" y="1110"/>
                    <a:pt x="10426" y="555"/>
                    <a:pt x="10241"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4" name="Google Shape;1964;p37"/>
            <p:cNvSpPr/>
            <p:nvPr/>
          </p:nvSpPr>
          <p:spPr>
            <a:xfrm>
              <a:off x="4902925" y="2157825"/>
              <a:ext cx="303175" cy="303175"/>
            </a:xfrm>
            <a:custGeom>
              <a:avLst/>
              <a:gdLst/>
              <a:ahLst/>
              <a:cxnLst/>
              <a:rect l="l" t="t" r="r" b="b"/>
              <a:pathLst>
                <a:path w="12127" h="12127" extrusionOk="0">
                  <a:moveTo>
                    <a:pt x="6063" y="592"/>
                  </a:moveTo>
                  <a:cubicBezTo>
                    <a:pt x="7579" y="592"/>
                    <a:pt x="8947" y="1220"/>
                    <a:pt x="9945" y="2218"/>
                  </a:cubicBezTo>
                  <a:cubicBezTo>
                    <a:pt x="10907" y="3180"/>
                    <a:pt x="11535" y="4548"/>
                    <a:pt x="11535" y="6063"/>
                  </a:cubicBezTo>
                  <a:cubicBezTo>
                    <a:pt x="11535" y="7542"/>
                    <a:pt x="10907" y="8910"/>
                    <a:pt x="9945" y="9908"/>
                  </a:cubicBezTo>
                  <a:cubicBezTo>
                    <a:pt x="8947" y="10907"/>
                    <a:pt x="7579" y="11498"/>
                    <a:pt x="6063" y="11498"/>
                  </a:cubicBezTo>
                  <a:cubicBezTo>
                    <a:pt x="4585" y="11498"/>
                    <a:pt x="3217" y="10907"/>
                    <a:pt x="2218" y="9908"/>
                  </a:cubicBezTo>
                  <a:cubicBezTo>
                    <a:pt x="1220" y="8910"/>
                    <a:pt x="629" y="7542"/>
                    <a:pt x="629" y="6063"/>
                  </a:cubicBezTo>
                  <a:cubicBezTo>
                    <a:pt x="629" y="4548"/>
                    <a:pt x="1220" y="3180"/>
                    <a:pt x="2218" y="2218"/>
                  </a:cubicBezTo>
                  <a:cubicBezTo>
                    <a:pt x="3217" y="1220"/>
                    <a:pt x="4585" y="592"/>
                    <a:pt x="6063" y="592"/>
                  </a:cubicBezTo>
                  <a:close/>
                  <a:moveTo>
                    <a:pt x="6063" y="0"/>
                  </a:moveTo>
                  <a:cubicBezTo>
                    <a:pt x="2736" y="0"/>
                    <a:pt x="0" y="2699"/>
                    <a:pt x="0" y="6063"/>
                  </a:cubicBezTo>
                  <a:cubicBezTo>
                    <a:pt x="0" y="9391"/>
                    <a:pt x="2736" y="12127"/>
                    <a:pt x="6063" y="12127"/>
                  </a:cubicBezTo>
                  <a:cubicBezTo>
                    <a:pt x="9428" y="12127"/>
                    <a:pt x="12127" y="9391"/>
                    <a:pt x="12127" y="6063"/>
                  </a:cubicBezTo>
                  <a:cubicBezTo>
                    <a:pt x="12127" y="2699"/>
                    <a:pt x="9428" y="0"/>
                    <a:pt x="6063"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5" name="Google Shape;1965;p37"/>
            <p:cNvSpPr/>
            <p:nvPr/>
          </p:nvSpPr>
          <p:spPr>
            <a:xfrm>
              <a:off x="5304050" y="2165200"/>
              <a:ext cx="288400" cy="288400"/>
            </a:xfrm>
            <a:custGeom>
              <a:avLst/>
              <a:gdLst/>
              <a:ahLst/>
              <a:cxnLst/>
              <a:rect l="l" t="t" r="r" b="b"/>
              <a:pathLst>
                <a:path w="11536" h="11536" extrusionOk="0">
                  <a:moveTo>
                    <a:pt x="5768" y="1"/>
                  </a:moveTo>
                  <a:cubicBezTo>
                    <a:pt x="2588" y="1"/>
                    <a:pt x="0" y="2589"/>
                    <a:pt x="0" y="5768"/>
                  </a:cubicBezTo>
                  <a:cubicBezTo>
                    <a:pt x="0" y="8948"/>
                    <a:pt x="2588" y="11536"/>
                    <a:pt x="5768" y="11536"/>
                  </a:cubicBezTo>
                  <a:cubicBezTo>
                    <a:pt x="8947" y="11536"/>
                    <a:pt x="11535" y="8948"/>
                    <a:pt x="11535" y="5768"/>
                  </a:cubicBezTo>
                  <a:cubicBezTo>
                    <a:pt x="11535" y="2589"/>
                    <a:pt x="8947" y="1"/>
                    <a:pt x="5768" y="1"/>
                  </a:cubicBez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6" name="Google Shape;1966;p37"/>
            <p:cNvSpPr/>
            <p:nvPr/>
          </p:nvSpPr>
          <p:spPr>
            <a:xfrm>
              <a:off x="5318825" y="2264100"/>
              <a:ext cx="273625" cy="189500"/>
            </a:xfrm>
            <a:custGeom>
              <a:avLst/>
              <a:gdLst/>
              <a:ahLst/>
              <a:cxnLst/>
              <a:rect l="l" t="t" r="r" b="b"/>
              <a:pathLst>
                <a:path w="10945" h="7580" extrusionOk="0">
                  <a:moveTo>
                    <a:pt x="10649" y="1"/>
                  </a:moveTo>
                  <a:cubicBezTo>
                    <a:pt x="9701" y="1685"/>
                    <a:pt x="8654" y="2154"/>
                    <a:pt x="7554" y="2154"/>
                  </a:cubicBezTo>
                  <a:cubicBezTo>
                    <a:pt x="6337" y="2154"/>
                    <a:pt x="5054" y="1579"/>
                    <a:pt x="3772" y="1443"/>
                  </a:cubicBezTo>
                  <a:cubicBezTo>
                    <a:pt x="3709" y="1436"/>
                    <a:pt x="3646" y="1433"/>
                    <a:pt x="3583" y="1433"/>
                  </a:cubicBezTo>
                  <a:cubicBezTo>
                    <a:pt x="2177" y="1433"/>
                    <a:pt x="886" y="2981"/>
                    <a:pt x="1" y="4326"/>
                  </a:cubicBezTo>
                  <a:cubicBezTo>
                    <a:pt x="925" y="6249"/>
                    <a:pt x="2885" y="7580"/>
                    <a:pt x="5177" y="7580"/>
                  </a:cubicBezTo>
                  <a:cubicBezTo>
                    <a:pt x="8356" y="7580"/>
                    <a:pt x="10944" y="4992"/>
                    <a:pt x="10944" y="1812"/>
                  </a:cubicBezTo>
                  <a:cubicBezTo>
                    <a:pt x="10944" y="1184"/>
                    <a:pt x="10833" y="555"/>
                    <a:pt x="10649"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7" name="Google Shape;1967;p37"/>
            <p:cNvSpPr/>
            <p:nvPr/>
          </p:nvSpPr>
          <p:spPr>
            <a:xfrm>
              <a:off x="5296650" y="2157825"/>
              <a:ext cx="303200" cy="303175"/>
            </a:xfrm>
            <a:custGeom>
              <a:avLst/>
              <a:gdLst/>
              <a:ahLst/>
              <a:cxnLst/>
              <a:rect l="l" t="t" r="r" b="b"/>
              <a:pathLst>
                <a:path w="12128" h="12127" extrusionOk="0">
                  <a:moveTo>
                    <a:pt x="6064" y="592"/>
                  </a:moveTo>
                  <a:cubicBezTo>
                    <a:pt x="7580" y="592"/>
                    <a:pt x="8911" y="1220"/>
                    <a:pt x="9909" y="2218"/>
                  </a:cubicBezTo>
                  <a:cubicBezTo>
                    <a:pt x="10907" y="3180"/>
                    <a:pt x="11499" y="4548"/>
                    <a:pt x="11499" y="6063"/>
                  </a:cubicBezTo>
                  <a:cubicBezTo>
                    <a:pt x="11499" y="7542"/>
                    <a:pt x="10907" y="8910"/>
                    <a:pt x="9909" y="9908"/>
                  </a:cubicBezTo>
                  <a:cubicBezTo>
                    <a:pt x="8911" y="10907"/>
                    <a:pt x="7580" y="11498"/>
                    <a:pt x="6064" y="11498"/>
                  </a:cubicBezTo>
                  <a:cubicBezTo>
                    <a:pt x="4548" y="11498"/>
                    <a:pt x="3180" y="10907"/>
                    <a:pt x="2219" y="9908"/>
                  </a:cubicBezTo>
                  <a:cubicBezTo>
                    <a:pt x="1221" y="8910"/>
                    <a:pt x="592" y="7542"/>
                    <a:pt x="592" y="6063"/>
                  </a:cubicBezTo>
                  <a:cubicBezTo>
                    <a:pt x="592" y="4548"/>
                    <a:pt x="1221" y="3180"/>
                    <a:pt x="2219" y="2218"/>
                  </a:cubicBezTo>
                  <a:cubicBezTo>
                    <a:pt x="3180" y="1220"/>
                    <a:pt x="4548" y="592"/>
                    <a:pt x="6064" y="592"/>
                  </a:cubicBezTo>
                  <a:close/>
                  <a:moveTo>
                    <a:pt x="6064" y="0"/>
                  </a:moveTo>
                  <a:cubicBezTo>
                    <a:pt x="2700" y="0"/>
                    <a:pt x="1" y="2699"/>
                    <a:pt x="1" y="6063"/>
                  </a:cubicBezTo>
                  <a:cubicBezTo>
                    <a:pt x="1" y="9391"/>
                    <a:pt x="2700" y="12127"/>
                    <a:pt x="6064" y="12127"/>
                  </a:cubicBezTo>
                  <a:cubicBezTo>
                    <a:pt x="9391" y="12127"/>
                    <a:pt x="12127" y="9391"/>
                    <a:pt x="12127" y="6063"/>
                  </a:cubicBezTo>
                  <a:cubicBezTo>
                    <a:pt x="12127" y="2699"/>
                    <a:pt x="9391" y="0"/>
                    <a:pt x="6064"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8" name="Google Shape;1968;p37"/>
            <p:cNvSpPr/>
            <p:nvPr/>
          </p:nvSpPr>
          <p:spPr>
            <a:xfrm>
              <a:off x="5190375" y="2221600"/>
              <a:ext cx="129400" cy="39075"/>
            </a:xfrm>
            <a:custGeom>
              <a:avLst/>
              <a:gdLst/>
              <a:ahLst/>
              <a:cxnLst/>
              <a:rect l="l" t="t" r="r" b="b"/>
              <a:pathLst>
                <a:path w="5176" h="1563" extrusionOk="0">
                  <a:moveTo>
                    <a:pt x="2736" y="0"/>
                  </a:moveTo>
                  <a:cubicBezTo>
                    <a:pt x="1257" y="37"/>
                    <a:pt x="148" y="998"/>
                    <a:pt x="148" y="1035"/>
                  </a:cubicBezTo>
                  <a:cubicBezTo>
                    <a:pt x="0" y="1146"/>
                    <a:pt x="0" y="1331"/>
                    <a:pt x="111" y="1442"/>
                  </a:cubicBezTo>
                  <a:cubicBezTo>
                    <a:pt x="170" y="1521"/>
                    <a:pt x="251" y="1558"/>
                    <a:pt x="336" y="1558"/>
                  </a:cubicBezTo>
                  <a:cubicBezTo>
                    <a:pt x="409" y="1558"/>
                    <a:pt x="486" y="1530"/>
                    <a:pt x="555" y="1479"/>
                  </a:cubicBezTo>
                  <a:cubicBezTo>
                    <a:pt x="629" y="1405"/>
                    <a:pt x="1627" y="629"/>
                    <a:pt x="2736" y="629"/>
                  </a:cubicBezTo>
                  <a:cubicBezTo>
                    <a:pt x="3327" y="629"/>
                    <a:pt x="3956" y="814"/>
                    <a:pt x="4621" y="1479"/>
                  </a:cubicBezTo>
                  <a:cubicBezTo>
                    <a:pt x="4677" y="1534"/>
                    <a:pt x="4751" y="1562"/>
                    <a:pt x="4829" y="1562"/>
                  </a:cubicBezTo>
                  <a:cubicBezTo>
                    <a:pt x="4908" y="1562"/>
                    <a:pt x="4991" y="1534"/>
                    <a:pt x="5065" y="1479"/>
                  </a:cubicBezTo>
                  <a:cubicBezTo>
                    <a:pt x="5176" y="1368"/>
                    <a:pt x="5176" y="1146"/>
                    <a:pt x="5065" y="1035"/>
                  </a:cubicBezTo>
                  <a:cubicBezTo>
                    <a:pt x="4289" y="296"/>
                    <a:pt x="3475" y="0"/>
                    <a:pt x="2736"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69" name="Google Shape;1969;p37"/>
            <p:cNvSpPr/>
            <p:nvPr/>
          </p:nvSpPr>
          <p:spPr>
            <a:xfrm>
              <a:off x="4993500" y="2059850"/>
              <a:ext cx="154375" cy="74650"/>
            </a:xfrm>
            <a:custGeom>
              <a:avLst/>
              <a:gdLst/>
              <a:ahLst/>
              <a:cxnLst/>
              <a:rect l="l" t="t" r="r" b="b"/>
              <a:pathLst>
                <a:path w="6175" h="2986" extrusionOk="0">
                  <a:moveTo>
                    <a:pt x="4807" y="0"/>
                  </a:moveTo>
                  <a:cubicBezTo>
                    <a:pt x="3328" y="0"/>
                    <a:pt x="2145" y="629"/>
                    <a:pt x="1331" y="1257"/>
                  </a:cubicBezTo>
                  <a:cubicBezTo>
                    <a:pt x="555" y="1849"/>
                    <a:pt x="111" y="2477"/>
                    <a:pt x="111" y="2477"/>
                  </a:cubicBezTo>
                  <a:cubicBezTo>
                    <a:pt x="0" y="2625"/>
                    <a:pt x="37" y="2810"/>
                    <a:pt x="185" y="2921"/>
                  </a:cubicBezTo>
                  <a:cubicBezTo>
                    <a:pt x="229" y="2965"/>
                    <a:pt x="290" y="2985"/>
                    <a:pt x="352" y="2985"/>
                  </a:cubicBezTo>
                  <a:cubicBezTo>
                    <a:pt x="448" y="2985"/>
                    <a:pt x="547" y="2937"/>
                    <a:pt x="592" y="2847"/>
                  </a:cubicBezTo>
                  <a:lnTo>
                    <a:pt x="629" y="2847"/>
                  </a:lnTo>
                  <a:cubicBezTo>
                    <a:pt x="703" y="2699"/>
                    <a:pt x="1146" y="2145"/>
                    <a:pt x="1849" y="1627"/>
                  </a:cubicBezTo>
                  <a:cubicBezTo>
                    <a:pt x="2588" y="1109"/>
                    <a:pt x="3586" y="629"/>
                    <a:pt x="4807" y="629"/>
                  </a:cubicBezTo>
                  <a:cubicBezTo>
                    <a:pt x="5102" y="629"/>
                    <a:pt x="5435" y="666"/>
                    <a:pt x="5768" y="740"/>
                  </a:cubicBezTo>
                  <a:cubicBezTo>
                    <a:pt x="5787" y="744"/>
                    <a:pt x="5807" y="747"/>
                    <a:pt x="5827" y="747"/>
                  </a:cubicBezTo>
                  <a:cubicBezTo>
                    <a:pt x="5961" y="747"/>
                    <a:pt x="6105" y="642"/>
                    <a:pt x="6137" y="481"/>
                  </a:cubicBezTo>
                  <a:cubicBezTo>
                    <a:pt x="6174" y="333"/>
                    <a:pt x="6064" y="148"/>
                    <a:pt x="5879" y="111"/>
                  </a:cubicBezTo>
                  <a:cubicBezTo>
                    <a:pt x="5509" y="37"/>
                    <a:pt x="5139" y="0"/>
                    <a:pt x="4807"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0" name="Google Shape;1970;p37"/>
            <p:cNvSpPr/>
            <p:nvPr/>
          </p:nvSpPr>
          <p:spPr>
            <a:xfrm>
              <a:off x="5316075" y="2049675"/>
              <a:ext cx="183025" cy="81200"/>
            </a:xfrm>
            <a:custGeom>
              <a:avLst/>
              <a:gdLst/>
              <a:ahLst/>
              <a:cxnLst/>
              <a:rect l="l" t="t" r="r" b="b"/>
              <a:pathLst>
                <a:path w="7321" h="3248" extrusionOk="0">
                  <a:moveTo>
                    <a:pt x="1923" y="1"/>
                  </a:moveTo>
                  <a:cubicBezTo>
                    <a:pt x="924" y="1"/>
                    <a:pt x="259" y="259"/>
                    <a:pt x="259" y="259"/>
                  </a:cubicBezTo>
                  <a:cubicBezTo>
                    <a:pt x="74" y="333"/>
                    <a:pt x="0" y="518"/>
                    <a:pt x="74" y="666"/>
                  </a:cubicBezTo>
                  <a:cubicBezTo>
                    <a:pt x="135" y="789"/>
                    <a:pt x="273" y="860"/>
                    <a:pt x="402" y="860"/>
                  </a:cubicBezTo>
                  <a:cubicBezTo>
                    <a:pt x="429" y="860"/>
                    <a:pt x="455" y="857"/>
                    <a:pt x="481" y="851"/>
                  </a:cubicBezTo>
                  <a:cubicBezTo>
                    <a:pt x="518" y="814"/>
                    <a:pt x="1072" y="592"/>
                    <a:pt x="1923" y="592"/>
                  </a:cubicBezTo>
                  <a:cubicBezTo>
                    <a:pt x="3143" y="592"/>
                    <a:pt x="4917" y="1036"/>
                    <a:pt x="6729" y="3143"/>
                  </a:cubicBezTo>
                  <a:cubicBezTo>
                    <a:pt x="6793" y="3208"/>
                    <a:pt x="6883" y="3247"/>
                    <a:pt x="6975" y="3247"/>
                  </a:cubicBezTo>
                  <a:cubicBezTo>
                    <a:pt x="7042" y="3247"/>
                    <a:pt x="7110" y="3227"/>
                    <a:pt x="7172" y="3180"/>
                  </a:cubicBezTo>
                  <a:cubicBezTo>
                    <a:pt x="7283" y="3069"/>
                    <a:pt x="7320" y="2884"/>
                    <a:pt x="7209" y="2736"/>
                  </a:cubicBezTo>
                  <a:cubicBezTo>
                    <a:pt x="5287" y="481"/>
                    <a:pt x="3290" y="1"/>
                    <a:pt x="192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1" name="Google Shape;1971;p37"/>
            <p:cNvSpPr/>
            <p:nvPr/>
          </p:nvSpPr>
          <p:spPr>
            <a:xfrm>
              <a:off x="5148775" y="2298125"/>
              <a:ext cx="97075" cy="268425"/>
            </a:xfrm>
            <a:custGeom>
              <a:avLst/>
              <a:gdLst/>
              <a:ahLst/>
              <a:cxnLst/>
              <a:rect l="l" t="t" r="r" b="b"/>
              <a:pathLst>
                <a:path w="3883" h="10737" extrusionOk="0">
                  <a:moveTo>
                    <a:pt x="2869" y="1"/>
                  </a:moveTo>
                  <a:cubicBezTo>
                    <a:pt x="2849" y="1"/>
                    <a:pt x="2829" y="3"/>
                    <a:pt x="2810" y="8"/>
                  </a:cubicBezTo>
                  <a:cubicBezTo>
                    <a:pt x="2625" y="8"/>
                    <a:pt x="2514" y="156"/>
                    <a:pt x="2551" y="340"/>
                  </a:cubicBezTo>
                  <a:cubicBezTo>
                    <a:pt x="2551" y="340"/>
                    <a:pt x="2551" y="377"/>
                    <a:pt x="2551" y="488"/>
                  </a:cubicBezTo>
                  <a:cubicBezTo>
                    <a:pt x="2588" y="747"/>
                    <a:pt x="2625" y="1413"/>
                    <a:pt x="2625" y="2189"/>
                  </a:cubicBezTo>
                  <a:cubicBezTo>
                    <a:pt x="2662" y="3187"/>
                    <a:pt x="2514" y="4407"/>
                    <a:pt x="2145" y="5073"/>
                  </a:cubicBezTo>
                  <a:cubicBezTo>
                    <a:pt x="1812" y="5664"/>
                    <a:pt x="1331" y="6182"/>
                    <a:pt x="851" y="6662"/>
                  </a:cubicBezTo>
                  <a:cubicBezTo>
                    <a:pt x="629" y="6921"/>
                    <a:pt x="444" y="7143"/>
                    <a:pt x="259" y="7402"/>
                  </a:cubicBezTo>
                  <a:cubicBezTo>
                    <a:pt x="111" y="7624"/>
                    <a:pt x="0" y="7919"/>
                    <a:pt x="0" y="8215"/>
                  </a:cubicBezTo>
                  <a:cubicBezTo>
                    <a:pt x="0" y="8437"/>
                    <a:pt x="74" y="8659"/>
                    <a:pt x="185" y="8881"/>
                  </a:cubicBezTo>
                  <a:cubicBezTo>
                    <a:pt x="629" y="9546"/>
                    <a:pt x="1442" y="9990"/>
                    <a:pt x="2145" y="10286"/>
                  </a:cubicBezTo>
                  <a:cubicBezTo>
                    <a:pt x="2847" y="10581"/>
                    <a:pt x="3476" y="10729"/>
                    <a:pt x="3476" y="10729"/>
                  </a:cubicBezTo>
                  <a:cubicBezTo>
                    <a:pt x="3495" y="10734"/>
                    <a:pt x="3514" y="10736"/>
                    <a:pt x="3534" y="10736"/>
                  </a:cubicBezTo>
                  <a:cubicBezTo>
                    <a:pt x="3669" y="10736"/>
                    <a:pt x="3813" y="10631"/>
                    <a:pt x="3845" y="10470"/>
                  </a:cubicBezTo>
                  <a:cubicBezTo>
                    <a:pt x="3882" y="10323"/>
                    <a:pt x="3771" y="10138"/>
                    <a:pt x="3624" y="10101"/>
                  </a:cubicBezTo>
                  <a:lnTo>
                    <a:pt x="3513" y="10101"/>
                  </a:lnTo>
                  <a:cubicBezTo>
                    <a:pt x="3291" y="10027"/>
                    <a:pt x="2736" y="9879"/>
                    <a:pt x="2145" y="9583"/>
                  </a:cubicBezTo>
                  <a:cubicBezTo>
                    <a:pt x="1553" y="9324"/>
                    <a:pt x="962" y="8955"/>
                    <a:pt x="703" y="8548"/>
                  </a:cubicBezTo>
                  <a:cubicBezTo>
                    <a:pt x="629" y="8437"/>
                    <a:pt x="592" y="8326"/>
                    <a:pt x="592" y="8215"/>
                  </a:cubicBezTo>
                  <a:cubicBezTo>
                    <a:pt x="592" y="8067"/>
                    <a:pt x="666" y="7919"/>
                    <a:pt x="777" y="7735"/>
                  </a:cubicBezTo>
                  <a:cubicBezTo>
                    <a:pt x="962" y="7439"/>
                    <a:pt x="1294" y="7106"/>
                    <a:pt x="1664" y="6699"/>
                  </a:cubicBezTo>
                  <a:cubicBezTo>
                    <a:pt x="2034" y="6330"/>
                    <a:pt x="2403" y="5886"/>
                    <a:pt x="2699" y="5368"/>
                  </a:cubicBezTo>
                  <a:cubicBezTo>
                    <a:pt x="3180" y="4481"/>
                    <a:pt x="3254" y="3224"/>
                    <a:pt x="3254" y="2189"/>
                  </a:cubicBezTo>
                  <a:cubicBezTo>
                    <a:pt x="3254" y="1117"/>
                    <a:pt x="3143" y="267"/>
                    <a:pt x="3143" y="267"/>
                  </a:cubicBezTo>
                  <a:cubicBezTo>
                    <a:pt x="3143" y="106"/>
                    <a:pt x="3003" y="1"/>
                    <a:pt x="2869"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2" name="Google Shape;1972;p37"/>
            <p:cNvSpPr/>
            <p:nvPr/>
          </p:nvSpPr>
          <p:spPr>
            <a:xfrm>
              <a:off x="5215325" y="2589325"/>
              <a:ext cx="163625" cy="61150"/>
            </a:xfrm>
            <a:custGeom>
              <a:avLst/>
              <a:gdLst/>
              <a:ahLst/>
              <a:cxnLst/>
              <a:rect l="l" t="t" r="r" b="b"/>
              <a:pathLst>
                <a:path w="6545" h="2446" extrusionOk="0">
                  <a:moveTo>
                    <a:pt x="6229" y="0"/>
                  </a:moveTo>
                  <a:cubicBezTo>
                    <a:pt x="6140" y="0"/>
                    <a:pt x="6049" y="37"/>
                    <a:pt x="5990" y="116"/>
                  </a:cubicBezTo>
                  <a:cubicBezTo>
                    <a:pt x="4659" y="1521"/>
                    <a:pt x="2921" y="1817"/>
                    <a:pt x="1701" y="1817"/>
                  </a:cubicBezTo>
                  <a:cubicBezTo>
                    <a:pt x="1331" y="1817"/>
                    <a:pt x="998" y="1780"/>
                    <a:pt x="740" y="1743"/>
                  </a:cubicBezTo>
                  <a:cubicBezTo>
                    <a:pt x="629" y="1743"/>
                    <a:pt x="555" y="1743"/>
                    <a:pt x="481" y="1706"/>
                  </a:cubicBezTo>
                  <a:lnTo>
                    <a:pt x="407" y="1706"/>
                  </a:lnTo>
                  <a:cubicBezTo>
                    <a:pt x="376" y="1700"/>
                    <a:pt x="346" y="1697"/>
                    <a:pt x="318" y="1697"/>
                  </a:cubicBezTo>
                  <a:cubicBezTo>
                    <a:pt x="176" y="1697"/>
                    <a:pt x="68" y="1774"/>
                    <a:pt x="37" y="1928"/>
                  </a:cubicBezTo>
                  <a:cubicBezTo>
                    <a:pt x="0" y="2076"/>
                    <a:pt x="74" y="2261"/>
                    <a:pt x="259" y="2298"/>
                  </a:cubicBezTo>
                  <a:cubicBezTo>
                    <a:pt x="259" y="2298"/>
                    <a:pt x="851" y="2446"/>
                    <a:pt x="1701" y="2446"/>
                  </a:cubicBezTo>
                  <a:cubicBezTo>
                    <a:pt x="2995" y="2446"/>
                    <a:pt x="4917" y="2113"/>
                    <a:pt x="6433" y="523"/>
                  </a:cubicBezTo>
                  <a:cubicBezTo>
                    <a:pt x="6544" y="412"/>
                    <a:pt x="6544" y="190"/>
                    <a:pt x="6433" y="79"/>
                  </a:cubicBezTo>
                  <a:cubicBezTo>
                    <a:pt x="6382" y="28"/>
                    <a:pt x="6306" y="0"/>
                    <a:pt x="6229"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3" name="Google Shape;1973;p37"/>
            <p:cNvSpPr/>
            <p:nvPr/>
          </p:nvSpPr>
          <p:spPr>
            <a:xfrm>
              <a:off x="862950" y="4920450"/>
              <a:ext cx="1188625" cy="15750"/>
            </a:xfrm>
            <a:custGeom>
              <a:avLst/>
              <a:gdLst/>
              <a:ahLst/>
              <a:cxnLst/>
              <a:rect l="l" t="t" r="r" b="b"/>
              <a:pathLst>
                <a:path w="47545" h="630" extrusionOk="0">
                  <a:moveTo>
                    <a:pt x="334" y="1"/>
                  </a:moveTo>
                  <a:cubicBezTo>
                    <a:pt x="149" y="1"/>
                    <a:pt x="1" y="149"/>
                    <a:pt x="1" y="296"/>
                  </a:cubicBezTo>
                  <a:cubicBezTo>
                    <a:pt x="1" y="481"/>
                    <a:pt x="149" y="629"/>
                    <a:pt x="334" y="629"/>
                  </a:cubicBezTo>
                  <a:lnTo>
                    <a:pt x="47249" y="629"/>
                  </a:lnTo>
                  <a:cubicBezTo>
                    <a:pt x="47397" y="629"/>
                    <a:pt x="47545" y="481"/>
                    <a:pt x="47545" y="296"/>
                  </a:cubicBezTo>
                  <a:cubicBezTo>
                    <a:pt x="47545" y="149"/>
                    <a:pt x="47397" y="1"/>
                    <a:pt x="47249"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4" name="Google Shape;1974;p37"/>
            <p:cNvSpPr/>
            <p:nvPr/>
          </p:nvSpPr>
          <p:spPr>
            <a:xfrm>
              <a:off x="2173575" y="4920450"/>
              <a:ext cx="4043675" cy="15750"/>
            </a:xfrm>
            <a:custGeom>
              <a:avLst/>
              <a:gdLst/>
              <a:ahLst/>
              <a:cxnLst/>
              <a:rect l="l" t="t" r="r" b="b"/>
              <a:pathLst>
                <a:path w="161747" h="630" extrusionOk="0">
                  <a:moveTo>
                    <a:pt x="296" y="1"/>
                  </a:moveTo>
                  <a:cubicBezTo>
                    <a:pt x="148" y="1"/>
                    <a:pt x="0" y="149"/>
                    <a:pt x="0" y="296"/>
                  </a:cubicBezTo>
                  <a:cubicBezTo>
                    <a:pt x="0" y="481"/>
                    <a:pt x="148" y="629"/>
                    <a:pt x="296" y="629"/>
                  </a:cubicBezTo>
                  <a:lnTo>
                    <a:pt x="161451" y="629"/>
                  </a:lnTo>
                  <a:cubicBezTo>
                    <a:pt x="161599" y="629"/>
                    <a:pt x="161746" y="481"/>
                    <a:pt x="161746" y="296"/>
                  </a:cubicBezTo>
                  <a:cubicBezTo>
                    <a:pt x="161746" y="149"/>
                    <a:pt x="161599" y="1"/>
                    <a:pt x="161451"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5" name="Google Shape;1975;p37"/>
            <p:cNvSpPr/>
            <p:nvPr/>
          </p:nvSpPr>
          <p:spPr>
            <a:xfrm>
              <a:off x="6316125" y="4920450"/>
              <a:ext cx="159000" cy="15750"/>
            </a:xfrm>
            <a:custGeom>
              <a:avLst/>
              <a:gdLst/>
              <a:ahLst/>
              <a:cxnLst/>
              <a:rect l="l" t="t" r="r" b="b"/>
              <a:pathLst>
                <a:path w="6360" h="630" extrusionOk="0">
                  <a:moveTo>
                    <a:pt x="333" y="1"/>
                  </a:moveTo>
                  <a:cubicBezTo>
                    <a:pt x="148" y="1"/>
                    <a:pt x="0" y="149"/>
                    <a:pt x="0" y="296"/>
                  </a:cubicBezTo>
                  <a:cubicBezTo>
                    <a:pt x="0" y="481"/>
                    <a:pt x="148" y="629"/>
                    <a:pt x="333" y="629"/>
                  </a:cubicBezTo>
                  <a:lnTo>
                    <a:pt x="6026" y="629"/>
                  </a:lnTo>
                  <a:cubicBezTo>
                    <a:pt x="6211" y="629"/>
                    <a:pt x="6359" y="481"/>
                    <a:pt x="6359" y="296"/>
                  </a:cubicBezTo>
                  <a:cubicBezTo>
                    <a:pt x="6359" y="149"/>
                    <a:pt x="6211" y="1"/>
                    <a:pt x="6026"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6" name="Google Shape;1976;p37"/>
            <p:cNvSpPr/>
            <p:nvPr/>
          </p:nvSpPr>
          <p:spPr>
            <a:xfrm>
              <a:off x="4014700" y="2706825"/>
              <a:ext cx="350325" cy="819850"/>
            </a:xfrm>
            <a:custGeom>
              <a:avLst/>
              <a:gdLst/>
              <a:ahLst/>
              <a:cxnLst/>
              <a:rect l="l" t="t" r="r" b="b"/>
              <a:pathLst>
                <a:path w="14013" h="32794" extrusionOk="0">
                  <a:moveTo>
                    <a:pt x="0" y="1"/>
                  </a:moveTo>
                  <a:lnTo>
                    <a:pt x="0" y="32794"/>
                  </a:lnTo>
                  <a:lnTo>
                    <a:pt x="14012" y="32794"/>
                  </a:lnTo>
                  <a:lnTo>
                    <a:pt x="14012" y="1"/>
                  </a:ln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7" name="Google Shape;1977;p37"/>
            <p:cNvSpPr/>
            <p:nvPr/>
          </p:nvSpPr>
          <p:spPr>
            <a:xfrm>
              <a:off x="1582025" y="1799200"/>
              <a:ext cx="1080500" cy="1727475"/>
            </a:xfrm>
            <a:custGeom>
              <a:avLst/>
              <a:gdLst/>
              <a:ahLst/>
              <a:cxnLst/>
              <a:rect l="l" t="t" r="r" b="b"/>
              <a:pathLst>
                <a:path w="43220" h="69099" extrusionOk="0">
                  <a:moveTo>
                    <a:pt x="1" y="1"/>
                  </a:moveTo>
                  <a:lnTo>
                    <a:pt x="1" y="67768"/>
                  </a:lnTo>
                  <a:cubicBezTo>
                    <a:pt x="1073" y="68175"/>
                    <a:pt x="2145" y="68618"/>
                    <a:pt x="3217" y="69099"/>
                  </a:cubicBezTo>
                  <a:lnTo>
                    <a:pt x="22738" y="69099"/>
                  </a:lnTo>
                  <a:cubicBezTo>
                    <a:pt x="30686" y="58747"/>
                    <a:pt x="31537" y="19188"/>
                    <a:pt x="43220" y="1"/>
                  </a:cubicBez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8" name="Google Shape;1978;p37"/>
            <p:cNvSpPr/>
            <p:nvPr/>
          </p:nvSpPr>
          <p:spPr>
            <a:xfrm>
              <a:off x="1582025" y="1799200"/>
              <a:ext cx="2783000" cy="1727475"/>
            </a:xfrm>
            <a:custGeom>
              <a:avLst/>
              <a:gdLst/>
              <a:ahLst/>
              <a:cxnLst/>
              <a:rect l="l" t="t" r="r" b="b"/>
              <a:pathLst>
                <a:path w="111320" h="69099" extrusionOk="0">
                  <a:moveTo>
                    <a:pt x="1" y="67768"/>
                  </a:moveTo>
                  <a:lnTo>
                    <a:pt x="1" y="69099"/>
                  </a:lnTo>
                  <a:lnTo>
                    <a:pt x="3217" y="69099"/>
                  </a:lnTo>
                  <a:cubicBezTo>
                    <a:pt x="2145" y="68618"/>
                    <a:pt x="1073" y="68175"/>
                    <a:pt x="1" y="67768"/>
                  </a:cubicBezTo>
                  <a:close/>
                  <a:moveTo>
                    <a:pt x="43220" y="1"/>
                  </a:moveTo>
                  <a:cubicBezTo>
                    <a:pt x="31537" y="19188"/>
                    <a:pt x="30686" y="58747"/>
                    <a:pt x="22738" y="69099"/>
                  </a:cubicBezTo>
                  <a:lnTo>
                    <a:pt x="94904" y="69099"/>
                  </a:lnTo>
                  <a:cubicBezTo>
                    <a:pt x="95644" y="68433"/>
                    <a:pt x="96383" y="67768"/>
                    <a:pt x="97197" y="67102"/>
                  </a:cubicBezTo>
                  <a:cubicBezTo>
                    <a:pt x="100043" y="55678"/>
                    <a:pt x="102483" y="45770"/>
                    <a:pt x="103260" y="42036"/>
                  </a:cubicBezTo>
                  <a:cubicBezTo>
                    <a:pt x="103408" y="41297"/>
                    <a:pt x="103482" y="40816"/>
                    <a:pt x="103482" y="40594"/>
                  </a:cubicBezTo>
                  <a:cubicBezTo>
                    <a:pt x="103629" y="38672"/>
                    <a:pt x="104147" y="37452"/>
                    <a:pt x="104813" y="36675"/>
                  </a:cubicBezTo>
                  <a:cubicBezTo>
                    <a:pt x="105441" y="35936"/>
                    <a:pt x="106254" y="35677"/>
                    <a:pt x="106883" y="35677"/>
                  </a:cubicBezTo>
                  <a:cubicBezTo>
                    <a:pt x="107474" y="35677"/>
                    <a:pt x="108916" y="35788"/>
                    <a:pt x="110210" y="35899"/>
                  </a:cubicBezTo>
                  <a:cubicBezTo>
                    <a:pt x="110617" y="35936"/>
                    <a:pt x="110987" y="35973"/>
                    <a:pt x="111319" y="35973"/>
                  </a:cubicBezTo>
                  <a:lnTo>
                    <a:pt x="111319" y="1"/>
                  </a:ln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79" name="Google Shape;1979;p37"/>
            <p:cNvSpPr/>
            <p:nvPr/>
          </p:nvSpPr>
          <p:spPr>
            <a:xfrm>
              <a:off x="3977725" y="3502625"/>
              <a:ext cx="27750" cy="24050"/>
            </a:xfrm>
            <a:custGeom>
              <a:avLst/>
              <a:gdLst/>
              <a:ahLst/>
              <a:cxnLst/>
              <a:rect l="l" t="t" r="r" b="b"/>
              <a:pathLst>
                <a:path w="1110" h="962" extrusionOk="0">
                  <a:moveTo>
                    <a:pt x="1110" y="1"/>
                  </a:moveTo>
                  <a:cubicBezTo>
                    <a:pt x="740" y="333"/>
                    <a:pt x="370" y="629"/>
                    <a:pt x="1" y="962"/>
                  </a:cubicBezTo>
                  <a:lnTo>
                    <a:pt x="851" y="962"/>
                  </a:lnTo>
                  <a:cubicBezTo>
                    <a:pt x="925" y="629"/>
                    <a:pt x="999" y="333"/>
                    <a:pt x="1110" y="1"/>
                  </a:cubicBezTo>
                  <a:close/>
                </a:path>
              </a:pathLst>
            </a:custGeom>
            <a:solidFill>
              <a:schemeClr val="accent4"/>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0" name="Google Shape;1980;p37"/>
            <p:cNvSpPr/>
            <p:nvPr/>
          </p:nvSpPr>
          <p:spPr>
            <a:xfrm>
              <a:off x="3954625" y="3476750"/>
              <a:ext cx="57325" cy="49925"/>
            </a:xfrm>
            <a:custGeom>
              <a:avLst/>
              <a:gdLst/>
              <a:ahLst/>
              <a:cxnLst/>
              <a:rect l="l" t="t" r="r" b="b"/>
              <a:pathLst>
                <a:path w="2293" h="1997" extrusionOk="0">
                  <a:moveTo>
                    <a:pt x="2293" y="0"/>
                  </a:moveTo>
                  <a:lnTo>
                    <a:pt x="2293" y="0"/>
                  </a:lnTo>
                  <a:cubicBezTo>
                    <a:pt x="1479" y="666"/>
                    <a:pt x="740" y="1331"/>
                    <a:pt x="0" y="1997"/>
                  </a:cubicBezTo>
                  <a:lnTo>
                    <a:pt x="925" y="1997"/>
                  </a:lnTo>
                  <a:cubicBezTo>
                    <a:pt x="1294" y="1664"/>
                    <a:pt x="1664" y="1368"/>
                    <a:pt x="2034" y="1036"/>
                  </a:cubicBezTo>
                  <a:cubicBezTo>
                    <a:pt x="2108" y="703"/>
                    <a:pt x="2182" y="333"/>
                    <a:pt x="2293" y="0"/>
                  </a:cubicBezTo>
                  <a:close/>
                </a:path>
              </a:pathLst>
            </a:custGeom>
            <a:solidFill>
              <a:schemeClr val="accent4"/>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1" name="Google Shape;1981;p37"/>
            <p:cNvSpPr/>
            <p:nvPr/>
          </p:nvSpPr>
          <p:spPr>
            <a:xfrm>
              <a:off x="3998975" y="2691125"/>
              <a:ext cx="366050" cy="835550"/>
            </a:xfrm>
            <a:custGeom>
              <a:avLst/>
              <a:gdLst/>
              <a:ahLst/>
              <a:cxnLst/>
              <a:rect l="l" t="t" r="r" b="b"/>
              <a:pathLst>
                <a:path w="14642" h="33422" extrusionOk="0">
                  <a:moveTo>
                    <a:pt x="10205" y="0"/>
                  </a:moveTo>
                  <a:cubicBezTo>
                    <a:pt x="9576" y="0"/>
                    <a:pt x="8763" y="259"/>
                    <a:pt x="8135" y="998"/>
                  </a:cubicBezTo>
                  <a:cubicBezTo>
                    <a:pt x="7469" y="1775"/>
                    <a:pt x="6951" y="2995"/>
                    <a:pt x="6804" y="4917"/>
                  </a:cubicBezTo>
                  <a:cubicBezTo>
                    <a:pt x="6804" y="5139"/>
                    <a:pt x="6730" y="5620"/>
                    <a:pt x="6582" y="6359"/>
                  </a:cubicBezTo>
                  <a:cubicBezTo>
                    <a:pt x="5805" y="10093"/>
                    <a:pt x="3365" y="20001"/>
                    <a:pt x="519" y="31425"/>
                  </a:cubicBezTo>
                  <a:cubicBezTo>
                    <a:pt x="408" y="31758"/>
                    <a:pt x="334" y="32128"/>
                    <a:pt x="260" y="32461"/>
                  </a:cubicBezTo>
                  <a:cubicBezTo>
                    <a:pt x="149" y="32793"/>
                    <a:pt x="75" y="33089"/>
                    <a:pt x="1" y="33422"/>
                  </a:cubicBezTo>
                  <a:lnTo>
                    <a:pt x="629" y="33422"/>
                  </a:lnTo>
                  <a:cubicBezTo>
                    <a:pt x="999" y="31980"/>
                    <a:pt x="1369" y="30575"/>
                    <a:pt x="1702" y="29207"/>
                  </a:cubicBezTo>
                  <a:cubicBezTo>
                    <a:pt x="3254" y="22922"/>
                    <a:pt x="4659" y="17229"/>
                    <a:pt x="5694" y="12903"/>
                  </a:cubicBezTo>
                  <a:cubicBezTo>
                    <a:pt x="6212" y="10759"/>
                    <a:pt x="6619" y="8947"/>
                    <a:pt x="6914" y="7616"/>
                  </a:cubicBezTo>
                  <a:cubicBezTo>
                    <a:pt x="7210" y="6248"/>
                    <a:pt x="7395" y="5361"/>
                    <a:pt x="7432" y="4954"/>
                  </a:cubicBezTo>
                  <a:cubicBezTo>
                    <a:pt x="7580" y="3106"/>
                    <a:pt x="8061" y="2034"/>
                    <a:pt x="8578" y="1405"/>
                  </a:cubicBezTo>
                  <a:cubicBezTo>
                    <a:pt x="9133" y="777"/>
                    <a:pt x="9724" y="629"/>
                    <a:pt x="10205" y="629"/>
                  </a:cubicBezTo>
                  <a:cubicBezTo>
                    <a:pt x="10759" y="629"/>
                    <a:pt x="12201" y="740"/>
                    <a:pt x="13495" y="814"/>
                  </a:cubicBezTo>
                  <a:cubicBezTo>
                    <a:pt x="13902" y="851"/>
                    <a:pt x="14309" y="888"/>
                    <a:pt x="14641" y="925"/>
                  </a:cubicBezTo>
                  <a:lnTo>
                    <a:pt x="14641" y="296"/>
                  </a:lnTo>
                  <a:cubicBezTo>
                    <a:pt x="14309" y="296"/>
                    <a:pt x="13939" y="259"/>
                    <a:pt x="13532" y="222"/>
                  </a:cubicBezTo>
                  <a:cubicBezTo>
                    <a:pt x="12238" y="111"/>
                    <a:pt x="10796" y="0"/>
                    <a:pt x="10205" y="0"/>
                  </a:cubicBezTo>
                  <a:close/>
                </a:path>
              </a:pathLst>
            </a:custGeom>
            <a:solidFill>
              <a:schemeClr val="accent4"/>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2" name="Google Shape;1982;p37"/>
            <p:cNvSpPr/>
            <p:nvPr/>
          </p:nvSpPr>
          <p:spPr>
            <a:xfrm>
              <a:off x="1529350" y="1687375"/>
              <a:ext cx="2889275" cy="1951150"/>
            </a:xfrm>
            <a:custGeom>
              <a:avLst/>
              <a:gdLst/>
              <a:ahLst/>
              <a:cxnLst/>
              <a:rect l="l" t="t" r="r" b="b"/>
              <a:pathLst>
                <a:path w="115571" h="78046" extrusionOk="0">
                  <a:moveTo>
                    <a:pt x="113759" y="4178"/>
                  </a:moveTo>
                  <a:lnTo>
                    <a:pt x="113759" y="73868"/>
                  </a:lnTo>
                  <a:lnTo>
                    <a:pt x="1812" y="73868"/>
                  </a:lnTo>
                  <a:lnTo>
                    <a:pt x="1812" y="4178"/>
                  </a:lnTo>
                  <a:close/>
                  <a:moveTo>
                    <a:pt x="1" y="0"/>
                  </a:moveTo>
                  <a:lnTo>
                    <a:pt x="1" y="78045"/>
                  </a:lnTo>
                  <a:lnTo>
                    <a:pt x="115571" y="78045"/>
                  </a:lnTo>
                  <a:lnTo>
                    <a:pt x="115571" y="0"/>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3" name="Google Shape;1983;p37"/>
            <p:cNvSpPr/>
            <p:nvPr/>
          </p:nvSpPr>
          <p:spPr>
            <a:xfrm>
              <a:off x="1521025" y="1679050"/>
              <a:ext cx="2905000" cy="1966875"/>
            </a:xfrm>
            <a:custGeom>
              <a:avLst/>
              <a:gdLst/>
              <a:ahLst/>
              <a:cxnLst/>
              <a:rect l="l" t="t" r="r" b="b"/>
              <a:pathLst>
                <a:path w="116200" h="78675" extrusionOk="0">
                  <a:moveTo>
                    <a:pt x="113759" y="4807"/>
                  </a:moveTo>
                  <a:lnTo>
                    <a:pt x="113759" y="73905"/>
                  </a:lnTo>
                  <a:lnTo>
                    <a:pt x="2441" y="73905"/>
                  </a:lnTo>
                  <a:lnTo>
                    <a:pt x="2441" y="4807"/>
                  </a:lnTo>
                  <a:close/>
                  <a:moveTo>
                    <a:pt x="2145" y="4178"/>
                  </a:moveTo>
                  <a:cubicBezTo>
                    <a:pt x="2071" y="4178"/>
                    <a:pt x="1997" y="4215"/>
                    <a:pt x="1923" y="4289"/>
                  </a:cubicBezTo>
                  <a:cubicBezTo>
                    <a:pt x="1849" y="4326"/>
                    <a:pt x="1849" y="4400"/>
                    <a:pt x="1849" y="4511"/>
                  </a:cubicBezTo>
                  <a:lnTo>
                    <a:pt x="1849" y="74201"/>
                  </a:lnTo>
                  <a:cubicBezTo>
                    <a:pt x="1849" y="74275"/>
                    <a:pt x="1849" y="74385"/>
                    <a:pt x="1923" y="74422"/>
                  </a:cubicBezTo>
                  <a:cubicBezTo>
                    <a:pt x="1997" y="74496"/>
                    <a:pt x="2071" y="74533"/>
                    <a:pt x="2145" y="74533"/>
                  </a:cubicBezTo>
                  <a:lnTo>
                    <a:pt x="114092" y="74533"/>
                  </a:lnTo>
                  <a:cubicBezTo>
                    <a:pt x="114166" y="74533"/>
                    <a:pt x="114240" y="74496"/>
                    <a:pt x="114314" y="74422"/>
                  </a:cubicBezTo>
                  <a:cubicBezTo>
                    <a:pt x="114351" y="74385"/>
                    <a:pt x="114388" y="74275"/>
                    <a:pt x="114388" y="74201"/>
                  </a:cubicBezTo>
                  <a:lnTo>
                    <a:pt x="114388" y="4511"/>
                  </a:lnTo>
                  <a:cubicBezTo>
                    <a:pt x="114388" y="4400"/>
                    <a:pt x="114351" y="4326"/>
                    <a:pt x="114314" y="4289"/>
                  </a:cubicBezTo>
                  <a:cubicBezTo>
                    <a:pt x="114240" y="4215"/>
                    <a:pt x="114166" y="4178"/>
                    <a:pt x="114092" y="4178"/>
                  </a:cubicBezTo>
                  <a:close/>
                  <a:moveTo>
                    <a:pt x="115608" y="629"/>
                  </a:moveTo>
                  <a:lnTo>
                    <a:pt x="115608" y="78082"/>
                  </a:lnTo>
                  <a:lnTo>
                    <a:pt x="629" y="78082"/>
                  </a:lnTo>
                  <a:lnTo>
                    <a:pt x="629" y="629"/>
                  </a:lnTo>
                  <a:close/>
                  <a:moveTo>
                    <a:pt x="334" y="0"/>
                  </a:moveTo>
                  <a:cubicBezTo>
                    <a:pt x="223" y="0"/>
                    <a:pt x="149" y="37"/>
                    <a:pt x="112" y="111"/>
                  </a:cubicBezTo>
                  <a:cubicBezTo>
                    <a:pt x="38" y="148"/>
                    <a:pt x="1" y="259"/>
                    <a:pt x="1" y="333"/>
                  </a:cubicBezTo>
                  <a:lnTo>
                    <a:pt x="1" y="78378"/>
                  </a:lnTo>
                  <a:cubicBezTo>
                    <a:pt x="1" y="78452"/>
                    <a:pt x="38" y="78526"/>
                    <a:pt x="112" y="78600"/>
                  </a:cubicBezTo>
                  <a:cubicBezTo>
                    <a:pt x="149" y="78637"/>
                    <a:pt x="223" y="78674"/>
                    <a:pt x="334" y="78674"/>
                  </a:cubicBezTo>
                  <a:lnTo>
                    <a:pt x="115904" y="78674"/>
                  </a:lnTo>
                  <a:cubicBezTo>
                    <a:pt x="115978" y="78674"/>
                    <a:pt x="116052" y="78637"/>
                    <a:pt x="116125" y="78600"/>
                  </a:cubicBezTo>
                  <a:cubicBezTo>
                    <a:pt x="116162" y="78526"/>
                    <a:pt x="116199" y="78452"/>
                    <a:pt x="116199" y="78378"/>
                  </a:cubicBezTo>
                  <a:lnTo>
                    <a:pt x="116199" y="333"/>
                  </a:lnTo>
                  <a:cubicBezTo>
                    <a:pt x="116199" y="259"/>
                    <a:pt x="116162" y="185"/>
                    <a:pt x="116125" y="111"/>
                  </a:cubicBezTo>
                  <a:cubicBezTo>
                    <a:pt x="116052" y="37"/>
                    <a:pt x="115978" y="0"/>
                    <a:pt x="115904"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4" name="Google Shape;1984;p37"/>
            <p:cNvSpPr/>
            <p:nvPr/>
          </p:nvSpPr>
          <p:spPr>
            <a:xfrm>
              <a:off x="1634725" y="1846350"/>
              <a:ext cx="1974250" cy="154375"/>
            </a:xfrm>
            <a:custGeom>
              <a:avLst/>
              <a:gdLst/>
              <a:ahLst/>
              <a:cxnLst/>
              <a:rect l="l" t="t" r="r" b="b"/>
              <a:pathLst>
                <a:path w="78970" h="6175" extrusionOk="0">
                  <a:moveTo>
                    <a:pt x="2071" y="0"/>
                  </a:moveTo>
                  <a:cubicBezTo>
                    <a:pt x="924" y="0"/>
                    <a:pt x="0" y="924"/>
                    <a:pt x="0" y="2070"/>
                  </a:cubicBezTo>
                  <a:lnTo>
                    <a:pt x="0" y="4104"/>
                  </a:lnTo>
                  <a:cubicBezTo>
                    <a:pt x="0" y="5250"/>
                    <a:pt x="924" y="6174"/>
                    <a:pt x="2071" y="6174"/>
                  </a:cubicBezTo>
                  <a:lnTo>
                    <a:pt x="76862" y="6174"/>
                  </a:lnTo>
                  <a:cubicBezTo>
                    <a:pt x="78008" y="6174"/>
                    <a:pt x="78969" y="5250"/>
                    <a:pt x="78969" y="4104"/>
                  </a:cubicBezTo>
                  <a:lnTo>
                    <a:pt x="78969" y="2070"/>
                  </a:lnTo>
                  <a:cubicBezTo>
                    <a:pt x="78969" y="924"/>
                    <a:pt x="78008" y="0"/>
                    <a:pt x="76862"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5" name="Google Shape;1985;p37"/>
            <p:cNvSpPr/>
            <p:nvPr/>
          </p:nvSpPr>
          <p:spPr>
            <a:xfrm>
              <a:off x="1626400" y="1838950"/>
              <a:ext cx="1989975" cy="170075"/>
            </a:xfrm>
            <a:custGeom>
              <a:avLst/>
              <a:gdLst/>
              <a:ahLst/>
              <a:cxnLst/>
              <a:rect l="l" t="t" r="r" b="b"/>
              <a:pathLst>
                <a:path w="79599" h="6803" extrusionOk="0">
                  <a:moveTo>
                    <a:pt x="77195" y="629"/>
                  </a:moveTo>
                  <a:cubicBezTo>
                    <a:pt x="78193" y="629"/>
                    <a:pt x="78970" y="1405"/>
                    <a:pt x="78970" y="2366"/>
                  </a:cubicBezTo>
                  <a:lnTo>
                    <a:pt x="78970" y="4400"/>
                  </a:lnTo>
                  <a:cubicBezTo>
                    <a:pt x="78970" y="5398"/>
                    <a:pt x="78193" y="6174"/>
                    <a:pt x="77195" y="6174"/>
                  </a:cubicBezTo>
                  <a:lnTo>
                    <a:pt x="2404" y="6174"/>
                  </a:lnTo>
                  <a:cubicBezTo>
                    <a:pt x="1442" y="6174"/>
                    <a:pt x="629" y="5398"/>
                    <a:pt x="629" y="4400"/>
                  </a:cubicBezTo>
                  <a:lnTo>
                    <a:pt x="629" y="2366"/>
                  </a:lnTo>
                  <a:cubicBezTo>
                    <a:pt x="629" y="1405"/>
                    <a:pt x="1442" y="629"/>
                    <a:pt x="2404" y="629"/>
                  </a:cubicBezTo>
                  <a:close/>
                  <a:moveTo>
                    <a:pt x="2404" y="0"/>
                  </a:moveTo>
                  <a:cubicBezTo>
                    <a:pt x="1073" y="0"/>
                    <a:pt x="0" y="1072"/>
                    <a:pt x="0" y="2366"/>
                  </a:cubicBezTo>
                  <a:lnTo>
                    <a:pt x="0" y="4400"/>
                  </a:lnTo>
                  <a:cubicBezTo>
                    <a:pt x="0" y="5731"/>
                    <a:pt x="1073" y="6803"/>
                    <a:pt x="2404" y="6803"/>
                  </a:cubicBezTo>
                  <a:lnTo>
                    <a:pt x="77195" y="6803"/>
                  </a:lnTo>
                  <a:cubicBezTo>
                    <a:pt x="78526" y="6803"/>
                    <a:pt x="79598" y="5731"/>
                    <a:pt x="79598" y="4400"/>
                  </a:cubicBezTo>
                  <a:lnTo>
                    <a:pt x="79598" y="2366"/>
                  </a:lnTo>
                  <a:cubicBezTo>
                    <a:pt x="79598" y="1072"/>
                    <a:pt x="78526" y="0"/>
                    <a:pt x="77195"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6" name="Google Shape;1986;p37"/>
            <p:cNvSpPr/>
            <p:nvPr/>
          </p:nvSpPr>
          <p:spPr>
            <a:xfrm>
              <a:off x="1658750" y="2167975"/>
              <a:ext cx="421500" cy="15750"/>
            </a:xfrm>
            <a:custGeom>
              <a:avLst/>
              <a:gdLst/>
              <a:ahLst/>
              <a:cxnLst/>
              <a:rect l="l" t="t" r="r" b="b"/>
              <a:pathLst>
                <a:path w="16860" h="630" extrusionOk="0">
                  <a:moveTo>
                    <a:pt x="296" y="1"/>
                  </a:moveTo>
                  <a:cubicBezTo>
                    <a:pt x="148" y="1"/>
                    <a:pt x="0" y="149"/>
                    <a:pt x="0" y="297"/>
                  </a:cubicBezTo>
                  <a:cubicBezTo>
                    <a:pt x="0" y="481"/>
                    <a:pt x="148" y="629"/>
                    <a:pt x="296" y="629"/>
                  </a:cubicBezTo>
                  <a:lnTo>
                    <a:pt x="16563" y="629"/>
                  </a:lnTo>
                  <a:cubicBezTo>
                    <a:pt x="16748" y="629"/>
                    <a:pt x="16859" y="481"/>
                    <a:pt x="16859" y="297"/>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7" name="Google Shape;1987;p37"/>
            <p:cNvSpPr/>
            <p:nvPr/>
          </p:nvSpPr>
          <p:spPr>
            <a:xfrm>
              <a:off x="1658750" y="2259475"/>
              <a:ext cx="421500" cy="15750"/>
            </a:xfrm>
            <a:custGeom>
              <a:avLst/>
              <a:gdLst/>
              <a:ahLst/>
              <a:cxnLst/>
              <a:rect l="l" t="t" r="r" b="b"/>
              <a:pathLst>
                <a:path w="16860" h="630" extrusionOk="0">
                  <a:moveTo>
                    <a:pt x="296" y="1"/>
                  </a:moveTo>
                  <a:cubicBezTo>
                    <a:pt x="148" y="1"/>
                    <a:pt x="0" y="149"/>
                    <a:pt x="0" y="334"/>
                  </a:cubicBezTo>
                  <a:cubicBezTo>
                    <a:pt x="0" y="482"/>
                    <a:pt x="148" y="629"/>
                    <a:pt x="296" y="629"/>
                  </a:cubicBezTo>
                  <a:lnTo>
                    <a:pt x="16563" y="629"/>
                  </a:lnTo>
                  <a:cubicBezTo>
                    <a:pt x="16748" y="629"/>
                    <a:pt x="16859" y="482"/>
                    <a:pt x="16859" y="334"/>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8" name="Google Shape;1988;p37"/>
            <p:cNvSpPr/>
            <p:nvPr/>
          </p:nvSpPr>
          <p:spPr>
            <a:xfrm>
              <a:off x="1658750" y="2351000"/>
              <a:ext cx="421500" cy="15725"/>
            </a:xfrm>
            <a:custGeom>
              <a:avLst/>
              <a:gdLst/>
              <a:ahLst/>
              <a:cxnLst/>
              <a:rect l="l" t="t" r="r" b="b"/>
              <a:pathLst>
                <a:path w="16860" h="629" extrusionOk="0">
                  <a:moveTo>
                    <a:pt x="296" y="0"/>
                  </a:moveTo>
                  <a:cubicBezTo>
                    <a:pt x="148" y="0"/>
                    <a:pt x="0" y="148"/>
                    <a:pt x="0" y="333"/>
                  </a:cubicBezTo>
                  <a:cubicBezTo>
                    <a:pt x="0" y="481"/>
                    <a:pt x="148" y="629"/>
                    <a:pt x="296" y="629"/>
                  </a:cubicBezTo>
                  <a:lnTo>
                    <a:pt x="16563" y="629"/>
                  </a:lnTo>
                  <a:cubicBezTo>
                    <a:pt x="16748" y="629"/>
                    <a:pt x="16859" y="481"/>
                    <a:pt x="16859" y="333"/>
                  </a:cubicBezTo>
                  <a:cubicBezTo>
                    <a:pt x="16859" y="148"/>
                    <a:pt x="16748" y="0"/>
                    <a:pt x="16563"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89" name="Google Shape;1989;p37"/>
            <p:cNvSpPr/>
            <p:nvPr/>
          </p:nvSpPr>
          <p:spPr>
            <a:xfrm>
              <a:off x="1658750" y="2448025"/>
              <a:ext cx="421500" cy="15750"/>
            </a:xfrm>
            <a:custGeom>
              <a:avLst/>
              <a:gdLst/>
              <a:ahLst/>
              <a:cxnLst/>
              <a:rect l="l" t="t" r="r" b="b"/>
              <a:pathLst>
                <a:path w="16860" h="630" extrusionOk="0">
                  <a:moveTo>
                    <a:pt x="296" y="1"/>
                  </a:moveTo>
                  <a:cubicBezTo>
                    <a:pt x="148" y="1"/>
                    <a:pt x="0" y="149"/>
                    <a:pt x="0" y="334"/>
                  </a:cubicBezTo>
                  <a:cubicBezTo>
                    <a:pt x="0" y="482"/>
                    <a:pt x="148" y="629"/>
                    <a:pt x="296" y="629"/>
                  </a:cubicBezTo>
                  <a:lnTo>
                    <a:pt x="16563" y="629"/>
                  </a:lnTo>
                  <a:cubicBezTo>
                    <a:pt x="16748" y="629"/>
                    <a:pt x="16859" y="482"/>
                    <a:pt x="16859" y="334"/>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0" name="Google Shape;1990;p37"/>
            <p:cNvSpPr/>
            <p:nvPr/>
          </p:nvSpPr>
          <p:spPr>
            <a:xfrm>
              <a:off x="2144000" y="2167975"/>
              <a:ext cx="421475" cy="15750"/>
            </a:xfrm>
            <a:custGeom>
              <a:avLst/>
              <a:gdLst/>
              <a:ahLst/>
              <a:cxnLst/>
              <a:rect l="l" t="t" r="r" b="b"/>
              <a:pathLst>
                <a:path w="16859" h="630" extrusionOk="0">
                  <a:moveTo>
                    <a:pt x="296" y="1"/>
                  </a:moveTo>
                  <a:cubicBezTo>
                    <a:pt x="148" y="1"/>
                    <a:pt x="0" y="149"/>
                    <a:pt x="0" y="297"/>
                  </a:cubicBezTo>
                  <a:cubicBezTo>
                    <a:pt x="0" y="481"/>
                    <a:pt x="148" y="629"/>
                    <a:pt x="296" y="629"/>
                  </a:cubicBezTo>
                  <a:lnTo>
                    <a:pt x="16563" y="629"/>
                  </a:lnTo>
                  <a:cubicBezTo>
                    <a:pt x="16748" y="629"/>
                    <a:pt x="16859" y="481"/>
                    <a:pt x="16859" y="297"/>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1" name="Google Shape;1991;p37"/>
            <p:cNvSpPr/>
            <p:nvPr/>
          </p:nvSpPr>
          <p:spPr>
            <a:xfrm>
              <a:off x="2144000" y="2259475"/>
              <a:ext cx="421475" cy="15750"/>
            </a:xfrm>
            <a:custGeom>
              <a:avLst/>
              <a:gdLst/>
              <a:ahLst/>
              <a:cxnLst/>
              <a:rect l="l" t="t" r="r" b="b"/>
              <a:pathLst>
                <a:path w="16859" h="630" extrusionOk="0">
                  <a:moveTo>
                    <a:pt x="296" y="1"/>
                  </a:moveTo>
                  <a:cubicBezTo>
                    <a:pt x="148" y="1"/>
                    <a:pt x="0" y="149"/>
                    <a:pt x="0" y="334"/>
                  </a:cubicBezTo>
                  <a:cubicBezTo>
                    <a:pt x="0" y="482"/>
                    <a:pt x="148" y="629"/>
                    <a:pt x="296" y="629"/>
                  </a:cubicBezTo>
                  <a:lnTo>
                    <a:pt x="16563" y="629"/>
                  </a:lnTo>
                  <a:cubicBezTo>
                    <a:pt x="16748" y="629"/>
                    <a:pt x="16859" y="482"/>
                    <a:pt x="16859" y="334"/>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2" name="Google Shape;1992;p37"/>
            <p:cNvSpPr/>
            <p:nvPr/>
          </p:nvSpPr>
          <p:spPr>
            <a:xfrm>
              <a:off x="2144000" y="2351000"/>
              <a:ext cx="421475" cy="15725"/>
            </a:xfrm>
            <a:custGeom>
              <a:avLst/>
              <a:gdLst/>
              <a:ahLst/>
              <a:cxnLst/>
              <a:rect l="l" t="t" r="r" b="b"/>
              <a:pathLst>
                <a:path w="16859" h="629" extrusionOk="0">
                  <a:moveTo>
                    <a:pt x="296" y="0"/>
                  </a:moveTo>
                  <a:cubicBezTo>
                    <a:pt x="148" y="0"/>
                    <a:pt x="0" y="148"/>
                    <a:pt x="0" y="333"/>
                  </a:cubicBezTo>
                  <a:cubicBezTo>
                    <a:pt x="0" y="481"/>
                    <a:pt x="148" y="629"/>
                    <a:pt x="296" y="629"/>
                  </a:cubicBezTo>
                  <a:lnTo>
                    <a:pt x="16563" y="629"/>
                  </a:lnTo>
                  <a:cubicBezTo>
                    <a:pt x="16748" y="629"/>
                    <a:pt x="16859" y="481"/>
                    <a:pt x="16859" y="333"/>
                  </a:cubicBezTo>
                  <a:cubicBezTo>
                    <a:pt x="16859" y="148"/>
                    <a:pt x="16748" y="0"/>
                    <a:pt x="16563"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3" name="Google Shape;1993;p37"/>
            <p:cNvSpPr/>
            <p:nvPr/>
          </p:nvSpPr>
          <p:spPr>
            <a:xfrm>
              <a:off x="2144000" y="2448025"/>
              <a:ext cx="421475" cy="15750"/>
            </a:xfrm>
            <a:custGeom>
              <a:avLst/>
              <a:gdLst/>
              <a:ahLst/>
              <a:cxnLst/>
              <a:rect l="l" t="t" r="r" b="b"/>
              <a:pathLst>
                <a:path w="16859" h="630" extrusionOk="0">
                  <a:moveTo>
                    <a:pt x="296" y="1"/>
                  </a:moveTo>
                  <a:cubicBezTo>
                    <a:pt x="148" y="1"/>
                    <a:pt x="0" y="149"/>
                    <a:pt x="0" y="334"/>
                  </a:cubicBezTo>
                  <a:cubicBezTo>
                    <a:pt x="0" y="482"/>
                    <a:pt x="148" y="629"/>
                    <a:pt x="296" y="629"/>
                  </a:cubicBezTo>
                  <a:lnTo>
                    <a:pt x="16563" y="629"/>
                  </a:lnTo>
                  <a:cubicBezTo>
                    <a:pt x="16748" y="629"/>
                    <a:pt x="16859" y="482"/>
                    <a:pt x="16859" y="334"/>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4" name="Google Shape;1994;p37"/>
            <p:cNvSpPr/>
            <p:nvPr/>
          </p:nvSpPr>
          <p:spPr>
            <a:xfrm>
              <a:off x="2629225" y="2167975"/>
              <a:ext cx="421500" cy="15750"/>
            </a:xfrm>
            <a:custGeom>
              <a:avLst/>
              <a:gdLst/>
              <a:ahLst/>
              <a:cxnLst/>
              <a:rect l="l" t="t" r="r" b="b"/>
              <a:pathLst>
                <a:path w="16860" h="630" extrusionOk="0">
                  <a:moveTo>
                    <a:pt x="296" y="1"/>
                  </a:moveTo>
                  <a:cubicBezTo>
                    <a:pt x="148" y="1"/>
                    <a:pt x="1" y="149"/>
                    <a:pt x="1" y="297"/>
                  </a:cubicBezTo>
                  <a:cubicBezTo>
                    <a:pt x="1" y="481"/>
                    <a:pt x="148" y="629"/>
                    <a:pt x="296" y="629"/>
                  </a:cubicBezTo>
                  <a:lnTo>
                    <a:pt x="16563" y="629"/>
                  </a:lnTo>
                  <a:cubicBezTo>
                    <a:pt x="16748" y="629"/>
                    <a:pt x="16859" y="481"/>
                    <a:pt x="16859" y="297"/>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5" name="Google Shape;1995;p37"/>
            <p:cNvSpPr/>
            <p:nvPr/>
          </p:nvSpPr>
          <p:spPr>
            <a:xfrm>
              <a:off x="2629225" y="2259475"/>
              <a:ext cx="421500" cy="15750"/>
            </a:xfrm>
            <a:custGeom>
              <a:avLst/>
              <a:gdLst/>
              <a:ahLst/>
              <a:cxnLst/>
              <a:rect l="l" t="t" r="r" b="b"/>
              <a:pathLst>
                <a:path w="16860" h="630" extrusionOk="0">
                  <a:moveTo>
                    <a:pt x="296" y="1"/>
                  </a:moveTo>
                  <a:cubicBezTo>
                    <a:pt x="148" y="1"/>
                    <a:pt x="1" y="149"/>
                    <a:pt x="1" y="334"/>
                  </a:cubicBezTo>
                  <a:cubicBezTo>
                    <a:pt x="1" y="482"/>
                    <a:pt x="148" y="629"/>
                    <a:pt x="296" y="629"/>
                  </a:cubicBezTo>
                  <a:lnTo>
                    <a:pt x="16563" y="629"/>
                  </a:lnTo>
                  <a:cubicBezTo>
                    <a:pt x="16748" y="629"/>
                    <a:pt x="16859" y="482"/>
                    <a:pt x="16859" y="334"/>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6" name="Google Shape;1996;p37"/>
            <p:cNvSpPr/>
            <p:nvPr/>
          </p:nvSpPr>
          <p:spPr>
            <a:xfrm>
              <a:off x="2629225" y="2351000"/>
              <a:ext cx="421500" cy="15725"/>
            </a:xfrm>
            <a:custGeom>
              <a:avLst/>
              <a:gdLst/>
              <a:ahLst/>
              <a:cxnLst/>
              <a:rect l="l" t="t" r="r" b="b"/>
              <a:pathLst>
                <a:path w="16860" h="629" extrusionOk="0">
                  <a:moveTo>
                    <a:pt x="296" y="0"/>
                  </a:moveTo>
                  <a:cubicBezTo>
                    <a:pt x="148" y="0"/>
                    <a:pt x="1" y="148"/>
                    <a:pt x="1" y="333"/>
                  </a:cubicBezTo>
                  <a:cubicBezTo>
                    <a:pt x="1" y="481"/>
                    <a:pt x="148" y="629"/>
                    <a:pt x="296" y="629"/>
                  </a:cubicBezTo>
                  <a:lnTo>
                    <a:pt x="16563" y="629"/>
                  </a:lnTo>
                  <a:cubicBezTo>
                    <a:pt x="16748" y="629"/>
                    <a:pt x="16859" y="481"/>
                    <a:pt x="16859" y="333"/>
                  </a:cubicBezTo>
                  <a:cubicBezTo>
                    <a:pt x="16859" y="148"/>
                    <a:pt x="16748" y="0"/>
                    <a:pt x="16563"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7" name="Google Shape;1997;p37"/>
            <p:cNvSpPr/>
            <p:nvPr/>
          </p:nvSpPr>
          <p:spPr>
            <a:xfrm>
              <a:off x="2629225" y="2448025"/>
              <a:ext cx="421500" cy="15750"/>
            </a:xfrm>
            <a:custGeom>
              <a:avLst/>
              <a:gdLst/>
              <a:ahLst/>
              <a:cxnLst/>
              <a:rect l="l" t="t" r="r" b="b"/>
              <a:pathLst>
                <a:path w="16860" h="630" extrusionOk="0">
                  <a:moveTo>
                    <a:pt x="296" y="1"/>
                  </a:moveTo>
                  <a:cubicBezTo>
                    <a:pt x="148" y="1"/>
                    <a:pt x="1" y="149"/>
                    <a:pt x="1" y="334"/>
                  </a:cubicBezTo>
                  <a:cubicBezTo>
                    <a:pt x="1" y="482"/>
                    <a:pt x="148" y="629"/>
                    <a:pt x="296" y="629"/>
                  </a:cubicBezTo>
                  <a:lnTo>
                    <a:pt x="16563" y="629"/>
                  </a:lnTo>
                  <a:cubicBezTo>
                    <a:pt x="16748" y="629"/>
                    <a:pt x="16859" y="482"/>
                    <a:pt x="16859" y="334"/>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8" name="Google Shape;1998;p37"/>
            <p:cNvSpPr/>
            <p:nvPr/>
          </p:nvSpPr>
          <p:spPr>
            <a:xfrm>
              <a:off x="3114475" y="2167975"/>
              <a:ext cx="421475" cy="15750"/>
            </a:xfrm>
            <a:custGeom>
              <a:avLst/>
              <a:gdLst/>
              <a:ahLst/>
              <a:cxnLst/>
              <a:rect l="l" t="t" r="r" b="b"/>
              <a:pathLst>
                <a:path w="16859" h="630" extrusionOk="0">
                  <a:moveTo>
                    <a:pt x="296" y="1"/>
                  </a:moveTo>
                  <a:cubicBezTo>
                    <a:pt x="148" y="1"/>
                    <a:pt x="0" y="149"/>
                    <a:pt x="0" y="297"/>
                  </a:cubicBezTo>
                  <a:cubicBezTo>
                    <a:pt x="0" y="481"/>
                    <a:pt x="148" y="629"/>
                    <a:pt x="296" y="629"/>
                  </a:cubicBezTo>
                  <a:lnTo>
                    <a:pt x="16563" y="629"/>
                  </a:lnTo>
                  <a:cubicBezTo>
                    <a:pt x="16748" y="629"/>
                    <a:pt x="16859" y="481"/>
                    <a:pt x="16859" y="297"/>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1999" name="Google Shape;1999;p37"/>
            <p:cNvSpPr/>
            <p:nvPr/>
          </p:nvSpPr>
          <p:spPr>
            <a:xfrm>
              <a:off x="3114475" y="2259475"/>
              <a:ext cx="421475" cy="15750"/>
            </a:xfrm>
            <a:custGeom>
              <a:avLst/>
              <a:gdLst/>
              <a:ahLst/>
              <a:cxnLst/>
              <a:rect l="l" t="t" r="r" b="b"/>
              <a:pathLst>
                <a:path w="16859" h="630" extrusionOk="0">
                  <a:moveTo>
                    <a:pt x="296" y="1"/>
                  </a:moveTo>
                  <a:cubicBezTo>
                    <a:pt x="148" y="1"/>
                    <a:pt x="0" y="149"/>
                    <a:pt x="0" y="334"/>
                  </a:cubicBezTo>
                  <a:cubicBezTo>
                    <a:pt x="0" y="482"/>
                    <a:pt x="148" y="629"/>
                    <a:pt x="296" y="629"/>
                  </a:cubicBezTo>
                  <a:lnTo>
                    <a:pt x="16563" y="629"/>
                  </a:lnTo>
                  <a:cubicBezTo>
                    <a:pt x="16748" y="629"/>
                    <a:pt x="16859" y="482"/>
                    <a:pt x="16859" y="334"/>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0" name="Google Shape;2000;p37"/>
            <p:cNvSpPr/>
            <p:nvPr/>
          </p:nvSpPr>
          <p:spPr>
            <a:xfrm>
              <a:off x="3114475" y="2351000"/>
              <a:ext cx="421475" cy="15725"/>
            </a:xfrm>
            <a:custGeom>
              <a:avLst/>
              <a:gdLst/>
              <a:ahLst/>
              <a:cxnLst/>
              <a:rect l="l" t="t" r="r" b="b"/>
              <a:pathLst>
                <a:path w="16859" h="629" extrusionOk="0">
                  <a:moveTo>
                    <a:pt x="296" y="0"/>
                  </a:moveTo>
                  <a:cubicBezTo>
                    <a:pt x="148" y="0"/>
                    <a:pt x="0" y="148"/>
                    <a:pt x="0" y="333"/>
                  </a:cubicBezTo>
                  <a:cubicBezTo>
                    <a:pt x="0" y="481"/>
                    <a:pt x="148" y="629"/>
                    <a:pt x="296" y="629"/>
                  </a:cubicBezTo>
                  <a:lnTo>
                    <a:pt x="16563" y="629"/>
                  </a:lnTo>
                  <a:cubicBezTo>
                    <a:pt x="16748" y="629"/>
                    <a:pt x="16859" y="481"/>
                    <a:pt x="16859" y="333"/>
                  </a:cubicBezTo>
                  <a:cubicBezTo>
                    <a:pt x="16859" y="148"/>
                    <a:pt x="16748" y="0"/>
                    <a:pt x="16563"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1" name="Google Shape;2001;p37"/>
            <p:cNvSpPr/>
            <p:nvPr/>
          </p:nvSpPr>
          <p:spPr>
            <a:xfrm>
              <a:off x="3114475" y="2448025"/>
              <a:ext cx="421475" cy="15750"/>
            </a:xfrm>
            <a:custGeom>
              <a:avLst/>
              <a:gdLst/>
              <a:ahLst/>
              <a:cxnLst/>
              <a:rect l="l" t="t" r="r" b="b"/>
              <a:pathLst>
                <a:path w="16859" h="630" extrusionOk="0">
                  <a:moveTo>
                    <a:pt x="296" y="1"/>
                  </a:moveTo>
                  <a:cubicBezTo>
                    <a:pt x="148" y="1"/>
                    <a:pt x="0" y="149"/>
                    <a:pt x="0" y="334"/>
                  </a:cubicBezTo>
                  <a:cubicBezTo>
                    <a:pt x="0" y="482"/>
                    <a:pt x="148" y="629"/>
                    <a:pt x="296" y="629"/>
                  </a:cubicBezTo>
                  <a:lnTo>
                    <a:pt x="16563" y="629"/>
                  </a:lnTo>
                  <a:cubicBezTo>
                    <a:pt x="16748" y="629"/>
                    <a:pt x="16859" y="482"/>
                    <a:pt x="16859" y="334"/>
                  </a:cubicBezTo>
                  <a:cubicBezTo>
                    <a:pt x="16859" y="149"/>
                    <a:pt x="16748" y="1"/>
                    <a:pt x="1656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2" name="Google Shape;2002;p37"/>
            <p:cNvSpPr/>
            <p:nvPr/>
          </p:nvSpPr>
          <p:spPr>
            <a:xfrm>
              <a:off x="1902750" y="2663150"/>
              <a:ext cx="1494575" cy="451550"/>
            </a:xfrm>
            <a:custGeom>
              <a:avLst/>
              <a:gdLst/>
              <a:ahLst/>
              <a:cxnLst/>
              <a:rect l="l" t="t" r="r" b="b"/>
              <a:pathLst>
                <a:path w="59783" h="18062" extrusionOk="0">
                  <a:moveTo>
                    <a:pt x="59431" y="1"/>
                  </a:moveTo>
                  <a:cubicBezTo>
                    <a:pt x="59357" y="1"/>
                    <a:pt x="59283" y="29"/>
                    <a:pt x="59228" y="84"/>
                  </a:cubicBezTo>
                  <a:lnTo>
                    <a:pt x="45585" y="14466"/>
                  </a:lnTo>
                  <a:lnTo>
                    <a:pt x="33052" y="5001"/>
                  </a:lnTo>
                  <a:cubicBezTo>
                    <a:pt x="33003" y="4968"/>
                    <a:pt x="32945" y="4950"/>
                    <a:pt x="32887" y="4950"/>
                  </a:cubicBezTo>
                  <a:cubicBezTo>
                    <a:pt x="32816" y="4950"/>
                    <a:pt x="32744" y="4977"/>
                    <a:pt x="32683" y="5038"/>
                  </a:cubicBezTo>
                  <a:lnTo>
                    <a:pt x="24290" y="12654"/>
                  </a:lnTo>
                  <a:lnTo>
                    <a:pt x="14345" y="3707"/>
                  </a:lnTo>
                  <a:cubicBezTo>
                    <a:pt x="14294" y="3656"/>
                    <a:pt x="14226" y="3628"/>
                    <a:pt x="14154" y="3628"/>
                  </a:cubicBezTo>
                  <a:cubicBezTo>
                    <a:pt x="14071" y="3628"/>
                    <a:pt x="13981" y="3665"/>
                    <a:pt x="13902" y="3744"/>
                  </a:cubicBezTo>
                  <a:lnTo>
                    <a:pt x="112" y="17534"/>
                  </a:lnTo>
                  <a:cubicBezTo>
                    <a:pt x="1" y="17645"/>
                    <a:pt x="1" y="17830"/>
                    <a:pt x="112" y="17978"/>
                  </a:cubicBezTo>
                  <a:cubicBezTo>
                    <a:pt x="167" y="18033"/>
                    <a:pt x="250" y="18061"/>
                    <a:pt x="333" y="18061"/>
                  </a:cubicBezTo>
                  <a:cubicBezTo>
                    <a:pt x="417" y="18061"/>
                    <a:pt x="500" y="18033"/>
                    <a:pt x="555" y="17978"/>
                  </a:cubicBezTo>
                  <a:lnTo>
                    <a:pt x="14160" y="4373"/>
                  </a:lnTo>
                  <a:lnTo>
                    <a:pt x="24069" y="13283"/>
                  </a:lnTo>
                  <a:cubicBezTo>
                    <a:pt x="24142" y="13338"/>
                    <a:pt x="24216" y="13366"/>
                    <a:pt x="24290" y="13366"/>
                  </a:cubicBezTo>
                  <a:cubicBezTo>
                    <a:pt x="24364" y="13366"/>
                    <a:pt x="24438" y="13338"/>
                    <a:pt x="24512" y="13283"/>
                  </a:cubicBezTo>
                  <a:lnTo>
                    <a:pt x="32905" y="5667"/>
                  </a:lnTo>
                  <a:lnTo>
                    <a:pt x="45438" y="15131"/>
                  </a:lnTo>
                  <a:cubicBezTo>
                    <a:pt x="45504" y="15164"/>
                    <a:pt x="45578" y="15183"/>
                    <a:pt x="45646" y="15183"/>
                  </a:cubicBezTo>
                  <a:cubicBezTo>
                    <a:pt x="45729" y="15183"/>
                    <a:pt x="45804" y="15155"/>
                    <a:pt x="45844" y="15094"/>
                  </a:cubicBezTo>
                  <a:lnTo>
                    <a:pt x="59671" y="528"/>
                  </a:lnTo>
                  <a:cubicBezTo>
                    <a:pt x="59782" y="380"/>
                    <a:pt x="59782" y="195"/>
                    <a:pt x="59634" y="84"/>
                  </a:cubicBezTo>
                  <a:cubicBezTo>
                    <a:pt x="59579" y="29"/>
                    <a:pt x="59505" y="1"/>
                    <a:pt x="59431"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3" name="Google Shape;2003;p37"/>
            <p:cNvSpPr/>
            <p:nvPr/>
          </p:nvSpPr>
          <p:spPr>
            <a:xfrm>
              <a:off x="2210525" y="2716075"/>
              <a:ext cx="91525" cy="91525"/>
            </a:xfrm>
            <a:custGeom>
              <a:avLst/>
              <a:gdLst/>
              <a:ahLst/>
              <a:cxnLst/>
              <a:rect l="l" t="t" r="r" b="b"/>
              <a:pathLst>
                <a:path w="3661" h="3661" extrusionOk="0">
                  <a:moveTo>
                    <a:pt x="1812" y="0"/>
                  </a:moveTo>
                  <a:cubicBezTo>
                    <a:pt x="814" y="0"/>
                    <a:pt x="1" y="814"/>
                    <a:pt x="1" y="1812"/>
                  </a:cubicBezTo>
                  <a:cubicBezTo>
                    <a:pt x="1" y="2847"/>
                    <a:pt x="814" y="3661"/>
                    <a:pt x="1812" y="3661"/>
                  </a:cubicBezTo>
                  <a:cubicBezTo>
                    <a:pt x="2848" y="3661"/>
                    <a:pt x="3661" y="2847"/>
                    <a:pt x="3661" y="1812"/>
                  </a:cubicBezTo>
                  <a:cubicBezTo>
                    <a:pt x="3661" y="814"/>
                    <a:pt x="2848" y="0"/>
                    <a:pt x="1812"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4" name="Google Shape;2004;p37"/>
            <p:cNvSpPr/>
            <p:nvPr/>
          </p:nvSpPr>
          <p:spPr>
            <a:xfrm>
              <a:off x="2203150" y="2708675"/>
              <a:ext cx="106300" cy="106325"/>
            </a:xfrm>
            <a:custGeom>
              <a:avLst/>
              <a:gdLst/>
              <a:ahLst/>
              <a:cxnLst/>
              <a:rect l="l" t="t" r="r" b="b"/>
              <a:pathLst>
                <a:path w="4252" h="4253" extrusionOk="0">
                  <a:moveTo>
                    <a:pt x="2107" y="629"/>
                  </a:moveTo>
                  <a:cubicBezTo>
                    <a:pt x="2958" y="629"/>
                    <a:pt x="3623" y="1295"/>
                    <a:pt x="3623" y="2108"/>
                  </a:cubicBezTo>
                  <a:cubicBezTo>
                    <a:pt x="3623" y="2958"/>
                    <a:pt x="2958" y="3624"/>
                    <a:pt x="2107" y="3624"/>
                  </a:cubicBezTo>
                  <a:cubicBezTo>
                    <a:pt x="1294" y="3624"/>
                    <a:pt x="592" y="2958"/>
                    <a:pt x="592" y="2108"/>
                  </a:cubicBezTo>
                  <a:cubicBezTo>
                    <a:pt x="592" y="1295"/>
                    <a:pt x="1294" y="629"/>
                    <a:pt x="2107" y="629"/>
                  </a:cubicBezTo>
                  <a:close/>
                  <a:moveTo>
                    <a:pt x="2107" y="1"/>
                  </a:moveTo>
                  <a:cubicBezTo>
                    <a:pt x="924" y="1"/>
                    <a:pt x="0" y="962"/>
                    <a:pt x="0" y="2108"/>
                  </a:cubicBezTo>
                  <a:cubicBezTo>
                    <a:pt x="0" y="3291"/>
                    <a:pt x="924" y="4252"/>
                    <a:pt x="2107" y="4252"/>
                  </a:cubicBezTo>
                  <a:cubicBezTo>
                    <a:pt x="3291" y="4252"/>
                    <a:pt x="4252" y="3291"/>
                    <a:pt x="4252" y="2108"/>
                  </a:cubicBezTo>
                  <a:cubicBezTo>
                    <a:pt x="4252" y="962"/>
                    <a:pt x="3291" y="1"/>
                    <a:pt x="2107"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5" name="Google Shape;2005;p37"/>
            <p:cNvSpPr/>
            <p:nvPr/>
          </p:nvSpPr>
          <p:spPr>
            <a:xfrm>
              <a:off x="2679125" y="2748425"/>
              <a:ext cx="91550" cy="91525"/>
            </a:xfrm>
            <a:custGeom>
              <a:avLst/>
              <a:gdLst/>
              <a:ahLst/>
              <a:cxnLst/>
              <a:rect l="l" t="t" r="r" b="b"/>
              <a:pathLst>
                <a:path w="3662" h="3661" extrusionOk="0">
                  <a:moveTo>
                    <a:pt x="1813" y="0"/>
                  </a:moveTo>
                  <a:cubicBezTo>
                    <a:pt x="814" y="0"/>
                    <a:pt x="1" y="814"/>
                    <a:pt x="1" y="1849"/>
                  </a:cubicBezTo>
                  <a:cubicBezTo>
                    <a:pt x="1" y="2847"/>
                    <a:pt x="814" y="3661"/>
                    <a:pt x="1813" y="3661"/>
                  </a:cubicBezTo>
                  <a:cubicBezTo>
                    <a:pt x="2848" y="3661"/>
                    <a:pt x="3661" y="2847"/>
                    <a:pt x="3661" y="1849"/>
                  </a:cubicBezTo>
                  <a:cubicBezTo>
                    <a:pt x="3661" y="814"/>
                    <a:pt x="2848" y="0"/>
                    <a:pt x="1813"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6" name="Google Shape;2006;p37"/>
            <p:cNvSpPr/>
            <p:nvPr/>
          </p:nvSpPr>
          <p:spPr>
            <a:xfrm>
              <a:off x="2671750" y="2741025"/>
              <a:ext cx="106300" cy="106325"/>
            </a:xfrm>
            <a:custGeom>
              <a:avLst/>
              <a:gdLst/>
              <a:ahLst/>
              <a:cxnLst/>
              <a:rect l="l" t="t" r="r" b="b"/>
              <a:pathLst>
                <a:path w="4252" h="4253" extrusionOk="0">
                  <a:moveTo>
                    <a:pt x="2108" y="629"/>
                  </a:moveTo>
                  <a:cubicBezTo>
                    <a:pt x="2958" y="629"/>
                    <a:pt x="3623" y="1295"/>
                    <a:pt x="3623" y="2145"/>
                  </a:cubicBezTo>
                  <a:cubicBezTo>
                    <a:pt x="3623" y="2958"/>
                    <a:pt x="2958" y="3661"/>
                    <a:pt x="2108" y="3661"/>
                  </a:cubicBezTo>
                  <a:cubicBezTo>
                    <a:pt x="1294" y="3661"/>
                    <a:pt x="592" y="2958"/>
                    <a:pt x="592" y="2145"/>
                  </a:cubicBezTo>
                  <a:cubicBezTo>
                    <a:pt x="592" y="1295"/>
                    <a:pt x="1294" y="629"/>
                    <a:pt x="2108" y="629"/>
                  </a:cubicBezTo>
                  <a:close/>
                  <a:moveTo>
                    <a:pt x="2108" y="1"/>
                  </a:moveTo>
                  <a:cubicBezTo>
                    <a:pt x="961" y="1"/>
                    <a:pt x="0" y="962"/>
                    <a:pt x="0" y="2145"/>
                  </a:cubicBezTo>
                  <a:cubicBezTo>
                    <a:pt x="0" y="3328"/>
                    <a:pt x="961" y="4252"/>
                    <a:pt x="2108" y="4252"/>
                  </a:cubicBezTo>
                  <a:cubicBezTo>
                    <a:pt x="3291" y="4252"/>
                    <a:pt x="4252" y="3328"/>
                    <a:pt x="4252" y="2145"/>
                  </a:cubicBezTo>
                  <a:cubicBezTo>
                    <a:pt x="4252" y="962"/>
                    <a:pt x="3291" y="1"/>
                    <a:pt x="2108"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7" name="Google Shape;2007;p37"/>
            <p:cNvSpPr/>
            <p:nvPr/>
          </p:nvSpPr>
          <p:spPr>
            <a:xfrm>
              <a:off x="2998000" y="2989650"/>
              <a:ext cx="91525" cy="91525"/>
            </a:xfrm>
            <a:custGeom>
              <a:avLst/>
              <a:gdLst/>
              <a:ahLst/>
              <a:cxnLst/>
              <a:rect l="l" t="t" r="r" b="b"/>
              <a:pathLst>
                <a:path w="3661" h="3661" extrusionOk="0">
                  <a:moveTo>
                    <a:pt x="1812" y="1"/>
                  </a:moveTo>
                  <a:cubicBezTo>
                    <a:pt x="814" y="1"/>
                    <a:pt x="1" y="814"/>
                    <a:pt x="1" y="1812"/>
                  </a:cubicBezTo>
                  <a:cubicBezTo>
                    <a:pt x="1" y="2811"/>
                    <a:pt x="814" y="3661"/>
                    <a:pt x="1812" y="3661"/>
                  </a:cubicBezTo>
                  <a:cubicBezTo>
                    <a:pt x="2848" y="3661"/>
                    <a:pt x="3661" y="2811"/>
                    <a:pt x="3661" y="1812"/>
                  </a:cubicBezTo>
                  <a:cubicBezTo>
                    <a:pt x="3661" y="814"/>
                    <a:pt x="2848" y="1"/>
                    <a:pt x="1812"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8" name="Google Shape;2008;p37"/>
            <p:cNvSpPr/>
            <p:nvPr/>
          </p:nvSpPr>
          <p:spPr>
            <a:xfrm>
              <a:off x="2990625" y="2982275"/>
              <a:ext cx="106300" cy="106300"/>
            </a:xfrm>
            <a:custGeom>
              <a:avLst/>
              <a:gdLst/>
              <a:ahLst/>
              <a:cxnLst/>
              <a:rect l="l" t="t" r="r" b="b"/>
              <a:pathLst>
                <a:path w="4252" h="4252" extrusionOk="0">
                  <a:moveTo>
                    <a:pt x="2107" y="592"/>
                  </a:moveTo>
                  <a:cubicBezTo>
                    <a:pt x="2958" y="592"/>
                    <a:pt x="3623" y="1294"/>
                    <a:pt x="3623" y="2107"/>
                  </a:cubicBezTo>
                  <a:cubicBezTo>
                    <a:pt x="3623" y="2958"/>
                    <a:pt x="2958" y="3623"/>
                    <a:pt x="2107" y="3623"/>
                  </a:cubicBezTo>
                  <a:cubicBezTo>
                    <a:pt x="1294" y="3623"/>
                    <a:pt x="592" y="2958"/>
                    <a:pt x="592" y="2107"/>
                  </a:cubicBezTo>
                  <a:cubicBezTo>
                    <a:pt x="592" y="1294"/>
                    <a:pt x="1294" y="592"/>
                    <a:pt x="2107" y="592"/>
                  </a:cubicBezTo>
                  <a:close/>
                  <a:moveTo>
                    <a:pt x="2107" y="0"/>
                  </a:moveTo>
                  <a:cubicBezTo>
                    <a:pt x="961" y="0"/>
                    <a:pt x="0" y="924"/>
                    <a:pt x="0" y="2107"/>
                  </a:cubicBezTo>
                  <a:cubicBezTo>
                    <a:pt x="0" y="3290"/>
                    <a:pt x="961" y="4252"/>
                    <a:pt x="2107" y="4252"/>
                  </a:cubicBezTo>
                  <a:cubicBezTo>
                    <a:pt x="3290" y="4252"/>
                    <a:pt x="4252" y="3290"/>
                    <a:pt x="4252" y="2107"/>
                  </a:cubicBezTo>
                  <a:cubicBezTo>
                    <a:pt x="4252" y="924"/>
                    <a:pt x="3290" y="0"/>
                    <a:pt x="2107"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09" name="Google Shape;2009;p37"/>
            <p:cNvSpPr/>
            <p:nvPr/>
          </p:nvSpPr>
          <p:spPr>
            <a:xfrm>
              <a:off x="3336300" y="2625500"/>
              <a:ext cx="91525" cy="90600"/>
            </a:xfrm>
            <a:custGeom>
              <a:avLst/>
              <a:gdLst/>
              <a:ahLst/>
              <a:cxnLst/>
              <a:rect l="l" t="t" r="r" b="b"/>
              <a:pathLst>
                <a:path w="3661" h="3624" extrusionOk="0">
                  <a:moveTo>
                    <a:pt x="1849" y="0"/>
                  </a:moveTo>
                  <a:cubicBezTo>
                    <a:pt x="813" y="0"/>
                    <a:pt x="0" y="814"/>
                    <a:pt x="0" y="1812"/>
                  </a:cubicBezTo>
                  <a:cubicBezTo>
                    <a:pt x="0" y="2810"/>
                    <a:pt x="813" y="3623"/>
                    <a:pt x="1849" y="3623"/>
                  </a:cubicBezTo>
                  <a:cubicBezTo>
                    <a:pt x="2847" y="3623"/>
                    <a:pt x="3660" y="2810"/>
                    <a:pt x="3660" y="1812"/>
                  </a:cubicBezTo>
                  <a:cubicBezTo>
                    <a:pt x="3660" y="814"/>
                    <a:pt x="2847" y="0"/>
                    <a:pt x="1849"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0" name="Google Shape;2010;p37"/>
            <p:cNvSpPr/>
            <p:nvPr/>
          </p:nvSpPr>
          <p:spPr>
            <a:xfrm>
              <a:off x="3328900" y="2617175"/>
              <a:ext cx="106300" cy="107250"/>
            </a:xfrm>
            <a:custGeom>
              <a:avLst/>
              <a:gdLst/>
              <a:ahLst/>
              <a:cxnLst/>
              <a:rect l="l" t="t" r="r" b="b"/>
              <a:pathLst>
                <a:path w="4252" h="4290" extrusionOk="0">
                  <a:moveTo>
                    <a:pt x="2145" y="629"/>
                  </a:moveTo>
                  <a:cubicBezTo>
                    <a:pt x="2958" y="629"/>
                    <a:pt x="3660" y="1295"/>
                    <a:pt x="3660" y="2145"/>
                  </a:cubicBezTo>
                  <a:cubicBezTo>
                    <a:pt x="3660" y="2995"/>
                    <a:pt x="2958" y="3661"/>
                    <a:pt x="2145" y="3661"/>
                  </a:cubicBezTo>
                  <a:cubicBezTo>
                    <a:pt x="1294" y="3661"/>
                    <a:pt x="629" y="2995"/>
                    <a:pt x="629" y="2145"/>
                  </a:cubicBezTo>
                  <a:cubicBezTo>
                    <a:pt x="629" y="1295"/>
                    <a:pt x="1294" y="629"/>
                    <a:pt x="2145" y="629"/>
                  </a:cubicBezTo>
                  <a:close/>
                  <a:moveTo>
                    <a:pt x="2145" y="1"/>
                  </a:moveTo>
                  <a:cubicBezTo>
                    <a:pt x="962" y="1"/>
                    <a:pt x="0" y="962"/>
                    <a:pt x="0" y="2145"/>
                  </a:cubicBezTo>
                  <a:cubicBezTo>
                    <a:pt x="0" y="3328"/>
                    <a:pt x="962" y="4289"/>
                    <a:pt x="2145" y="4289"/>
                  </a:cubicBezTo>
                  <a:cubicBezTo>
                    <a:pt x="3291" y="4289"/>
                    <a:pt x="4252" y="3328"/>
                    <a:pt x="4252" y="2145"/>
                  </a:cubicBezTo>
                  <a:cubicBezTo>
                    <a:pt x="4252" y="962"/>
                    <a:pt x="3291" y="1"/>
                    <a:pt x="2145"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1" name="Google Shape;2011;p37"/>
            <p:cNvSpPr/>
            <p:nvPr/>
          </p:nvSpPr>
          <p:spPr>
            <a:xfrm>
              <a:off x="1865775" y="3060825"/>
              <a:ext cx="90600" cy="91525"/>
            </a:xfrm>
            <a:custGeom>
              <a:avLst/>
              <a:gdLst/>
              <a:ahLst/>
              <a:cxnLst/>
              <a:rect l="l" t="t" r="r" b="b"/>
              <a:pathLst>
                <a:path w="3624" h="3661" extrusionOk="0">
                  <a:moveTo>
                    <a:pt x="1812" y="1"/>
                  </a:moveTo>
                  <a:cubicBezTo>
                    <a:pt x="814" y="1"/>
                    <a:pt x="1" y="814"/>
                    <a:pt x="1" y="1849"/>
                  </a:cubicBezTo>
                  <a:cubicBezTo>
                    <a:pt x="1" y="2847"/>
                    <a:pt x="814" y="3661"/>
                    <a:pt x="1812" y="3661"/>
                  </a:cubicBezTo>
                  <a:cubicBezTo>
                    <a:pt x="2811" y="3661"/>
                    <a:pt x="3624" y="2847"/>
                    <a:pt x="3624" y="1849"/>
                  </a:cubicBezTo>
                  <a:cubicBezTo>
                    <a:pt x="3624" y="814"/>
                    <a:pt x="2811" y="1"/>
                    <a:pt x="1812"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2" name="Google Shape;2012;p37"/>
            <p:cNvSpPr/>
            <p:nvPr/>
          </p:nvSpPr>
          <p:spPr>
            <a:xfrm>
              <a:off x="1857475" y="3053425"/>
              <a:ext cx="107225" cy="106325"/>
            </a:xfrm>
            <a:custGeom>
              <a:avLst/>
              <a:gdLst/>
              <a:ahLst/>
              <a:cxnLst/>
              <a:rect l="l" t="t" r="r" b="b"/>
              <a:pathLst>
                <a:path w="4289" h="4253" extrusionOk="0">
                  <a:moveTo>
                    <a:pt x="2144" y="629"/>
                  </a:moveTo>
                  <a:cubicBezTo>
                    <a:pt x="2995" y="629"/>
                    <a:pt x="3660" y="1295"/>
                    <a:pt x="3660" y="2145"/>
                  </a:cubicBezTo>
                  <a:cubicBezTo>
                    <a:pt x="3660" y="2958"/>
                    <a:pt x="2995" y="3661"/>
                    <a:pt x="2144" y="3661"/>
                  </a:cubicBezTo>
                  <a:cubicBezTo>
                    <a:pt x="1294" y="3661"/>
                    <a:pt x="629" y="2958"/>
                    <a:pt x="629" y="2145"/>
                  </a:cubicBezTo>
                  <a:cubicBezTo>
                    <a:pt x="629" y="1295"/>
                    <a:pt x="1294" y="629"/>
                    <a:pt x="2144" y="629"/>
                  </a:cubicBezTo>
                  <a:close/>
                  <a:moveTo>
                    <a:pt x="2144" y="1"/>
                  </a:moveTo>
                  <a:cubicBezTo>
                    <a:pt x="961" y="1"/>
                    <a:pt x="0" y="962"/>
                    <a:pt x="0" y="2145"/>
                  </a:cubicBezTo>
                  <a:cubicBezTo>
                    <a:pt x="0" y="3328"/>
                    <a:pt x="961" y="4252"/>
                    <a:pt x="2144" y="4252"/>
                  </a:cubicBezTo>
                  <a:cubicBezTo>
                    <a:pt x="3327" y="4252"/>
                    <a:pt x="4289" y="3328"/>
                    <a:pt x="4289" y="2145"/>
                  </a:cubicBezTo>
                  <a:cubicBezTo>
                    <a:pt x="4289" y="962"/>
                    <a:pt x="3327" y="1"/>
                    <a:pt x="2144"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3" name="Google Shape;2013;p37"/>
            <p:cNvSpPr/>
            <p:nvPr/>
          </p:nvSpPr>
          <p:spPr>
            <a:xfrm>
              <a:off x="2464700" y="2931425"/>
              <a:ext cx="90600" cy="90600"/>
            </a:xfrm>
            <a:custGeom>
              <a:avLst/>
              <a:gdLst/>
              <a:ahLst/>
              <a:cxnLst/>
              <a:rect l="l" t="t" r="r" b="b"/>
              <a:pathLst>
                <a:path w="3624" h="3624" extrusionOk="0">
                  <a:moveTo>
                    <a:pt x="1812" y="1"/>
                  </a:moveTo>
                  <a:cubicBezTo>
                    <a:pt x="814" y="1"/>
                    <a:pt x="1" y="814"/>
                    <a:pt x="1" y="1812"/>
                  </a:cubicBezTo>
                  <a:cubicBezTo>
                    <a:pt x="1" y="2810"/>
                    <a:pt x="814" y="3624"/>
                    <a:pt x="1812" y="3624"/>
                  </a:cubicBezTo>
                  <a:cubicBezTo>
                    <a:pt x="2811" y="3624"/>
                    <a:pt x="3624" y="2810"/>
                    <a:pt x="3624" y="1812"/>
                  </a:cubicBezTo>
                  <a:cubicBezTo>
                    <a:pt x="3624" y="814"/>
                    <a:pt x="2811" y="1"/>
                    <a:pt x="1812"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4" name="Google Shape;2014;p37"/>
            <p:cNvSpPr/>
            <p:nvPr/>
          </p:nvSpPr>
          <p:spPr>
            <a:xfrm>
              <a:off x="2456400" y="2923100"/>
              <a:ext cx="107225" cy="106325"/>
            </a:xfrm>
            <a:custGeom>
              <a:avLst/>
              <a:gdLst/>
              <a:ahLst/>
              <a:cxnLst/>
              <a:rect l="l" t="t" r="r" b="b"/>
              <a:pathLst>
                <a:path w="4289" h="4253" extrusionOk="0">
                  <a:moveTo>
                    <a:pt x="2144" y="629"/>
                  </a:moveTo>
                  <a:cubicBezTo>
                    <a:pt x="2995" y="629"/>
                    <a:pt x="3660" y="1295"/>
                    <a:pt x="3660" y="2145"/>
                  </a:cubicBezTo>
                  <a:cubicBezTo>
                    <a:pt x="3660" y="2959"/>
                    <a:pt x="2995" y="3661"/>
                    <a:pt x="2144" y="3661"/>
                  </a:cubicBezTo>
                  <a:cubicBezTo>
                    <a:pt x="1294" y="3661"/>
                    <a:pt x="629" y="2959"/>
                    <a:pt x="629" y="2145"/>
                  </a:cubicBezTo>
                  <a:cubicBezTo>
                    <a:pt x="629" y="1295"/>
                    <a:pt x="1294" y="629"/>
                    <a:pt x="2144" y="629"/>
                  </a:cubicBezTo>
                  <a:close/>
                  <a:moveTo>
                    <a:pt x="2144" y="1"/>
                  </a:moveTo>
                  <a:cubicBezTo>
                    <a:pt x="961" y="1"/>
                    <a:pt x="0" y="962"/>
                    <a:pt x="0" y="2145"/>
                  </a:cubicBezTo>
                  <a:cubicBezTo>
                    <a:pt x="0" y="3328"/>
                    <a:pt x="961" y="4253"/>
                    <a:pt x="2144" y="4253"/>
                  </a:cubicBezTo>
                  <a:cubicBezTo>
                    <a:pt x="3327" y="4253"/>
                    <a:pt x="4289" y="3328"/>
                    <a:pt x="4289" y="2145"/>
                  </a:cubicBezTo>
                  <a:cubicBezTo>
                    <a:pt x="4289" y="962"/>
                    <a:pt x="3327" y="1"/>
                    <a:pt x="2144"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5" name="Google Shape;2015;p37"/>
            <p:cNvSpPr/>
            <p:nvPr/>
          </p:nvSpPr>
          <p:spPr>
            <a:xfrm>
              <a:off x="3707850" y="1843575"/>
              <a:ext cx="52700" cy="1651675"/>
            </a:xfrm>
            <a:custGeom>
              <a:avLst/>
              <a:gdLst/>
              <a:ahLst/>
              <a:cxnLst/>
              <a:rect l="l" t="t" r="r" b="b"/>
              <a:pathLst>
                <a:path w="2108" h="66067" extrusionOk="0">
                  <a:moveTo>
                    <a:pt x="1035" y="0"/>
                  </a:moveTo>
                  <a:cubicBezTo>
                    <a:pt x="481" y="0"/>
                    <a:pt x="0" y="481"/>
                    <a:pt x="0" y="1072"/>
                  </a:cubicBezTo>
                  <a:lnTo>
                    <a:pt x="0" y="65032"/>
                  </a:lnTo>
                  <a:cubicBezTo>
                    <a:pt x="0" y="65586"/>
                    <a:pt x="481" y="66067"/>
                    <a:pt x="1035" y="66067"/>
                  </a:cubicBezTo>
                  <a:cubicBezTo>
                    <a:pt x="1627" y="66067"/>
                    <a:pt x="2108" y="65586"/>
                    <a:pt x="2108" y="65032"/>
                  </a:cubicBezTo>
                  <a:lnTo>
                    <a:pt x="2108" y="1072"/>
                  </a:lnTo>
                  <a:cubicBezTo>
                    <a:pt x="2108" y="481"/>
                    <a:pt x="1627" y="0"/>
                    <a:pt x="1035"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6" name="Google Shape;2016;p37"/>
            <p:cNvSpPr/>
            <p:nvPr/>
          </p:nvSpPr>
          <p:spPr>
            <a:xfrm>
              <a:off x="3700450" y="1836175"/>
              <a:ext cx="67500" cy="1666475"/>
            </a:xfrm>
            <a:custGeom>
              <a:avLst/>
              <a:gdLst/>
              <a:ahLst/>
              <a:cxnLst/>
              <a:rect l="l" t="t" r="r" b="b"/>
              <a:pathLst>
                <a:path w="2700" h="66659" extrusionOk="0">
                  <a:moveTo>
                    <a:pt x="1331" y="629"/>
                  </a:moveTo>
                  <a:cubicBezTo>
                    <a:pt x="1738" y="629"/>
                    <a:pt x="2071" y="962"/>
                    <a:pt x="2071" y="1368"/>
                  </a:cubicBezTo>
                  <a:lnTo>
                    <a:pt x="2071" y="65328"/>
                  </a:lnTo>
                  <a:cubicBezTo>
                    <a:pt x="2071" y="65734"/>
                    <a:pt x="1738" y="66067"/>
                    <a:pt x="1331" y="66067"/>
                  </a:cubicBezTo>
                  <a:cubicBezTo>
                    <a:pt x="925" y="66067"/>
                    <a:pt x="592" y="65734"/>
                    <a:pt x="592" y="65328"/>
                  </a:cubicBezTo>
                  <a:lnTo>
                    <a:pt x="592" y="1368"/>
                  </a:lnTo>
                  <a:cubicBezTo>
                    <a:pt x="592" y="962"/>
                    <a:pt x="925" y="629"/>
                    <a:pt x="1331" y="629"/>
                  </a:cubicBezTo>
                  <a:close/>
                  <a:moveTo>
                    <a:pt x="1331" y="0"/>
                  </a:moveTo>
                  <a:cubicBezTo>
                    <a:pt x="592" y="0"/>
                    <a:pt x="0" y="592"/>
                    <a:pt x="0" y="1368"/>
                  </a:cubicBezTo>
                  <a:lnTo>
                    <a:pt x="0" y="65328"/>
                  </a:lnTo>
                  <a:cubicBezTo>
                    <a:pt x="0" y="66067"/>
                    <a:pt x="592" y="66659"/>
                    <a:pt x="1331" y="66659"/>
                  </a:cubicBezTo>
                  <a:cubicBezTo>
                    <a:pt x="2108" y="66659"/>
                    <a:pt x="2699" y="66067"/>
                    <a:pt x="2699" y="65328"/>
                  </a:cubicBezTo>
                  <a:lnTo>
                    <a:pt x="2699" y="1368"/>
                  </a:lnTo>
                  <a:cubicBezTo>
                    <a:pt x="2699" y="592"/>
                    <a:pt x="2108" y="0"/>
                    <a:pt x="1331"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7" name="Google Shape;2017;p37"/>
            <p:cNvSpPr/>
            <p:nvPr/>
          </p:nvSpPr>
          <p:spPr>
            <a:xfrm>
              <a:off x="4015625" y="2157825"/>
              <a:ext cx="307800" cy="14800"/>
            </a:xfrm>
            <a:custGeom>
              <a:avLst/>
              <a:gdLst/>
              <a:ahLst/>
              <a:cxnLst/>
              <a:rect l="l" t="t" r="r" b="b"/>
              <a:pathLst>
                <a:path w="12312" h="592" extrusionOk="0">
                  <a:moveTo>
                    <a:pt x="296" y="0"/>
                  </a:moveTo>
                  <a:cubicBezTo>
                    <a:pt x="111" y="0"/>
                    <a:pt x="0" y="111"/>
                    <a:pt x="0" y="296"/>
                  </a:cubicBezTo>
                  <a:cubicBezTo>
                    <a:pt x="0" y="481"/>
                    <a:pt x="111" y="592"/>
                    <a:pt x="296" y="592"/>
                  </a:cubicBezTo>
                  <a:lnTo>
                    <a:pt x="12016" y="592"/>
                  </a:lnTo>
                  <a:cubicBezTo>
                    <a:pt x="12201" y="592"/>
                    <a:pt x="12312" y="481"/>
                    <a:pt x="12312" y="296"/>
                  </a:cubicBezTo>
                  <a:cubicBezTo>
                    <a:pt x="12312" y="111"/>
                    <a:pt x="12201" y="0"/>
                    <a:pt x="12016"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8" name="Google Shape;2018;p37"/>
            <p:cNvSpPr/>
            <p:nvPr/>
          </p:nvSpPr>
          <p:spPr>
            <a:xfrm>
              <a:off x="3805825" y="2157825"/>
              <a:ext cx="118325" cy="14800"/>
            </a:xfrm>
            <a:custGeom>
              <a:avLst/>
              <a:gdLst/>
              <a:ahLst/>
              <a:cxnLst/>
              <a:rect l="l" t="t" r="r" b="b"/>
              <a:pathLst>
                <a:path w="4733" h="592" extrusionOk="0">
                  <a:moveTo>
                    <a:pt x="333" y="0"/>
                  </a:moveTo>
                  <a:cubicBezTo>
                    <a:pt x="148" y="0"/>
                    <a:pt x="0" y="111"/>
                    <a:pt x="0" y="296"/>
                  </a:cubicBezTo>
                  <a:cubicBezTo>
                    <a:pt x="0" y="481"/>
                    <a:pt x="148" y="592"/>
                    <a:pt x="333" y="592"/>
                  </a:cubicBezTo>
                  <a:lnTo>
                    <a:pt x="4400" y="592"/>
                  </a:lnTo>
                  <a:cubicBezTo>
                    <a:pt x="4584" y="592"/>
                    <a:pt x="4732" y="481"/>
                    <a:pt x="4732" y="296"/>
                  </a:cubicBezTo>
                  <a:cubicBezTo>
                    <a:pt x="4732" y="111"/>
                    <a:pt x="4584" y="0"/>
                    <a:pt x="4400"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19" name="Google Shape;2019;p37"/>
            <p:cNvSpPr/>
            <p:nvPr/>
          </p:nvSpPr>
          <p:spPr>
            <a:xfrm>
              <a:off x="4256850" y="2234525"/>
              <a:ext cx="66575" cy="15750"/>
            </a:xfrm>
            <a:custGeom>
              <a:avLst/>
              <a:gdLst/>
              <a:ahLst/>
              <a:cxnLst/>
              <a:rect l="l" t="t" r="r" b="b"/>
              <a:pathLst>
                <a:path w="2663" h="630" extrusionOk="0">
                  <a:moveTo>
                    <a:pt x="334" y="1"/>
                  </a:moveTo>
                  <a:cubicBezTo>
                    <a:pt x="149" y="1"/>
                    <a:pt x="1" y="149"/>
                    <a:pt x="1" y="333"/>
                  </a:cubicBezTo>
                  <a:cubicBezTo>
                    <a:pt x="1" y="481"/>
                    <a:pt x="149" y="629"/>
                    <a:pt x="334" y="629"/>
                  </a:cubicBezTo>
                  <a:lnTo>
                    <a:pt x="2367" y="629"/>
                  </a:lnTo>
                  <a:cubicBezTo>
                    <a:pt x="2552" y="629"/>
                    <a:pt x="2663" y="481"/>
                    <a:pt x="2663" y="333"/>
                  </a:cubicBezTo>
                  <a:cubicBezTo>
                    <a:pt x="2663" y="149"/>
                    <a:pt x="2552" y="1"/>
                    <a:pt x="2367"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0" name="Google Shape;2020;p37"/>
            <p:cNvSpPr/>
            <p:nvPr/>
          </p:nvSpPr>
          <p:spPr>
            <a:xfrm>
              <a:off x="4112675" y="2234525"/>
              <a:ext cx="118325" cy="15750"/>
            </a:xfrm>
            <a:custGeom>
              <a:avLst/>
              <a:gdLst/>
              <a:ahLst/>
              <a:cxnLst/>
              <a:rect l="l" t="t" r="r" b="b"/>
              <a:pathLst>
                <a:path w="4733" h="630" extrusionOk="0">
                  <a:moveTo>
                    <a:pt x="333" y="1"/>
                  </a:moveTo>
                  <a:cubicBezTo>
                    <a:pt x="148" y="1"/>
                    <a:pt x="0" y="149"/>
                    <a:pt x="0" y="333"/>
                  </a:cubicBezTo>
                  <a:cubicBezTo>
                    <a:pt x="0" y="481"/>
                    <a:pt x="148" y="629"/>
                    <a:pt x="333" y="629"/>
                  </a:cubicBezTo>
                  <a:lnTo>
                    <a:pt x="4400" y="629"/>
                  </a:lnTo>
                  <a:cubicBezTo>
                    <a:pt x="4585" y="629"/>
                    <a:pt x="4733" y="481"/>
                    <a:pt x="4733" y="333"/>
                  </a:cubicBezTo>
                  <a:cubicBezTo>
                    <a:pt x="4733" y="149"/>
                    <a:pt x="4585" y="1"/>
                    <a:pt x="4400"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1" name="Google Shape;2021;p37"/>
            <p:cNvSpPr/>
            <p:nvPr/>
          </p:nvSpPr>
          <p:spPr>
            <a:xfrm>
              <a:off x="3805825" y="2234525"/>
              <a:ext cx="253275" cy="15750"/>
            </a:xfrm>
            <a:custGeom>
              <a:avLst/>
              <a:gdLst/>
              <a:ahLst/>
              <a:cxnLst/>
              <a:rect l="l" t="t" r="r" b="b"/>
              <a:pathLst>
                <a:path w="10131" h="630" extrusionOk="0">
                  <a:moveTo>
                    <a:pt x="333" y="1"/>
                  </a:moveTo>
                  <a:cubicBezTo>
                    <a:pt x="148" y="1"/>
                    <a:pt x="0" y="149"/>
                    <a:pt x="0" y="333"/>
                  </a:cubicBezTo>
                  <a:cubicBezTo>
                    <a:pt x="0" y="481"/>
                    <a:pt x="148" y="629"/>
                    <a:pt x="333" y="629"/>
                  </a:cubicBezTo>
                  <a:lnTo>
                    <a:pt x="9797" y="629"/>
                  </a:lnTo>
                  <a:cubicBezTo>
                    <a:pt x="9982" y="629"/>
                    <a:pt x="10130" y="481"/>
                    <a:pt x="10130" y="333"/>
                  </a:cubicBezTo>
                  <a:cubicBezTo>
                    <a:pt x="10130" y="149"/>
                    <a:pt x="9982" y="1"/>
                    <a:pt x="9797"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2" name="Google Shape;2022;p37"/>
            <p:cNvSpPr/>
            <p:nvPr/>
          </p:nvSpPr>
          <p:spPr>
            <a:xfrm>
              <a:off x="4047975" y="2312175"/>
              <a:ext cx="275450" cy="15725"/>
            </a:xfrm>
            <a:custGeom>
              <a:avLst/>
              <a:gdLst/>
              <a:ahLst/>
              <a:cxnLst/>
              <a:rect l="l" t="t" r="r" b="b"/>
              <a:pathLst>
                <a:path w="11018" h="629" extrusionOk="0">
                  <a:moveTo>
                    <a:pt x="296" y="0"/>
                  </a:moveTo>
                  <a:cubicBezTo>
                    <a:pt x="148" y="0"/>
                    <a:pt x="0" y="148"/>
                    <a:pt x="0" y="296"/>
                  </a:cubicBezTo>
                  <a:cubicBezTo>
                    <a:pt x="0" y="481"/>
                    <a:pt x="148" y="629"/>
                    <a:pt x="296" y="629"/>
                  </a:cubicBezTo>
                  <a:lnTo>
                    <a:pt x="10722" y="629"/>
                  </a:lnTo>
                  <a:cubicBezTo>
                    <a:pt x="10907" y="629"/>
                    <a:pt x="11018" y="481"/>
                    <a:pt x="11018" y="296"/>
                  </a:cubicBezTo>
                  <a:cubicBezTo>
                    <a:pt x="11018" y="148"/>
                    <a:pt x="10907" y="0"/>
                    <a:pt x="10722"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3" name="Google Shape;2023;p37"/>
            <p:cNvSpPr/>
            <p:nvPr/>
          </p:nvSpPr>
          <p:spPr>
            <a:xfrm>
              <a:off x="3805825" y="2312175"/>
              <a:ext cx="201500" cy="15725"/>
            </a:xfrm>
            <a:custGeom>
              <a:avLst/>
              <a:gdLst/>
              <a:ahLst/>
              <a:cxnLst/>
              <a:rect l="l" t="t" r="r" b="b"/>
              <a:pathLst>
                <a:path w="8060" h="629" extrusionOk="0">
                  <a:moveTo>
                    <a:pt x="333" y="0"/>
                  </a:moveTo>
                  <a:cubicBezTo>
                    <a:pt x="148" y="0"/>
                    <a:pt x="0" y="148"/>
                    <a:pt x="0" y="296"/>
                  </a:cubicBezTo>
                  <a:cubicBezTo>
                    <a:pt x="0" y="481"/>
                    <a:pt x="148" y="629"/>
                    <a:pt x="333" y="629"/>
                  </a:cubicBezTo>
                  <a:lnTo>
                    <a:pt x="7764" y="629"/>
                  </a:lnTo>
                  <a:cubicBezTo>
                    <a:pt x="7949" y="629"/>
                    <a:pt x="8060" y="481"/>
                    <a:pt x="8060" y="296"/>
                  </a:cubicBezTo>
                  <a:cubicBezTo>
                    <a:pt x="8060" y="148"/>
                    <a:pt x="7949" y="0"/>
                    <a:pt x="7764"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4" name="Google Shape;2024;p37"/>
            <p:cNvSpPr/>
            <p:nvPr/>
          </p:nvSpPr>
          <p:spPr>
            <a:xfrm>
              <a:off x="4196775" y="2389800"/>
              <a:ext cx="126650" cy="14825"/>
            </a:xfrm>
            <a:custGeom>
              <a:avLst/>
              <a:gdLst/>
              <a:ahLst/>
              <a:cxnLst/>
              <a:rect l="l" t="t" r="r" b="b"/>
              <a:pathLst>
                <a:path w="5066" h="593" extrusionOk="0">
                  <a:moveTo>
                    <a:pt x="296" y="1"/>
                  </a:moveTo>
                  <a:cubicBezTo>
                    <a:pt x="149" y="1"/>
                    <a:pt x="1" y="112"/>
                    <a:pt x="1" y="297"/>
                  </a:cubicBezTo>
                  <a:cubicBezTo>
                    <a:pt x="1" y="444"/>
                    <a:pt x="149" y="592"/>
                    <a:pt x="296" y="592"/>
                  </a:cubicBezTo>
                  <a:lnTo>
                    <a:pt x="4770" y="592"/>
                  </a:lnTo>
                  <a:cubicBezTo>
                    <a:pt x="4955" y="592"/>
                    <a:pt x="5066" y="444"/>
                    <a:pt x="5066" y="297"/>
                  </a:cubicBezTo>
                  <a:cubicBezTo>
                    <a:pt x="5066" y="112"/>
                    <a:pt x="4955" y="1"/>
                    <a:pt x="4770"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5" name="Google Shape;2025;p37"/>
            <p:cNvSpPr/>
            <p:nvPr/>
          </p:nvSpPr>
          <p:spPr>
            <a:xfrm>
              <a:off x="3917650" y="2389800"/>
              <a:ext cx="247725" cy="14825"/>
            </a:xfrm>
            <a:custGeom>
              <a:avLst/>
              <a:gdLst/>
              <a:ahLst/>
              <a:cxnLst/>
              <a:rect l="l" t="t" r="r" b="b"/>
              <a:pathLst>
                <a:path w="9909" h="593" extrusionOk="0">
                  <a:moveTo>
                    <a:pt x="296" y="1"/>
                  </a:moveTo>
                  <a:cubicBezTo>
                    <a:pt x="148" y="1"/>
                    <a:pt x="1" y="112"/>
                    <a:pt x="1" y="297"/>
                  </a:cubicBezTo>
                  <a:cubicBezTo>
                    <a:pt x="1" y="444"/>
                    <a:pt x="148" y="592"/>
                    <a:pt x="296" y="592"/>
                  </a:cubicBezTo>
                  <a:lnTo>
                    <a:pt x="9613" y="592"/>
                  </a:lnTo>
                  <a:cubicBezTo>
                    <a:pt x="9798" y="592"/>
                    <a:pt x="9909" y="444"/>
                    <a:pt x="9909" y="297"/>
                  </a:cubicBezTo>
                  <a:cubicBezTo>
                    <a:pt x="9909" y="112"/>
                    <a:pt x="9798" y="1"/>
                    <a:pt x="961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6" name="Google Shape;2026;p37"/>
            <p:cNvSpPr/>
            <p:nvPr/>
          </p:nvSpPr>
          <p:spPr>
            <a:xfrm>
              <a:off x="3805825" y="2389800"/>
              <a:ext cx="75800" cy="14825"/>
            </a:xfrm>
            <a:custGeom>
              <a:avLst/>
              <a:gdLst/>
              <a:ahLst/>
              <a:cxnLst/>
              <a:rect l="l" t="t" r="r" b="b"/>
              <a:pathLst>
                <a:path w="3032" h="593" extrusionOk="0">
                  <a:moveTo>
                    <a:pt x="333" y="1"/>
                  </a:moveTo>
                  <a:cubicBezTo>
                    <a:pt x="148" y="1"/>
                    <a:pt x="0" y="112"/>
                    <a:pt x="0" y="297"/>
                  </a:cubicBezTo>
                  <a:cubicBezTo>
                    <a:pt x="0" y="444"/>
                    <a:pt x="148" y="592"/>
                    <a:pt x="333" y="592"/>
                  </a:cubicBezTo>
                  <a:lnTo>
                    <a:pt x="2736" y="592"/>
                  </a:lnTo>
                  <a:cubicBezTo>
                    <a:pt x="2921" y="592"/>
                    <a:pt x="3032" y="444"/>
                    <a:pt x="3032" y="297"/>
                  </a:cubicBezTo>
                  <a:cubicBezTo>
                    <a:pt x="3032" y="112"/>
                    <a:pt x="2921" y="1"/>
                    <a:pt x="2736"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7" name="Google Shape;2027;p37"/>
            <p:cNvSpPr/>
            <p:nvPr/>
          </p:nvSpPr>
          <p:spPr>
            <a:xfrm>
              <a:off x="4015625" y="2457275"/>
              <a:ext cx="307800" cy="14825"/>
            </a:xfrm>
            <a:custGeom>
              <a:avLst/>
              <a:gdLst/>
              <a:ahLst/>
              <a:cxnLst/>
              <a:rect l="l" t="t" r="r" b="b"/>
              <a:pathLst>
                <a:path w="12312" h="593" extrusionOk="0">
                  <a:moveTo>
                    <a:pt x="296" y="1"/>
                  </a:moveTo>
                  <a:cubicBezTo>
                    <a:pt x="111" y="1"/>
                    <a:pt x="0" y="112"/>
                    <a:pt x="0" y="296"/>
                  </a:cubicBezTo>
                  <a:cubicBezTo>
                    <a:pt x="0" y="481"/>
                    <a:pt x="111" y="592"/>
                    <a:pt x="296" y="592"/>
                  </a:cubicBezTo>
                  <a:lnTo>
                    <a:pt x="12016" y="592"/>
                  </a:lnTo>
                  <a:cubicBezTo>
                    <a:pt x="12201" y="592"/>
                    <a:pt x="12312" y="481"/>
                    <a:pt x="12312" y="296"/>
                  </a:cubicBezTo>
                  <a:cubicBezTo>
                    <a:pt x="12312" y="112"/>
                    <a:pt x="12201" y="1"/>
                    <a:pt x="12016"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8" name="Google Shape;2028;p37"/>
            <p:cNvSpPr/>
            <p:nvPr/>
          </p:nvSpPr>
          <p:spPr>
            <a:xfrm>
              <a:off x="3805825" y="2457275"/>
              <a:ext cx="118325" cy="14825"/>
            </a:xfrm>
            <a:custGeom>
              <a:avLst/>
              <a:gdLst/>
              <a:ahLst/>
              <a:cxnLst/>
              <a:rect l="l" t="t" r="r" b="b"/>
              <a:pathLst>
                <a:path w="4733" h="593" extrusionOk="0">
                  <a:moveTo>
                    <a:pt x="333" y="1"/>
                  </a:moveTo>
                  <a:cubicBezTo>
                    <a:pt x="148" y="1"/>
                    <a:pt x="0" y="112"/>
                    <a:pt x="0" y="296"/>
                  </a:cubicBezTo>
                  <a:cubicBezTo>
                    <a:pt x="0" y="481"/>
                    <a:pt x="148" y="592"/>
                    <a:pt x="333" y="592"/>
                  </a:cubicBezTo>
                  <a:lnTo>
                    <a:pt x="4400" y="592"/>
                  </a:lnTo>
                  <a:cubicBezTo>
                    <a:pt x="4584" y="592"/>
                    <a:pt x="4732" y="481"/>
                    <a:pt x="4732" y="296"/>
                  </a:cubicBezTo>
                  <a:cubicBezTo>
                    <a:pt x="4732" y="112"/>
                    <a:pt x="4584" y="1"/>
                    <a:pt x="4400"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29" name="Google Shape;2029;p37"/>
            <p:cNvSpPr/>
            <p:nvPr/>
          </p:nvSpPr>
          <p:spPr>
            <a:xfrm>
              <a:off x="4256850" y="2534000"/>
              <a:ext cx="66575" cy="15725"/>
            </a:xfrm>
            <a:custGeom>
              <a:avLst/>
              <a:gdLst/>
              <a:ahLst/>
              <a:cxnLst/>
              <a:rect l="l" t="t" r="r" b="b"/>
              <a:pathLst>
                <a:path w="2663" h="629" extrusionOk="0">
                  <a:moveTo>
                    <a:pt x="334" y="0"/>
                  </a:moveTo>
                  <a:cubicBezTo>
                    <a:pt x="149" y="0"/>
                    <a:pt x="1" y="148"/>
                    <a:pt x="1" y="333"/>
                  </a:cubicBezTo>
                  <a:cubicBezTo>
                    <a:pt x="1" y="481"/>
                    <a:pt x="149" y="629"/>
                    <a:pt x="334" y="629"/>
                  </a:cubicBezTo>
                  <a:lnTo>
                    <a:pt x="2367" y="629"/>
                  </a:lnTo>
                  <a:cubicBezTo>
                    <a:pt x="2552" y="629"/>
                    <a:pt x="2663" y="481"/>
                    <a:pt x="2663" y="333"/>
                  </a:cubicBezTo>
                  <a:cubicBezTo>
                    <a:pt x="2663" y="148"/>
                    <a:pt x="2552" y="0"/>
                    <a:pt x="2367"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0" name="Google Shape;2030;p37"/>
            <p:cNvSpPr/>
            <p:nvPr/>
          </p:nvSpPr>
          <p:spPr>
            <a:xfrm>
              <a:off x="4112675" y="2534000"/>
              <a:ext cx="118325" cy="15725"/>
            </a:xfrm>
            <a:custGeom>
              <a:avLst/>
              <a:gdLst/>
              <a:ahLst/>
              <a:cxnLst/>
              <a:rect l="l" t="t" r="r" b="b"/>
              <a:pathLst>
                <a:path w="4733" h="629" extrusionOk="0">
                  <a:moveTo>
                    <a:pt x="333" y="0"/>
                  </a:moveTo>
                  <a:cubicBezTo>
                    <a:pt x="148" y="0"/>
                    <a:pt x="0" y="148"/>
                    <a:pt x="0" y="333"/>
                  </a:cubicBezTo>
                  <a:cubicBezTo>
                    <a:pt x="0" y="481"/>
                    <a:pt x="148" y="629"/>
                    <a:pt x="333" y="629"/>
                  </a:cubicBezTo>
                  <a:lnTo>
                    <a:pt x="4400" y="629"/>
                  </a:lnTo>
                  <a:cubicBezTo>
                    <a:pt x="4585" y="629"/>
                    <a:pt x="4733" y="481"/>
                    <a:pt x="4733" y="333"/>
                  </a:cubicBezTo>
                  <a:cubicBezTo>
                    <a:pt x="4733" y="148"/>
                    <a:pt x="4585" y="0"/>
                    <a:pt x="4400"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1" name="Google Shape;2031;p37"/>
            <p:cNvSpPr/>
            <p:nvPr/>
          </p:nvSpPr>
          <p:spPr>
            <a:xfrm>
              <a:off x="3805825" y="2534000"/>
              <a:ext cx="253275" cy="15725"/>
            </a:xfrm>
            <a:custGeom>
              <a:avLst/>
              <a:gdLst/>
              <a:ahLst/>
              <a:cxnLst/>
              <a:rect l="l" t="t" r="r" b="b"/>
              <a:pathLst>
                <a:path w="10131" h="629" extrusionOk="0">
                  <a:moveTo>
                    <a:pt x="333" y="0"/>
                  </a:moveTo>
                  <a:cubicBezTo>
                    <a:pt x="148" y="0"/>
                    <a:pt x="0" y="148"/>
                    <a:pt x="0" y="333"/>
                  </a:cubicBezTo>
                  <a:cubicBezTo>
                    <a:pt x="0" y="481"/>
                    <a:pt x="148" y="629"/>
                    <a:pt x="333" y="629"/>
                  </a:cubicBezTo>
                  <a:lnTo>
                    <a:pt x="9797" y="629"/>
                  </a:lnTo>
                  <a:cubicBezTo>
                    <a:pt x="9982" y="629"/>
                    <a:pt x="10130" y="481"/>
                    <a:pt x="10130" y="333"/>
                  </a:cubicBezTo>
                  <a:cubicBezTo>
                    <a:pt x="10130" y="148"/>
                    <a:pt x="9982" y="0"/>
                    <a:pt x="9797"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2" name="Google Shape;2032;p37"/>
            <p:cNvSpPr/>
            <p:nvPr/>
          </p:nvSpPr>
          <p:spPr>
            <a:xfrm>
              <a:off x="4047975" y="2611625"/>
              <a:ext cx="275450" cy="15750"/>
            </a:xfrm>
            <a:custGeom>
              <a:avLst/>
              <a:gdLst/>
              <a:ahLst/>
              <a:cxnLst/>
              <a:rect l="l" t="t" r="r" b="b"/>
              <a:pathLst>
                <a:path w="11018" h="630" extrusionOk="0">
                  <a:moveTo>
                    <a:pt x="296" y="1"/>
                  </a:moveTo>
                  <a:cubicBezTo>
                    <a:pt x="148" y="1"/>
                    <a:pt x="0" y="149"/>
                    <a:pt x="0" y="297"/>
                  </a:cubicBezTo>
                  <a:cubicBezTo>
                    <a:pt x="0" y="481"/>
                    <a:pt x="148" y="629"/>
                    <a:pt x="296" y="629"/>
                  </a:cubicBezTo>
                  <a:lnTo>
                    <a:pt x="10722" y="629"/>
                  </a:lnTo>
                  <a:cubicBezTo>
                    <a:pt x="10907" y="629"/>
                    <a:pt x="11018" y="481"/>
                    <a:pt x="11018" y="297"/>
                  </a:cubicBezTo>
                  <a:cubicBezTo>
                    <a:pt x="11018" y="149"/>
                    <a:pt x="10907" y="1"/>
                    <a:pt x="10722"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3" name="Google Shape;2033;p37"/>
            <p:cNvSpPr/>
            <p:nvPr/>
          </p:nvSpPr>
          <p:spPr>
            <a:xfrm>
              <a:off x="3805825" y="2611625"/>
              <a:ext cx="201500" cy="15750"/>
            </a:xfrm>
            <a:custGeom>
              <a:avLst/>
              <a:gdLst/>
              <a:ahLst/>
              <a:cxnLst/>
              <a:rect l="l" t="t" r="r" b="b"/>
              <a:pathLst>
                <a:path w="8060" h="630" extrusionOk="0">
                  <a:moveTo>
                    <a:pt x="333" y="1"/>
                  </a:moveTo>
                  <a:cubicBezTo>
                    <a:pt x="148" y="1"/>
                    <a:pt x="0" y="149"/>
                    <a:pt x="0" y="297"/>
                  </a:cubicBezTo>
                  <a:cubicBezTo>
                    <a:pt x="0" y="481"/>
                    <a:pt x="148" y="629"/>
                    <a:pt x="333" y="629"/>
                  </a:cubicBezTo>
                  <a:lnTo>
                    <a:pt x="7764" y="629"/>
                  </a:lnTo>
                  <a:cubicBezTo>
                    <a:pt x="7949" y="629"/>
                    <a:pt x="8060" y="481"/>
                    <a:pt x="8060" y="297"/>
                  </a:cubicBezTo>
                  <a:cubicBezTo>
                    <a:pt x="8060" y="149"/>
                    <a:pt x="7949" y="1"/>
                    <a:pt x="7764"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4" name="Google Shape;2034;p37"/>
            <p:cNvSpPr/>
            <p:nvPr/>
          </p:nvSpPr>
          <p:spPr>
            <a:xfrm>
              <a:off x="4196775" y="2688350"/>
              <a:ext cx="126650" cy="15725"/>
            </a:xfrm>
            <a:custGeom>
              <a:avLst/>
              <a:gdLst/>
              <a:ahLst/>
              <a:cxnLst/>
              <a:rect l="l" t="t" r="r" b="b"/>
              <a:pathLst>
                <a:path w="5066" h="629" extrusionOk="0">
                  <a:moveTo>
                    <a:pt x="296" y="0"/>
                  </a:moveTo>
                  <a:cubicBezTo>
                    <a:pt x="149" y="0"/>
                    <a:pt x="1" y="148"/>
                    <a:pt x="1" y="333"/>
                  </a:cubicBezTo>
                  <a:cubicBezTo>
                    <a:pt x="1" y="481"/>
                    <a:pt x="149" y="629"/>
                    <a:pt x="296" y="629"/>
                  </a:cubicBezTo>
                  <a:lnTo>
                    <a:pt x="4770" y="629"/>
                  </a:lnTo>
                  <a:cubicBezTo>
                    <a:pt x="4955" y="629"/>
                    <a:pt x="5066" y="481"/>
                    <a:pt x="5066" y="333"/>
                  </a:cubicBezTo>
                  <a:cubicBezTo>
                    <a:pt x="5066" y="148"/>
                    <a:pt x="4955" y="0"/>
                    <a:pt x="4770"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5" name="Google Shape;2035;p37"/>
            <p:cNvSpPr/>
            <p:nvPr/>
          </p:nvSpPr>
          <p:spPr>
            <a:xfrm>
              <a:off x="3917650" y="2688350"/>
              <a:ext cx="247725" cy="15725"/>
            </a:xfrm>
            <a:custGeom>
              <a:avLst/>
              <a:gdLst/>
              <a:ahLst/>
              <a:cxnLst/>
              <a:rect l="l" t="t" r="r" b="b"/>
              <a:pathLst>
                <a:path w="9909" h="629" extrusionOk="0">
                  <a:moveTo>
                    <a:pt x="296" y="0"/>
                  </a:moveTo>
                  <a:cubicBezTo>
                    <a:pt x="148" y="0"/>
                    <a:pt x="1" y="148"/>
                    <a:pt x="1" y="333"/>
                  </a:cubicBezTo>
                  <a:cubicBezTo>
                    <a:pt x="1" y="481"/>
                    <a:pt x="148" y="629"/>
                    <a:pt x="296" y="629"/>
                  </a:cubicBezTo>
                  <a:lnTo>
                    <a:pt x="9613" y="629"/>
                  </a:lnTo>
                  <a:cubicBezTo>
                    <a:pt x="9798" y="629"/>
                    <a:pt x="9909" y="481"/>
                    <a:pt x="9909" y="333"/>
                  </a:cubicBezTo>
                  <a:cubicBezTo>
                    <a:pt x="9909" y="148"/>
                    <a:pt x="9798" y="0"/>
                    <a:pt x="9613"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6" name="Google Shape;2036;p37"/>
            <p:cNvSpPr/>
            <p:nvPr/>
          </p:nvSpPr>
          <p:spPr>
            <a:xfrm>
              <a:off x="3805825" y="2688350"/>
              <a:ext cx="75800" cy="15725"/>
            </a:xfrm>
            <a:custGeom>
              <a:avLst/>
              <a:gdLst/>
              <a:ahLst/>
              <a:cxnLst/>
              <a:rect l="l" t="t" r="r" b="b"/>
              <a:pathLst>
                <a:path w="3032" h="629" extrusionOk="0">
                  <a:moveTo>
                    <a:pt x="333" y="0"/>
                  </a:moveTo>
                  <a:cubicBezTo>
                    <a:pt x="148" y="0"/>
                    <a:pt x="0" y="148"/>
                    <a:pt x="0" y="333"/>
                  </a:cubicBezTo>
                  <a:cubicBezTo>
                    <a:pt x="0" y="481"/>
                    <a:pt x="148" y="629"/>
                    <a:pt x="333" y="629"/>
                  </a:cubicBezTo>
                  <a:lnTo>
                    <a:pt x="2736" y="629"/>
                  </a:lnTo>
                  <a:cubicBezTo>
                    <a:pt x="2921" y="629"/>
                    <a:pt x="3032" y="481"/>
                    <a:pt x="3032" y="333"/>
                  </a:cubicBezTo>
                  <a:cubicBezTo>
                    <a:pt x="3032" y="148"/>
                    <a:pt x="2921" y="0"/>
                    <a:pt x="2736"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7" name="Google Shape;2037;p37"/>
            <p:cNvSpPr/>
            <p:nvPr/>
          </p:nvSpPr>
          <p:spPr>
            <a:xfrm>
              <a:off x="4015625" y="2756750"/>
              <a:ext cx="307800" cy="14800"/>
            </a:xfrm>
            <a:custGeom>
              <a:avLst/>
              <a:gdLst/>
              <a:ahLst/>
              <a:cxnLst/>
              <a:rect l="l" t="t" r="r" b="b"/>
              <a:pathLst>
                <a:path w="12312" h="592" extrusionOk="0">
                  <a:moveTo>
                    <a:pt x="296" y="0"/>
                  </a:moveTo>
                  <a:cubicBezTo>
                    <a:pt x="111" y="0"/>
                    <a:pt x="0" y="111"/>
                    <a:pt x="0" y="296"/>
                  </a:cubicBezTo>
                  <a:cubicBezTo>
                    <a:pt x="0" y="481"/>
                    <a:pt x="111" y="592"/>
                    <a:pt x="296" y="592"/>
                  </a:cubicBezTo>
                  <a:lnTo>
                    <a:pt x="12016" y="592"/>
                  </a:lnTo>
                  <a:cubicBezTo>
                    <a:pt x="12201" y="592"/>
                    <a:pt x="12312" y="481"/>
                    <a:pt x="12312" y="296"/>
                  </a:cubicBezTo>
                  <a:cubicBezTo>
                    <a:pt x="12312" y="111"/>
                    <a:pt x="12201" y="0"/>
                    <a:pt x="12016"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8" name="Google Shape;2038;p37"/>
            <p:cNvSpPr/>
            <p:nvPr/>
          </p:nvSpPr>
          <p:spPr>
            <a:xfrm>
              <a:off x="3805825" y="2756750"/>
              <a:ext cx="118325" cy="14800"/>
            </a:xfrm>
            <a:custGeom>
              <a:avLst/>
              <a:gdLst/>
              <a:ahLst/>
              <a:cxnLst/>
              <a:rect l="l" t="t" r="r" b="b"/>
              <a:pathLst>
                <a:path w="4733" h="592" extrusionOk="0">
                  <a:moveTo>
                    <a:pt x="333" y="0"/>
                  </a:moveTo>
                  <a:cubicBezTo>
                    <a:pt x="148" y="0"/>
                    <a:pt x="0" y="111"/>
                    <a:pt x="0" y="296"/>
                  </a:cubicBezTo>
                  <a:cubicBezTo>
                    <a:pt x="0" y="481"/>
                    <a:pt x="148" y="592"/>
                    <a:pt x="333" y="592"/>
                  </a:cubicBezTo>
                  <a:lnTo>
                    <a:pt x="4400" y="592"/>
                  </a:lnTo>
                  <a:cubicBezTo>
                    <a:pt x="4584" y="592"/>
                    <a:pt x="4732" y="481"/>
                    <a:pt x="4732" y="296"/>
                  </a:cubicBezTo>
                  <a:cubicBezTo>
                    <a:pt x="4732" y="111"/>
                    <a:pt x="4584" y="0"/>
                    <a:pt x="4400"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39" name="Google Shape;2039;p37"/>
            <p:cNvSpPr/>
            <p:nvPr/>
          </p:nvSpPr>
          <p:spPr>
            <a:xfrm>
              <a:off x="4256850" y="2833450"/>
              <a:ext cx="66575" cy="15750"/>
            </a:xfrm>
            <a:custGeom>
              <a:avLst/>
              <a:gdLst/>
              <a:ahLst/>
              <a:cxnLst/>
              <a:rect l="l" t="t" r="r" b="b"/>
              <a:pathLst>
                <a:path w="2663" h="630" extrusionOk="0">
                  <a:moveTo>
                    <a:pt x="334" y="1"/>
                  </a:moveTo>
                  <a:cubicBezTo>
                    <a:pt x="149" y="1"/>
                    <a:pt x="1" y="149"/>
                    <a:pt x="1" y="334"/>
                  </a:cubicBezTo>
                  <a:cubicBezTo>
                    <a:pt x="1" y="481"/>
                    <a:pt x="149" y="629"/>
                    <a:pt x="334" y="629"/>
                  </a:cubicBezTo>
                  <a:lnTo>
                    <a:pt x="2367" y="629"/>
                  </a:lnTo>
                  <a:cubicBezTo>
                    <a:pt x="2552" y="629"/>
                    <a:pt x="2663" y="481"/>
                    <a:pt x="2663" y="334"/>
                  </a:cubicBezTo>
                  <a:cubicBezTo>
                    <a:pt x="2663" y="149"/>
                    <a:pt x="2552" y="1"/>
                    <a:pt x="2367"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0" name="Google Shape;2040;p37"/>
            <p:cNvSpPr/>
            <p:nvPr/>
          </p:nvSpPr>
          <p:spPr>
            <a:xfrm>
              <a:off x="4112675" y="2833450"/>
              <a:ext cx="118325" cy="15750"/>
            </a:xfrm>
            <a:custGeom>
              <a:avLst/>
              <a:gdLst/>
              <a:ahLst/>
              <a:cxnLst/>
              <a:rect l="l" t="t" r="r" b="b"/>
              <a:pathLst>
                <a:path w="4733" h="630" extrusionOk="0">
                  <a:moveTo>
                    <a:pt x="333" y="1"/>
                  </a:moveTo>
                  <a:cubicBezTo>
                    <a:pt x="148" y="1"/>
                    <a:pt x="0" y="149"/>
                    <a:pt x="0" y="334"/>
                  </a:cubicBezTo>
                  <a:cubicBezTo>
                    <a:pt x="0" y="481"/>
                    <a:pt x="148" y="629"/>
                    <a:pt x="333" y="629"/>
                  </a:cubicBezTo>
                  <a:lnTo>
                    <a:pt x="4400" y="629"/>
                  </a:lnTo>
                  <a:cubicBezTo>
                    <a:pt x="4585" y="629"/>
                    <a:pt x="4733" y="481"/>
                    <a:pt x="4733" y="334"/>
                  </a:cubicBezTo>
                  <a:cubicBezTo>
                    <a:pt x="4733" y="149"/>
                    <a:pt x="4585" y="1"/>
                    <a:pt x="4400"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1" name="Google Shape;2041;p37"/>
            <p:cNvSpPr/>
            <p:nvPr/>
          </p:nvSpPr>
          <p:spPr>
            <a:xfrm>
              <a:off x="3805825" y="2833450"/>
              <a:ext cx="253275" cy="15750"/>
            </a:xfrm>
            <a:custGeom>
              <a:avLst/>
              <a:gdLst/>
              <a:ahLst/>
              <a:cxnLst/>
              <a:rect l="l" t="t" r="r" b="b"/>
              <a:pathLst>
                <a:path w="10131" h="630" extrusionOk="0">
                  <a:moveTo>
                    <a:pt x="333" y="1"/>
                  </a:moveTo>
                  <a:cubicBezTo>
                    <a:pt x="148" y="1"/>
                    <a:pt x="0" y="149"/>
                    <a:pt x="0" y="334"/>
                  </a:cubicBezTo>
                  <a:cubicBezTo>
                    <a:pt x="0" y="481"/>
                    <a:pt x="148" y="629"/>
                    <a:pt x="333" y="629"/>
                  </a:cubicBezTo>
                  <a:lnTo>
                    <a:pt x="9797" y="629"/>
                  </a:lnTo>
                  <a:cubicBezTo>
                    <a:pt x="9982" y="629"/>
                    <a:pt x="10130" y="481"/>
                    <a:pt x="10130" y="334"/>
                  </a:cubicBezTo>
                  <a:cubicBezTo>
                    <a:pt x="10130" y="149"/>
                    <a:pt x="9982" y="1"/>
                    <a:pt x="9797"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2" name="Google Shape;2042;p37"/>
            <p:cNvSpPr/>
            <p:nvPr/>
          </p:nvSpPr>
          <p:spPr>
            <a:xfrm>
              <a:off x="4047975" y="2911100"/>
              <a:ext cx="275450" cy="15725"/>
            </a:xfrm>
            <a:custGeom>
              <a:avLst/>
              <a:gdLst/>
              <a:ahLst/>
              <a:cxnLst/>
              <a:rect l="l" t="t" r="r" b="b"/>
              <a:pathLst>
                <a:path w="11018" h="629" extrusionOk="0">
                  <a:moveTo>
                    <a:pt x="296" y="0"/>
                  </a:moveTo>
                  <a:cubicBezTo>
                    <a:pt x="148" y="0"/>
                    <a:pt x="0" y="148"/>
                    <a:pt x="0" y="296"/>
                  </a:cubicBezTo>
                  <a:cubicBezTo>
                    <a:pt x="0" y="481"/>
                    <a:pt x="148" y="629"/>
                    <a:pt x="296" y="629"/>
                  </a:cubicBezTo>
                  <a:lnTo>
                    <a:pt x="10722" y="629"/>
                  </a:lnTo>
                  <a:cubicBezTo>
                    <a:pt x="10907" y="629"/>
                    <a:pt x="11018" y="481"/>
                    <a:pt x="11018" y="296"/>
                  </a:cubicBezTo>
                  <a:cubicBezTo>
                    <a:pt x="11018" y="148"/>
                    <a:pt x="10907" y="0"/>
                    <a:pt x="10722"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3" name="Google Shape;2043;p37"/>
            <p:cNvSpPr/>
            <p:nvPr/>
          </p:nvSpPr>
          <p:spPr>
            <a:xfrm>
              <a:off x="3805825" y="2911100"/>
              <a:ext cx="201500" cy="15725"/>
            </a:xfrm>
            <a:custGeom>
              <a:avLst/>
              <a:gdLst/>
              <a:ahLst/>
              <a:cxnLst/>
              <a:rect l="l" t="t" r="r" b="b"/>
              <a:pathLst>
                <a:path w="8060" h="629" extrusionOk="0">
                  <a:moveTo>
                    <a:pt x="333" y="0"/>
                  </a:moveTo>
                  <a:cubicBezTo>
                    <a:pt x="148" y="0"/>
                    <a:pt x="0" y="148"/>
                    <a:pt x="0" y="296"/>
                  </a:cubicBezTo>
                  <a:cubicBezTo>
                    <a:pt x="0" y="481"/>
                    <a:pt x="148" y="629"/>
                    <a:pt x="333" y="629"/>
                  </a:cubicBezTo>
                  <a:lnTo>
                    <a:pt x="7764" y="629"/>
                  </a:lnTo>
                  <a:cubicBezTo>
                    <a:pt x="7949" y="629"/>
                    <a:pt x="8060" y="481"/>
                    <a:pt x="8060" y="296"/>
                  </a:cubicBezTo>
                  <a:cubicBezTo>
                    <a:pt x="8060" y="148"/>
                    <a:pt x="7949" y="0"/>
                    <a:pt x="7764"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4" name="Google Shape;2044;p37"/>
            <p:cNvSpPr/>
            <p:nvPr/>
          </p:nvSpPr>
          <p:spPr>
            <a:xfrm>
              <a:off x="4196775" y="2987800"/>
              <a:ext cx="126650" cy="15750"/>
            </a:xfrm>
            <a:custGeom>
              <a:avLst/>
              <a:gdLst/>
              <a:ahLst/>
              <a:cxnLst/>
              <a:rect l="l" t="t" r="r" b="b"/>
              <a:pathLst>
                <a:path w="5066" h="630" extrusionOk="0">
                  <a:moveTo>
                    <a:pt x="296" y="1"/>
                  </a:moveTo>
                  <a:cubicBezTo>
                    <a:pt x="149" y="1"/>
                    <a:pt x="1" y="149"/>
                    <a:pt x="1" y="334"/>
                  </a:cubicBezTo>
                  <a:cubicBezTo>
                    <a:pt x="1" y="481"/>
                    <a:pt x="149" y="629"/>
                    <a:pt x="296" y="629"/>
                  </a:cubicBezTo>
                  <a:lnTo>
                    <a:pt x="4770" y="629"/>
                  </a:lnTo>
                  <a:cubicBezTo>
                    <a:pt x="4955" y="629"/>
                    <a:pt x="5066" y="481"/>
                    <a:pt x="5066" y="334"/>
                  </a:cubicBezTo>
                  <a:cubicBezTo>
                    <a:pt x="5066" y="149"/>
                    <a:pt x="4955" y="1"/>
                    <a:pt x="4770"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5" name="Google Shape;2045;p37"/>
            <p:cNvSpPr/>
            <p:nvPr/>
          </p:nvSpPr>
          <p:spPr>
            <a:xfrm>
              <a:off x="3917650" y="2987800"/>
              <a:ext cx="247725" cy="15750"/>
            </a:xfrm>
            <a:custGeom>
              <a:avLst/>
              <a:gdLst/>
              <a:ahLst/>
              <a:cxnLst/>
              <a:rect l="l" t="t" r="r" b="b"/>
              <a:pathLst>
                <a:path w="9909" h="630" extrusionOk="0">
                  <a:moveTo>
                    <a:pt x="296" y="1"/>
                  </a:moveTo>
                  <a:cubicBezTo>
                    <a:pt x="148" y="1"/>
                    <a:pt x="1" y="149"/>
                    <a:pt x="1" y="334"/>
                  </a:cubicBezTo>
                  <a:cubicBezTo>
                    <a:pt x="1" y="481"/>
                    <a:pt x="148" y="629"/>
                    <a:pt x="296" y="629"/>
                  </a:cubicBezTo>
                  <a:lnTo>
                    <a:pt x="9613" y="629"/>
                  </a:lnTo>
                  <a:cubicBezTo>
                    <a:pt x="9798" y="629"/>
                    <a:pt x="9909" y="481"/>
                    <a:pt x="9909" y="334"/>
                  </a:cubicBezTo>
                  <a:cubicBezTo>
                    <a:pt x="9909" y="149"/>
                    <a:pt x="9798" y="1"/>
                    <a:pt x="9613"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6" name="Google Shape;2046;p37"/>
            <p:cNvSpPr/>
            <p:nvPr/>
          </p:nvSpPr>
          <p:spPr>
            <a:xfrm>
              <a:off x="3805825" y="2987800"/>
              <a:ext cx="75800" cy="15750"/>
            </a:xfrm>
            <a:custGeom>
              <a:avLst/>
              <a:gdLst/>
              <a:ahLst/>
              <a:cxnLst/>
              <a:rect l="l" t="t" r="r" b="b"/>
              <a:pathLst>
                <a:path w="3032" h="630" extrusionOk="0">
                  <a:moveTo>
                    <a:pt x="333" y="1"/>
                  </a:moveTo>
                  <a:cubicBezTo>
                    <a:pt x="148" y="1"/>
                    <a:pt x="0" y="149"/>
                    <a:pt x="0" y="334"/>
                  </a:cubicBezTo>
                  <a:cubicBezTo>
                    <a:pt x="0" y="481"/>
                    <a:pt x="148" y="629"/>
                    <a:pt x="333" y="629"/>
                  </a:cubicBezTo>
                  <a:lnTo>
                    <a:pt x="2736" y="629"/>
                  </a:lnTo>
                  <a:cubicBezTo>
                    <a:pt x="2921" y="629"/>
                    <a:pt x="3032" y="481"/>
                    <a:pt x="3032" y="334"/>
                  </a:cubicBezTo>
                  <a:cubicBezTo>
                    <a:pt x="3032" y="149"/>
                    <a:pt x="2921" y="1"/>
                    <a:pt x="2736"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7" name="Google Shape;2047;p37"/>
            <p:cNvSpPr/>
            <p:nvPr/>
          </p:nvSpPr>
          <p:spPr>
            <a:xfrm>
              <a:off x="4015625" y="3056200"/>
              <a:ext cx="307800" cy="14825"/>
            </a:xfrm>
            <a:custGeom>
              <a:avLst/>
              <a:gdLst/>
              <a:ahLst/>
              <a:cxnLst/>
              <a:rect l="l" t="t" r="r" b="b"/>
              <a:pathLst>
                <a:path w="12312" h="593" extrusionOk="0">
                  <a:moveTo>
                    <a:pt x="296" y="1"/>
                  </a:moveTo>
                  <a:cubicBezTo>
                    <a:pt x="111" y="1"/>
                    <a:pt x="0" y="112"/>
                    <a:pt x="0" y="296"/>
                  </a:cubicBezTo>
                  <a:cubicBezTo>
                    <a:pt x="0" y="481"/>
                    <a:pt x="111" y="592"/>
                    <a:pt x="296" y="592"/>
                  </a:cubicBezTo>
                  <a:lnTo>
                    <a:pt x="12016" y="592"/>
                  </a:lnTo>
                  <a:cubicBezTo>
                    <a:pt x="12201" y="592"/>
                    <a:pt x="12312" y="481"/>
                    <a:pt x="12312" y="296"/>
                  </a:cubicBezTo>
                  <a:cubicBezTo>
                    <a:pt x="12312" y="112"/>
                    <a:pt x="12201" y="1"/>
                    <a:pt x="12016"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8" name="Google Shape;2048;p37"/>
            <p:cNvSpPr/>
            <p:nvPr/>
          </p:nvSpPr>
          <p:spPr>
            <a:xfrm>
              <a:off x="3805825" y="3056200"/>
              <a:ext cx="118325" cy="14825"/>
            </a:xfrm>
            <a:custGeom>
              <a:avLst/>
              <a:gdLst/>
              <a:ahLst/>
              <a:cxnLst/>
              <a:rect l="l" t="t" r="r" b="b"/>
              <a:pathLst>
                <a:path w="4733" h="593" extrusionOk="0">
                  <a:moveTo>
                    <a:pt x="333" y="1"/>
                  </a:moveTo>
                  <a:cubicBezTo>
                    <a:pt x="148" y="1"/>
                    <a:pt x="0" y="112"/>
                    <a:pt x="0" y="296"/>
                  </a:cubicBezTo>
                  <a:cubicBezTo>
                    <a:pt x="0" y="481"/>
                    <a:pt x="148" y="592"/>
                    <a:pt x="333" y="592"/>
                  </a:cubicBezTo>
                  <a:lnTo>
                    <a:pt x="4400" y="592"/>
                  </a:lnTo>
                  <a:cubicBezTo>
                    <a:pt x="4584" y="592"/>
                    <a:pt x="4732" y="481"/>
                    <a:pt x="4732" y="296"/>
                  </a:cubicBezTo>
                  <a:cubicBezTo>
                    <a:pt x="4732" y="112"/>
                    <a:pt x="4584" y="1"/>
                    <a:pt x="4400"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49" name="Google Shape;2049;p37"/>
            <p:cNvSpPr/>
            <p:nvPr/>
          </p:nvSpPr>
          <p:spPr>
            <a:xfrm>
              <a:off x="4256850" y="3132925"/>
              <a:ext cx="66575" cy="15725"/>
            </a:xfrm>
            <a:custGeom>
              <a:avLst/>
              <a:gdLst/>
              <a:ahLst/>
              <a:cxnLst/>
              <a:rect l="l" t="t" r="r" b="b"/>
              <a:pathLst>
                <a:path w="2663" h="629" extrusionOk="0">
                  <a:moveTo>
                    <a:pt x="334" y="0"/>
                  </a:moveTo>
                  <a:cubicBezTo>
                    <a:pt x="149" y="0"/>
                    <a:pt x="1" y="148"/>
                    <a:pt x="1" y="333"/>
                  </a:cubicBezTo>
                  <a:cubicBezTo>
                    <a:pt x="1" y="481"/>
                    <a:pt x="149" y="629"/>
                    <a:pt x="334" y="629"/>
                  </a:cubicBezTo>
                  <a:lnTo>
                    <a:pt x="2367" y="629"/>
                  </a:lnTo>
                  <a:cubicBezTo>
                    <a:pt x="2552" y="629"/>
                    <a:pt x="2663" y="481"/>
                    <a:pt x="2663" y="333"/>
                  </a:cubicBezTo>
                  <a:cubicBezTo>
                    <a:pt x="2663" y="148"/>
                    <a:pt x="2552" y="0"/>
                    <a:pt x="2367"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0" name="Google Shape;2050;p37"/>
            <p:cNvSpPr/>
            <p:nvPr/>
          </p:nvSpPr>
          <p:spPr>
            <a:xfrm>
              <a:off x="4112675" y="3132925"/>
              <a:ext cx="118325" cy="15725"/>
            </a:xfrm>
            <a:custGeom>
              <a:avLst/>
              <a:gdLst/>
              <a:ahLst/>
              <a:cxnLst/>
              <a:rect l="l" t="t" r="r" b="b"/>
              <a:pathLst>
                <a:path w="4733" h="629" extrusionOk="0">
                  <a:moveTo>
                    <a:pt x="333" y="0"/>
                  </a:moveTo>
                  <a:cubicBezTo>
                    <a:pt x="148" y="0"/>
                    <a:pt x="0" y="148"/>
                    <a:pt x="0" y="333"/>
                  </a:cubicBezTo>
                  <a:cubicBezTo>
                    <a:pt x="0" y="481"/>
                    <a:pt x="148" y="629"/>
                    <a:pt x="333" y="629"/>
                  </a:cubicBezTo>
                  <a:lnTo>
                    <a:pt x="4400" y="629"/>
                  </a:lnTo>
                  <a:cubicBezTo>
                    <a:pt x="4585" y="629"/>
                    <a:pt x="4733" y="481"/>
                    <a:pt x="4733" y="333"/>
                  </a:cubicBezTo>
                  <a:cubicBezTo>
                    <a:pt x="4733" y="148"/>
                    <a:pt x="4585" y="0"/>
                    <a:pt x="4400"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1" name="Google Shape;2051;p37"/>
            <p:cNvSpPr/>
            <p:nvPr/>
          </p:nvSpPr>
          <p:spPr>
            <a:xfrm>
              <a:off x="3805825" y="3132925"/>
              <a:ext cx="253275" cy="15725"/>
            </a:xfrm>
            <a:custGeom>
              <a:avLst/>
              <a:gdLst/>
              <a:ahLst/>
              <a:cxnLst/>
              <a:rect l="l" t="t" r="r" b="b"/>
              <a:pathLst>
                <a:path w="10131" h="629" extrusionOk="0">
                  <a:moveTo>
                    <a:pt x="333" y="0"/>
                  </a:moveTo>
                  <a:cubicBezTo>
                    <a:pt x="148" y="0"/>
                    <a:pt x="0" y="148"/>
                    <a:pt x="0" y="333"/>
                  </a:cubicBezTo>
                  <a:cubicBezTo>
                    <a:pt x="0" y="481"/>
                    <a:pt x="148" y="629"/>
                    <a:pt x="333" y="629"/>
                  </a:cubicBezTo>
                  <a:lnTo>
                    <a:pt x="9797" y="629"/>
                  </a:lnTo>
                  <a:cubicBezTo>
                    <a:pt x="9982" y="629"/>
                    <a:pt x="10130" y="481"/>
                    <a:pt x="10130" y="333"/>
                  </a:cubicBezTo>
                  <a:cubicBezTo>
                    <a:pt x="10130" y="148"/>
                    <a:pt x="9982" y="0"/>
                    <a:pt x="9797"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2" name="Google Shape;2052;p37"/>
            <p:cNvSpPr/>
            <p:nvPr/>
          </p:nvSpPr>
          <p:spPr>
            <a:xfrm>
              <a:off x="4047975" y="3210550"/>
              <a:ext cx="275450" cy="14825"/>
            </a:xfrm>
            <a:custGeom>
              <a:avLst/>
              <a:gdLst/>
              <a:ahLst/>
              <a:cxnLst/>
              <a:rect l="l" t="t" r="r" b="b"/>
              <a:pathLst>
                <a:path w="11018" h="593" extrusionOk="0">
                  <a:moveTo>
                    <a:pt x="296" y="1"/>
                  </a:moveTo>
                  <a:cubicBezTo>
                    <a:pt x="148" y="1"/>
                    <a:pt x="0" y="149"/>
                    <a:pt x="0" y="297"/>
                  </a:cubicBezTo>
                  <a:cubicBezTo>
                    <a:pt x="0" y="481"/>
                    <a:pt x="148" y="592"/>
                    <a:pt x="296" y="592"/>
                  </a:cubicBezTo>
                  <a:lnTo>
                    <a:pt x="10722" y="592"/>
                  </a:lnTo>
                  <a:cubicBezTo>
                    <a:pt x="10907" y="592"/>
                    <a:pt x="11018" y="481"/>
                    <a:pt x="11018" y="297"/>
                  </a:cubicBezTo>
                  <a:cubicBezTo>
                    <a:pt x="11018" y="149"/>
                    <a:pt x="10907" y="1"/>
                    <a:pt x="10722"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3" name="Google Shape;2053;p37"/>
            <p:cNvSpPr/>
            <p:nvPr/>
          </p:nvSpPr>
          <p:spPr>
            <a:xfrm>
              <a:off x="3805825" y="3210550"/>
              <a:ext cx="201500" cy="14825"/>
            </a:xfrm>
            <a:custGeom>
              <a:avLst/>
              <a:gdLst/>
              <a:ahLst/>
              <a:cxnLst/>
              <a:rect l="l" t="t" r="r" b="b"/>
              <a:pathLst>
                <a:path w="8060" h="593" extrusionOk="0">
                  <a:moveTo>
                    <a:pt x="333" y="1"/>
                  </a:moveTo>
                  <a:cubicBezTo>
                    <a:pt x="148" y="1"/>
                    <a:pt x="0" y="149"/>
                    <a:pt x="0" y="297"/>
                  </a:cubicBezTo>
                  <a:cubicBezTo>
                    <a:pt x="0" y="481"/>
                    <a:pt x="148" y="592"/>
                    <a:pt x="333" y="592"/>
                  </a:cubicBezTo>
                  <a:lnTo>
                    <a:pt x="7764" y="592"/>
                  </a:lnTo>
                  <a:cubicBezTo>
                    <a:pt x="7949" y="592"/>
                    <a:pt x="8060" y="481"/>
                    <a:pt x="8060" y="297"/>
                  </a:cubicBezTo>
                  <a:cubicBezTo>
                    <a:pt x="8060" y="149"/>
                    <a:pt x="7949" y="1"/>
                    <a:pt x="7764"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4" name="Google Shape;2054;p37"/>
            <p:cNvSpPr/>
            <p:nvPr/>
          </p:nvSpPr>
          <p:spPr>
            <a:xfrm>
              <a:off x="4196775" y="3287275"/>
              <a:ext cx="126650" cy="15725"/>
            </a:xfrm>
            <a:custGeom>
              <a:avLst/>
              <a:gdLst/>
              <a:ahLst/>
              <a:cxnLst/>
              <a:rect l="l" t="t" r="r" b="b"/>
              <a:pathLst>
                <a:path w="5066" h="629" extrusionOk="0">
                  <a:moveTo>
                    <a:pt x="296" y="0"/>
                  </a:moveTo>
                  <a:cubicBezTo>
                    <a:pt x="149" y="0"/>
                    <a:pt x="1" y="148"/>
                    <a:pt x="1" y="333"/>
                  </a:cubicBezTo>
                  <a:cubicBezTo>
                    <a:pt x="1" y="481"/>
                    <a:pt x="149" y="629"/>
                    <a:pt x="296" y="629"/>
                  </a:cubicBezTo>
                  <a:lnTo>
                    <a:pt x="4770" y="629"/>
                  </a:lnTo>
                  <a:cubicBezTo>
                    <a:pt x="4955" y="629"/>
                    <a:pt x="5066" y="481"/>
                    <a:pt x="5066" y="333"/>
                  </a:cubicBezTo>
                  <a:cubicBezTo>
                    <a:pt x="5066" y="148"/>
                    <a:pt x="4955" y="0"/>
                    <a:pt x="4770"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5" name="Google Shape;2055;p37"/>
            <p:cNvSpPr/>
            <p:nvPr/>
          </p:nvSpPr>
          <p:spPr>
            <a:xfrm>
              <a:off x="3917650" y="3287275"/>
              <a:ext cx="247725" cy="15725"/>
            </a:xfrm>
            <a:custGeom>
              <a:avLst/>
              <a:gdLst/>
              <a:ahLst/>
              <a:cxnLst/>
              <a:rect l="l" t="t" r="r" b="b"/>
              <a:pathLst>
                <a:path w="9909" h="629" extrusionOk="0">
                  <a:moveTo>
                    <a:pt x="296" y="0"/>
                  </a:moveTo>
                  <a:cubicBezTo>
                    <a:pt x="148" y="0"/>
                    <a:pt x="1" y="148"/>
                    <a:pt x="1" y="333"/>
                  </a:cubicBezTo>
                  <a:cubicBezTo>
                    <a:pt x="1" y="481"/>
                    <a:pt x="148" y="629"/>
                    <a:pt x="296" y="629"/>
                  </a:cubicBezTo>
                  <a:lnTo>
                    <a:pt x="9613" y="629"/>
                  </a:lnTo>
                  <a:cubicBezTo>
                    <a:pt x="9798" y="629"/>
                    <a:pt x="9909" y="481"/>
                    <a:pt x="9909" y="333"/>
                  </a:cubicBezTo>
                  <a:cubicBezTo>
                    <a:pt x="9909" y="148"/>
                    <a:pt x="9798" y="0"/>
                    <a:pt x="9613"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6" name="Google Shape;2056;p37"/>
            <p:cNvSpPr/>
            <p:nvPr/>
          </p:nvSpPr>
          <p:spPr>
            <a:xfrm>
              <a:off x="3805825" y="3287275"/>
              <a:ext cx="75800" cy="15725"/>
            </a:xfrm>
            <a:custGeom>
              <a:avLst/>
              <a:gdLst/>
              <a:ahLst/>
              <a:cxnLst/>
              <a:rect l="l" t="t" r="r" b="b"/>
              <a:pathLst>
                <a:path w="3032" h="629" extrusionOk="0">
                  <a:moveTo>
                    <a:pt x="333" y="0"/>
                  </a:moveTo>
                  <a:cubicBezTo>
                    <a:pt x="148" y="0"/>
                    <a:pt x="0" y="148"/>
                    <a:pt x="0" y="333"/>
                  </a:cubicBezTo>
                  <a:cubicBezTo>
                    <a:pt x="0" y="481"/>
                    <a:pt x="148" y="629"/>
                    <a:pt x="333" y="629"/>
                  </a:cubicBezTo>
                  <a:lnTo>
                    <a:pt x="2736" y="629"/>
                  </a:lnTo>
                  <a:cubicBezTo>
                    <a:pt x="2921" y="629"/>
                    <a:pt x="3032" y="481"/>
                    <a:pt x="3032" y="333"/>
                  </a:cubicBezTo>
                  <a:cubicBezTo>
                    <a:pt x="3032" y="148"/>
                    <a:pt x="2921" y="0"/>
                    <a:pt x="2736"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7" name="Google Shape;2057;p37"/>
            <p:cNvSpPr/>
            <p:nvPr/>
          </p:nvSpPr>
          <p:spPr>
            <a:xfrm>
              <a:off x="1700350" y="3333475"/>
              <a:ext cx="69325" cy="154400"/>
            </a:xfrm>
            <a:custGeom>
              <a:avLst/>
              <a:gdLst/>
              <a:ahLst/>
              <a:cxnLst/>
              <a:rect l="l" t="t" r="r" b="b"/>
              <a:pathLst>
                <a:path w="2773" h="6176" extrusionOk="0">
                  <a:moveTo>
                    <a:pt x="0" y="1"/>
                  </a:moveTo>
                  <a:lnTo>
                    <a:pt x="0" y="6175"/>
                  </a:lnTo>
                  <a:lnTo>
                    <a:pt x="2773" y="6175"/>
                  </a:lnTo>
                  <a:lnTo>
                    <a:pt x="2773" y="1"/>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8" name="Google Shape;2058;p37"/>
            <p:cNvSpPr/>
            <p:nvPr/>
          </p:nvSpPr>
          <p:spPr>
            <a:xfrm>
              <a:off x="1838975" y="3401875"/>
              <a:ext cx="69350" cy="86000"/>
            </a:xfrm>
            <a:custGeom>
              <a:avLst/>
              <a:gdLst/>
              <a:ahLst/>
              <a:cxnLst/>
              <a:rect l="l" t="t" r="r" b="b"/>
              <a:pathLst>
                <a:path w="2774" h="3440" extrusionOk="0">
                  <a:moveTo>
                    <a:pt x="1" y="1"/>
                  </a:moveTo>
                  <a:lnTo>
                    <a:pt x="1" y="3439"/>
                  </a:lnTo>
                  <a:lnTo>
                    <a:pt x="2774" y="3439"/>
                  </a:lnTo>
                  <a:lnTo>
                    <a:pt x="2774"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59" name="Google Shape;2059;p37"/>
            <p:cNvSpPr/>
            <p:nvPr/>
          </p:nvSpPr>
          <p:spPr>
            <a:xfrm>
              <a:off x="1977625" y="3441625"/>
              <a:ext cx="69350" cy="46250"/>
            </a:xfrm>
            <a:custGeom>
              <a:avLst/>
              <a:gdLst/>
              <a:ahLst/>
              <a:cxnLst/>
              <a:rect l="l" t="t" r="r" b="b"/>
              <a:pathLst>
                <a:path w="2774" h="1850" extrusionOk="0">
                  <a:moveTo>
                    <a:pt x="0" y="0"/>
                  </a:moveTo>
                  <a:lnTo>
                    <a:pt x="0" y="1849"/>
                  </a:lnTo>
                  <a:lnTo>
                    <a:pt x="2773" y="1849"/>
                  </a:lnTo>
                  <a:lnTo>
                    <a:pt x="2773" y="0"/>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0" name="Google Shape;2060;p37"/>
            <p:cNvSpPr/>
            <p:nvPr/>
          </p:nvSpPr>
          <p:spPr>
            <a:xfrm>
              <a:off x="2116250" y="3378775"/>
              <a:ext cx="69350" cy="109100"/>
            </a:xfrm>
            <a:custGeom>
              <a:avLst/>
              <a:gdLst/>
              <a:ahLst/>
              <a:cxnLst/>
              <a:rect l="l" t="t" r="r" b="b"/>
              <a:pathLst>
                <a:path w="2774" h="4364" extrusionOk="0">
                  <a:moveTo>
                    <a:pt x="1" y="0"/>
                  </a:moveTo>
                  <a:lnTo>
                    <a:pt x="1" y="4363"/>
                  </a:lnTo>
                  <a:lnTo>
                    <a:pt x="2774" y="4363"/>
                  </a:lnTo>
                  <a:lnTo>
                    <a:pt x="2774" y="0"/>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1" name="Google Shape;2061;p37"/>
            <p:cNvSpPr/>
            <p:nvPr/>
          </p:nvSpPr>
          <p:spPr>
            <a:xfrm>
              <a:off x="2254900" y="3418525"/>
              <a:ext cx="69350" cy="69350"/>
            </a:xfrm>
            <a:custGeom>
              <a:avLst/>
              <a:gdLst/>
              <a:ahLst/>
              <a:cxnLst/>
              <a:rect l="l" t="t" r="r" b="b"/>
              <a:pathLst>
                <a:path w="2774" h="2774" extrusionOk="0">
                  <a:moveTo>
                    <a:pt x="0" y="0"/>
                  </a:moveTo>
                  <a:lnTo>
                    <a:pt x="0" y="2773"/>
                  </a:lnTo>
                  <a:lnTo>
                    <a:pt x="2773" y="2773"/>
                  </a:lnTo>
                  <a:lnTo>
                    <a:pt x="2773" y="0"/>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2" name="Google Shape;2062;p37"/>
            <p:cNvSpPr/>
            <p:nvPr/>
          </p:nvSpPr>
          <p:spPr>
            <a:xfrm>
              <a:off x="2393550" y="3373225"/>
              <a:ext cx="69325" cy="114650"/>
            </a:xfrm>
            <a:custGeom>
              <a:avLst/>
              <a:gdLst/>
              <a:ahLst/>
              <a:cxnLst/>
              <a:rect l="l" t="t" r="r" b="b"/>
              <a:pathLst>
                <a:path w="2773" h="4586" extrusionOk="0">
                  <a:moveTo>
                    <a:pt x="0" y="1"/>
                  </a:moveTo>
                  <a:lnTo>
                    <a:pt x="0" y="4585"/>
                  </a:lnTo>
                  <a:lnTo>
                    <a:pt x="2773" y="4585"/>
                  </a:lnTo>
                  <a:lnTo>
                    <a:pt x="2773"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3" name="Google Shape;2063;p37"/>
            <p:cNvSpPr/>
            <p:nvPr/>
          </p:nvSpPr>
          <p:spPr>
            <a:xfrm>
              <a:off x="2532175" y="3468425"/>
              <a:ext cx="69350" cy="19450"/>
            </a:xfrm>
            <a:custGeom>
              <a:avLst/>
              <a:gdLst/>
              <a:ahLst/>
              <a:cxnLst/>
              <a:rect l="l" t="t" r="r" b="b"/>
              <a:pathLst>
                <a:path w="2774" h="778" extrusionOk="0">
                  <a:moveTo>
                    <a:pt x="1" y="1"/>
                  </a:moveTo>
                  <a:lnTo>
                    <a:pt x="1" y="777"/>
                  </a:lnTo>
                  <a:lnTo>
                    <a:pt x="2773" y="777"/>
                  </a:lnTo>
                  <a:lnTo>
                    <a:pt x="2773" y="1"/>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4" name="Google Shape;2064;p37"/>
            <p:cNvSpPr/>
            <p:nvPr/>
          </p:nvSpPr>
          <p:spPr>
            <a:xfrm>
              <a:off x="2670825" y="3333475"/>
              <a:ext cx="69350" cy="154400"/>
            </a:xfrm>
            <a:custGeom>
              <a:avLst/>
              <a:gdLst/>
              <a:ahLst/>
              <a:cxnLst/>
              <a:rect l="l" t="t" r="r" b="b"/>
              <a:pathLst>
                <a:path w="2774" h="6176" extrusionOk="0">
                  <a:moveTo>
                    <a:pt x="0" y="1"/>
                  </a:moveTo>
                  <a:lnTo>
                    <a:pt x="0" y="6175"/>
                  </a:lnTo>
                  <a:lnTo>
                    <a:pt x="2773" y="6175"/>
                  </a:lnTo>
                  <a:lnTo>
                    <a:pt x="2773"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5" name="Google Shape;2065;p37"/>
            <p:cNvSpPr/>
            <p:nvPr/>
          </p:nvSpPr>
          <p:spPr>
            <a:xfrm>
              <a:off x="2809450" y="3431450"/>
              <a:ext cx="69350" cy="56425"/>
            </a:xfrm>
            <a:custGeom>
              <a:avLst/>
              <a:gdLst/>
              <a:ahLst/>
              <a:cxnLst/>
              <a:rect l="l" t="t" r="r" b="b"/>
              <a:pathLst>
                <a:path w="2774" h="2257" extrusionOk="0">
                  <a:moveTo>
                    <a:pt x="1" y="1"/>
                  </a:moveTo>
                  <a:lnTo>
                    <a:pt x="1" y="2256"/>
                  </a:lnTo>
                  <a:lnTo>
                    <a:pt x="2774" y="2256"/>
                  </a:lnTo>
                  <a:lnTo>
                    <a:pt x="2774" y="1"/>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6" name="Google Shape;2066;p37"/>
            <p:cNvSpPr/>
            <p:nvPr/>
          </p:nvSpPr>
          <p:spPr>
            <a:xfrm>
              <a:off x="2948100" y="3465650"/>
              <a:ext cx="69350" cy="22225"/>
            </a:xfrm>
            <a:custGeom>
              <a:avLst/>
              <a:gdLst/>
              <a:ahLst/>
              <a:cxnLst/>
              <a:rect l="l" t="t" r="r" b="b"/>
              <a:pathLst>
                <a:path w="2774" h="889" extrusionOk="0">
                  <a:moveTo>
                    <a:pt x="0" y="1"/>
                  </a:moveTo>
                  <a:lnTo>
                    <a:pt x="0" y="888"/>
                  </a:lnTo>
                  <a:lnTo>
                    <a:pt x="2773" y="888"/>
                  </a:lnTo>
                  <a:lnTo>
                    <a:pt x="2773"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7" name="Google Shape;2067;p37"/>
            <p:cNvSpPr/>
            <p:nvPr/>
          </p:nvSpPr>
          <p:spPr>
            <a:xfrm>
              <a:off x="3086750" y="3437000"/>
              <a:ext cx="69325" cy="50875"/>
            </a:xfrm>
            <a:custGeom>
              <a:avLst/>
              <a:gdLst/>
              <a:ahLst/>
              <a:cxnLst/>
              <a:rect l="l" t="t" r="r" b="b"/>
              <a:pathLst>
                <a:path w="2773" h="2035" extrusionOk="0">
                  <a:moveTo>
                    <a:pt x="0" y="1"/>
                  </a:moveTo>
                  <a:lnTo>
                    <a:pt x="0" y="2034"/>
                  </a:lnTo>
                  <a:lnTo>
                    <a:pt x="2773" y="2034"/>
                  </a:lnTo>
                  <a:lnTo>
                    <a:pt x="2773" y="1"/>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8" name="Google Shape;2068;p37"/>
            <p:cNvSpPr/>
            <p:nvPr/>
          </p:nvSpPr>
          <p:spPr>
            <a:xfrm>
              <a:off x="3225375" y="3333475"/>
              <a:ext cx="69350" cy="154400"/>
            </a:xfrm>
            <a:custGeom>
              <a:avLst/>
              <a:gdLst/>
              <a:ahLst/>
              <a:cxnLst/>
              <a:rect l="l" t="t" r="r" b="b"/>
              <a:pathLst>
                <a:path w="2774" h="6176" extrusionOk="0">
                  <a:moveTo>
                    <a:pt x="1" y="1"/>
                  </a:moveTo>
                  <a:lnTo>
                    <a:pt x="1" y="6175"/>
                  </a:lnTo>
                  <a:lnTo>
                    <a:pt x="2773" y="6175"/>
                  </a:lnTo>
                  <a:lnTo>
                    <a:pt x="2773"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69" name="Google Shape;2069;p37"/>
            <p:cNvSpPr/>
            <p:nvPr/>
          </p:nvSpPr>
          <p:spPr>
            <a:xfrm>
              <a:off x="3364025" y="3364900"/>
              <a:ext cx="69325" cy="122975"/>
            </a:xfrm>
            <a:custGeom>
              <a:avLst/>
              <a:gdLst/>
              <a:ahLst/>
              <a:cxnLst/>
              <a:rect l="l" t="t" r="r" b="b"/>
              <a:pathLst>
                <a:path w="2773" h="4919" extrusionOk="0">
                  <a:moveTo>
                    <a:pt x="0" y="1"/>
                  </a:moveTo>
                  <a:lnTo>
                    <a:pt x="0" y="4918"/>
                  </a:lnTo>
                  <a:lnTo>
                    <a:pt x="2773" y="4918"/>
                  </a:lnTo>
                  <a:lnTo>
                    <a:pt x="2773" y="1"/>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0" name="Google Shape;2070;p37"/>
            <p:cNvSpPr/>
            <p:nvPr/>
          </p:nvSpPr>
          <p:spPr>
            <a:xfrm>
              <a:off x="3502650" y="3386175"/>
              <a:ext cx="69350" cy="101700"/>
            </a:xfrm>
            <a:custGeom>
              <a:avLst/>
              <a:gdLst/>
              <a:ahLst/>
              <a:cxnLst/>
              <a:rect l="l" t="t" r="r" b="b"/>
              <a:pathLst>
                <a:path w="2774" h="4068" extrusionOk="0">
                  <a:moveTo>
                    <a:pt x="1" y="0"/>
                  </a:moveTo>
                  <a:lnTo>
                    <a:pt x="1" y="4067"/>
                  </a:lnTo>
                  <a:lnTo>
                    <a:pt x="2774" y="4067"/>
                  </a:lnTo>
                  <a:lnTo>
                    <a:pt x="2774" y="0"/>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1" name="Google Shape;2071;p37"/>
            <p:cNvSpPr/>
            <p:nvPr/>
          </p:nvSpPr>
          <p:spPr>
            <a:xfrm>
              <a:off x="3855725" y="1244650"/>
              <a:ext cx="170100" cy="822625"/>
            </a:xfrm>
            <a:custGeom>
              <a:avLst/>
              <a:gdLst/>
              <a:ahLst/>
              <a:cxnLst/>
              <a:rect l="l" t="t" r="r" b="b"/>
              <a:pathLst>
                <a:path w="6804" h="32905" extrusionOk="0">
                  <a:moveTo>
                    <a:pt x="296" y="0"/>
                  </a:moveTo>
                  <a:cubicBezTo>
                    <a:pt x="222" y="0"/>
                    <a:pt x="148" y="37"/>
                    <a:pt x="111" y="74"/>
                  </a:cubicBezTo>
                  <a:cubicBezTo>
                    <a:pt x="38" y="148"/>
                    <a:pt x="1" y="222"/>
                    <a:pt x="1" y="296"/>
                  </a:cubicBezTo>
                  <a:lnTo>
                    <a:pt x="1" y="32571"/>
                  </a:lnTo>
                  <a:cubicBezTo>
                    <a:pt x="1" y="32756"/>
                    <a:pt x="148" y="32904"/>
                    <a:pt x="296" y="32904"/>
                  </a:cubicBezTo>
                  <a:cubicBezTo>
                    <a:pt x="481" y="32904"/>
                    <a:pt x="629" y="32756"/>
                    <a:pt x="629" y="32571"/>
                  </a:cubicBezTo>
                  <a:lnTo>
                    <a:pt x="629" y="629"/>
                  </a:lnTo>
                  <a:lnTo>
                    <a:pt x="6507" y="629"/>
                  </a:lnTo>
                  <a:cubicBezTo>
                    <a:pt x="6655" y="629"/>
                    <a:pt x="6803" y="481"/>
                    <a:pt x="6803" y="296"/>
                  </a:cubicBezTo>
                  <a:cubicBezTo>
                    <a:pt x="6803" y="148"/>
                    <a:pt x="6655" y="0"/>
                    <a:pt x="6507"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2" name="Google Shape;2072;p37"/>
            <p:cNvSpPr/>
            <p:nvPr/>
          </p:nvSpPr>
          <p:spPr>
            <a:xfrm>
              <a:off x="4130225" y="1239100"/>
              <a:ext cx="302275" cy="14800"/>
            </a:xfrm>
            <a:custGeom>
              <a:avLst/>
              <a:gdLst/>
              <a:ahLst/>
              <a:cxnLst/>
              <a:rect l="l" t="t" r="r" b="b"/>
              <a:pathLst>
                <a:path w="12091" h="592" extrusionOk="0">
                  <a:moveTo>
                    <a:pt x="334" y="0"/>
                  </a:moveTo>
                  <a:cubicBezTo>
                    <a:pt x="149" y="0"/>
                    <a:pt x="1" y="148"/>
                    <a:pt x="1" y="296"/>
                  </a:cubicBezTo>
                  <a:cubicBezTo>
                    <a:pt x="1" y="481"/>
                    <a:pt x="149" y="592"/>
                    <a:pt x="334" y="592"/>
                  </a:cubicBezTo>
                  <a:lnTo>
                    <a:pt x="11757" y="592"/>
                  </a:lnTo>
                  <a:cubicBezTo>
                    <a:pt x="11942" y="592"/>
                    <a:pt x="12090" y="481"/>
                    <a:pt x="12090" y="296"/>
                  </a:cubicBezTo>
                  <a:cubicBezTo>
                    <a:pt x="12090" y="148"/>
                    <a:pt x="11942" y="0"/>
                    <a:pt x="11757"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3" name="Google Shape;2073;p37"/>
            <p:cNvSpPr/>
            <p:nvPr/>
          </p:nvSpPr>
          <p:spPr>
            <a:xfrm>
              <a:off x="4130225" y="1330600"/>
              <a:ext cx="302275" cy="15725"/>
            </a:xfrm>
            <a:custGeom>
              <a:avLst/>
              <a:gdLst/>
              <a:ahLst/>
              <a:cxnLst/>
              <a:rect l="l" t="t" r="r" b="b"/>
              <a:pathLst>
                <a:path w="12091" h="629" extrusionOk="0">
                  <a:moveTo>
                    <a:pt x="334" y="0"/>
                  </a:moveTo>
                  <a:cubicBezTo>
                    <a:pt x="149" y="0"/>
                    <a:pt x="1" y="148"/>
                    <a:pt x="1" y="296"/>
                  </a:cubicBezTo>
                  <a:cubicBezTo>
                    <a:pt x="1" y="481"/>
                    <a:pt x="149" y="629"/>
                    <a:pt x="334" y="629"/>
                  </a:cubicBezTo>
                  <a:lnTo>
                    <a:pt x="11757" y="629"/>
                  </a:lnTo>
                  <a:cubicBezTo>
                    <a:pt x="11942" y="629"/>
                    <a:pt x="12090" y="481"/>
                    <a:pt x="12090" y="296"/>
                  </a:cubicBezTo>
                  <a:cubicBezTo>
                    <a:pt x="12090" y="148"/>
                    <a:pt x="11942" y="0"/>
                    <a:pt x="11757"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4" name="Google Shape;2074;p37"/>
            <p:cNvSpPr/>
            <p:nvPr/>
          </p:nvSpPr>
          <p:spPr>
            <a:xfrm>
              <a:off x="4130225" y="1422100"/>
              <a:ext cx="302275" cy="15725"/>
            </a:xfrm>
            <a:custGeom>
              <a:avLst/>
              <a:gdLst/>
              <a:ahLst/>
              <a:cxnLst/>
              <a:rect l="l" t="t" r="r" b="b"/>
              <a:pathLst>
                <a:path w="12091" h="629" extrusionOk="0">
                  <a:moveTo>
                    <a:pt x="334" y="0"/>
                  </a:moveTo>
                  <a:cubicBezTo>
                    <a:pt x="149" y="0"/>
                    <a:pt x="1" y="148"/>
                    <a:pt x="1" y="296"/>
                  </a:cubicBezTo>
                  <a:cubicBezTo>
                    <a:pt x="1" y="481"/>
                    <a:pt x="149" y="629"/>
                    <a:pt x="334" y="629"/>
                  </a:cubicBezTo>
                  <a:lnTo>
                    <a:pt x="11757" y="629"/>
                  </a:lnTo>
                  <a:cubicBezTo>
                    <a:pt x="11942" y="629"/>
                    <a:pt x="12090" y="481"/>
                    <a:pt x="12090" y="296"/>
                  </a:cubicBezTo>
                  <a:cubicBezTo>
                    <a:pt x="12090" y="148"/>
                    <a:pt x="11942" y="0"/>
                    <a:pt x="11757"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5" name="Google Shape;2075;p37"/>
            <p:cNvSpPr/>
            <p:nvPr/>
          </p:nvSpPr>
          <p:spPr>
            <a:xfrm>
              <a:off x="1709575" y="4545200"/>
              <a:ext cx="317975" cy="15750"/>
            </a:xfrm>
            <a:custGeom>
              <a:avLst/>
              <a:gdLst/>
              <a:ahLst/>
              <a:cxnLst/>
              <a:rect l="l" t="t" r="r" b="b"/>
              <a:pathLst>
                <a:path w="12719" h="630" extrusionOk="0">
                  <a:moveTo>
                    <a:pt x="297" y="1"/>
                  </a:moveTo>
                  <a:cubicBezTo>
                    <a:pt x="112" y="1"/>
                    <a:pt x="1" y="148"/>
                    <a:pt x="1" y="296"/>
                  </a:cubicBezTo>
                  <a:cubicBezTo>
                    <a:pt x="1" y="481"/>
                    <a:pt x="112" y="629"/>
                    <a:pt x="297" y="629"/>
                  </a:cubicBezTo>
                  <a:lnTo>
                    <a:pt x="12423" y="629"/>
                  </a:lnTo>
                  <a:cubicBezTo>
                    <a:pt x="12608" y="629"/>
                    <a:pt x="12719" y="481"/>
                    <a:pt x="12719" y="296"/>
                  </a:cubicBezTo>
                  <a:cubicBezTo>
                    <a:pt x="12719" y="148"/>
                    <a:pt x="12608" y="1"/>
                    <a:pt x="12423"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6" name="Google Shape;2076;p37"/>
            <p:cNvSpPr/>
            <p:nvPr/>
          </p:nvSpPr>
          <p:spPr>
            <a:xfrm>
              <a:off x="1709575" y="4631150"/>
              <a:ext cx="317975" cy="15750"/>
            </a:xfrm>
            <a:custGeom>
              <a:avLst/>
              <a:gdLst/>
              <a:ahLst/>
              <a:cxnLst/>
              <a:rect l="l" t="t" r="r" b="b"/>
              <a:pathLst>
                <a:path w="12719" h="630" extrusionOk="0">
                  <a:moveTo>
                    <a:pt x="297" y="1"/>
                  </a:moveTo>
                  <a:cubicBezTo>
                    <a:pt x="112" y="1"/>
                    <a:pt x="1" y="149"/>
                    <a:pt x="1" y="297"/>
                  </a:cubicBezTo>
                  <a:cubicBezTo>
                    <a:pt x="1" y="481"/>
                    <a:pt x="112" y="629"/>
                    <a:pt x="297" y="629"/>
                  </a:cubicBezTo>
                  <a:lnTo>
                    <a:pt x="12423" y="629"/>
                  </a:lnTo>
                  <a:cubicBezTo>
                    <a:pt x="12608" y="629"/>
                    <a:pt x="12719" y="481"/>
                    <a:pt x="12719" y="297"/>
                  </a:cubicBezTo>
                  <a:cubicBezTo>
                    <a:pt x="12719" y="149"/>
                    <a:pt x="12608" y="1"/>
                    <a:pt x="12423"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7" name="Google Shape;2077;p37"/>
            <p:cNvSpPr/>
            <p:nvPr/>
          </p:nvSpPr>
          <p:spPr>
            <a:xfrm>
              <a:off x="1709575" y="4717125"/>
              <a:ext cx="317975" cy="15725"/>
            </a:xfrm>
            <a:custGeom>
              <a:avLst/>
              <a:gdLst/>
              <a:ahLst/>
              <a:cxnLst/>
              <a:rect l="l" t="t" r="r" b="b"/>
              <a:pathLst>
                <a:path w="12719" h="629" extrusionOk="0">
                  <a:moveTo>
                    <a:pt x="297" y="0"/>
                  </a:moveTo>
                  <a:cubicBezTo>
                    <a:pt x="112" y="0"/>
                    <a:pt x="1" y="148"/>
                    <a:pt x="1" y="296"/>
                  </a:cubicBezTo>
                  <a:cubicBezTo>
                    <a:pt x="1" y="481"/>
                    <a:pt x="112" y="629"/>
                    <a:pt x="297" y="629"/>
                  </a:cubicBezTo>
                  <a:lnTo>
                    <a:pt x="12423" y="629"/>
                  </a:lnTo>
                  <a:cubicBezTo>
                    <a:pt x="12608" y="629"/>
                    <a:pt x="12719" y="481"/>
                    <a:pt x="12719" y="296"/>
                  </a:cubicBezTo>
                  <a:cubicBezTo>
                    <a:pt x="12719" y="148"/>
                    <a:pt x="12608" y="0"/>
                    <a:pt x="12423"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8" name="Google Shape;2078;p37"/>
            <p:cNvSpPr/>
            <p:nvPr/>
          </p:nvSpPr>
          <p:spPr>
            <a:xfrm>
              <a:off x="1709575" y="4803075"/>
              <a:ext cx="317975" cy="14800"/>
            </a:xfrm>
            <a:custGeom>
              <a:avLst/>
              <a:gdLst/>
              <a:ahLst/>
              <a:cxnLst/>
              <a:rect l="l" t="t" r="r" b="b"/>
              <a:pathLst>
                <a:path w="12719" h="592" extrusionOk="0">
                  <a:moveTo>
                    <a:pt x="297" y="0"/>
                  </a:moveTo>
                  <a:cubicBezTo>
                    <a:pt x="112" y="0"/>
                    <a:pt x="1" y="111"/>
                    <a:pt x="1" y="296"/>
                  </a:cubicBezTo>
                  <a:cubicBezTo>
                    <a:pt x="1" y="481"/>
                    <a:pt x="112" y="592"/>
                    <a:pt x="297" y="592"/>
                  </a:cubicBezTo>
                  <a:lnTo>
                    <a:pt x="12423" y="592"/>
                  </a:lnTo>
                  <a:cubicBezTo>
                    <a:pt x="12608" y="592"/>
                    <a:pt x="12719" y="481"/>
                    <a:pt x="12719" y="296"/>
                  </a:cubicBezTo>
                  <a:cubicBezTo>
                    <a:pt x="12719" y="111"/>
                    <a:pt x="12608" y="0"/>
                    <a:pt x="12423"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79" name="Google Shape;2079;p37"/>
            <p:cNvSpPr/>
            <p:nvPr/>
          </p:nvSpPr>
          <p:spPr>
            <a:xfrm>
              <a:off x="2163400" y="3753100"/>
              <a:ext cx="949250" cy="949250"/>
            </a:xfrm>
            <a:custGeom>
              <a:avLst/>
              <a:gdLst/>
              <a:ahLst/>
              <a:cxnLst/>
              <a:rect l="l" t="t" r="r" b="b"/>
              <a:pathLst>
                <a:path w="37970" h="37970" extrusionOk="0">
                  <a:moveTo>
                    <a:pt x="19003" y="1"/>
                  </a:moveTo>
                  <a:cubicBezTo>
                    <a:pt x="8504" y="1"/>
                    <a:pt x="0" y="8504"/>
                    <a:pt x="0" y="19004"/>
                  </a:cubicBezTo>
                  <a:cubicBezTo>
                    <a:pt x="0" y="29466"/>
                    <a:pt x="8504" y="37970"/>
                    <a:pt x="19003" y="37970"/>
                  </a:cubicBezTo>
                  <a:cubicBezTo>
                    <a:pt x="29466" y="37970"/>
                    <a:pt x="37969" y="29466"/>
                    <a:pt x="37969" y="19004"/>
                  </a:cubicBezTo>
                  <a:cubicBezTo>
                    <a:pt x="37969" y="8504"/>
                    <a:pt x="29466" y="1"/>
                    <a:pt x="19003"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0" name="Google Shape;2080;p37"/>
            <p:cNvSpPr/>
            <p:nvPr/>
          </p:nvSpPr>
          <p:spPr>
            <a:xfrm>
              <a:off x="2155075" y="3744775"/>
              <a:ext cx="965875" cy="965900"/>
            </a:xfrm>
            <a:custGeom>
              <a:avLst/>
              <a:gdLst/>
              <a:ahLst/>
              <a:cxnLst/>
              <a:rect l="l" t="t" r="r" b="b"/>
              <a:pathLst>
                <a:path w="38635" h="38636" extrusionOk="0">
                  <a:moveTo>
                    <a:pt x="19336" y="629"/>
                  </a:moveTo>
                  <a:cubicBezTo>
                    <a:pt x="24475" y="629"/>
                    <a:pt x="29133" y="2737"/>
                    <a:pt x="32535" y="6101"/>
                  </a:cubicBezTo>
                  <a:cubicBezTo>
                    <a:pt x="35899" y="9502"/>
                    <a:pt x="38006" y="14161"/>
                    <a:pt x="38006" y="19337"/>
                  </a:cubicBezTo>
                  <a:cubicBezTo>
                    <a:pt x="38006" y="24476"/>
                    <a:pt x="35899" y="29171"/>
                    <a:pt x="32535" y="32535"/>
                  </a:cubicBezTo>
                  <a:cubicBezTo>
                    <a:pt x="29133" y="35936"/>
                    <a:pt x="24475" y="38007"/>
                    <a:pt x="19336" y="38007"/>
                  </a:cubicBezTo>
                  <a:cubicBezTo>
                    <a:pt x="14160" y="38007"/>
                    <a:pt x="9502" y="35936"/>
                    <a:pt x="6101" y="32535"/>
                  </a:cubicBezTo>
                  <a:cubicBezTo>
                    <a:pt x="2736" y="29171"/>
                    <a:pt x="629" y="24476"/>
                    <a:pt x="629" y="19337"/>
                  </a:cubicBezTo>
                  <a:cubicBezTo>
                    <a:pt x="629" y="14161"/>
                    <a:pt x="2736" y="9502"/>
                    <a:pt x="6101" y="6101"/>
                  </a:cubicBezTo>
                  <a:cubicBezTo>
                    <a:pt x="9502" y="2737"/>
                    <a:pt x="14160" y="629"/>
                    <a:pt x="19336" y="629"/>
                  </a:cubicBezTo>
                  <a:close/>
                  <a:moveTo>
                    <a:pt x="19336" y="1"/>
                  </a:moveTo>
                  <a:cubicBezTo>
                    <a:pt x="8652" y="1"/>
                    <a:pt x="1" y="8652"/>
                    <a:pt x="1" y="19337"/>
                  </a:cubicBezTo>
                  <a:cubicBezTo>
                    <a:pt x="1" y="29984"/>
                    <a:pt x="8652" y="38635"/>
                    <a:pt x="19336" y="38635"/>
                  </a:cubicBezTo>
                  <a:cubicBezTo>
                    <a:pt x="29984" y="38635"/>
                    <a:pt x="38635" y="29984"/>
                    <a:pt x="38635" y="19337"/>
                  </a:cubicBezTo>
                  <a:cubicBezTo>
                    <a:pt x="38635" y="8652"/>
                    <a:pt x="29984" y="1"/>
                    <a:pt x="19336"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1" name="Google Shape;2081;p37"/>
            <p:cNvSpPr/>
            <p:nvPr/>
          </p:nvSpPr>
          <p:spPr>
            <a:xfrm>
              <a:off x="2283550" y="3873250"/>
              <a:ext cx="708950" cy="708950"/>
            </a:xfrm>
            <a:custGeom>
              <a:avLst/>
              <a:gdLst/>
              <a:ahLst/>
              <a:cxnLst/>
              <a:rect l="l" t="t" r="r" b="b"/>
              <a:pathLst>
                <a:path w="28358" h="28358" extrusionOk="0">
                  <a:moveTo>
                    <a:pt x="14197" y="1"/>
                  </a:moveTo>
                  <a:cubicBezTo>
                    <a:pt x="6360" y="1"/>
                    <a:pt x="1" y="6360"/>
                    <a:pt x="1" y="14198"/>
                  </a:cubicBezTo>
                  <a:cubicBezTo>
                    <a:pt x="1" y="22035"/>
                    <a:pt x="6360" y="28357"/>
                    <a:pt x="14197" y="28357"/>
                  </a:cubicBezTo>
                  <a:cubicBezTo>
                    <a:pt x="22035" y="28357"/>
                    <a:pt x="28357" y="22035"/>
                    <a:pt x="28357" y="14198"/>
                  </a:cubicBezTo>
                  <a:cubicBezTo>
                    <a:pt x="28357" y="6360"/>
                    <a:pt x="22035" y="1"/>
                    <a:pt x="14197" y="1"/>
                  </a:cubicBezTo>
                  <a:close/>
                </a:path>
              </a:pathLst>
            </a:custGeom>
            <a:solidFill>
              <a:srgbClr val="FFFFFF"/>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2" name="Google Shape;2082;p37"/>
            <p:cNvSpPr/>
            <p:nvPr/>
          </p:nvSpPr>
          <p:spPr>
            <a:xfrm>
              <a:off x="2275225" y="3864950"/>
              <a:ext cx="725575" cy="725575"/>
            </a:xfrm>
            <a:custGeom>
              <a:avLst/>
              <a:gdLst/>
              <a:ahLst/>
              <a:cxnLst/>
              <a:rect l="l" t="t" r="r" b="b"/>
              <a:pathLst>
                <a:path w="29023" h="29023" extrusionOk="0">
                  <a:moveTo>
                    <a:pt x="14530" y="629"/>
                  </a:moveTo>
                  <a:cubicBezTo>
                    <a:pt x="18338" y="629"/>
                    <a:pt x="21813" y="2181"/>
                    <a:pt x="24327" y="4695"/>
                  </a:cubicBezTo>
                  <a:cubicBezTo>
                    <a:pt x="26841" y="7209"/>
                    <a:pt x="28394" y="10685"/>
                    <a:pt x="28394" y="14530"/>
                  </a:cubicBezTo>
                  <a:cubicBezTo>
                    <a:pt x="28394" y="18338"/>
                    <a:pt x="26841" y="21813"/>
                    <a:pt x="24327" y="24327"/>
                  </a:cubicBezTo>
                  <a:cubicBezTo>
                    <a:pt x="21813" y="26841"/>
                    <a:pt x="18338" y="28394"/>
                    <a:pt x="14530" y="28394"/>
                  </a:cubicBezTo>
                  <a:cubicBezTo>
                    <a:pt x="10685" y="28394"/>
                    <a:pt x="7210" y="26841"/>
                    <a:pt x="4696" y="24327"/>
                  </a:cubicBezTo>
                  <a:cubicBezTo>
                    <a:pt x="2182" y="21813"/>
                    <a:pt x="629" y="18338"/>
                    <a:pt x="629" y="14530"/>
                  </a:cubicBezTo>
                  <a:cubicBezTo>
                    <a:pt x="629" y="10685"/>
                    <a:pt x="2182" y="7209"/>
                    <a:pt x="4696" y="4695"/>
                  </a:cubicBezTo>
                  <a:cubicBezTo>
                    <a:pt x="7210" y="2181"/>
                    <a:pt x="10685" y="629"/>
                    <a:pt x="14530" y="629"/>
                  </a:cubicBezTo>
                  <a:close/>
                  <a:moveTo>
                    <a:pt x="14530" y="0"/>
                  </a:moveTo>
                  <a:cubicBezTo>
                    <a:pt x="6508" y="0"/>
                    <a:pt x="1" y="6507"/>
                    <a:pt x="1" y="14530"/>
                  </a:cubicBezTo>
                  <a:cubicBezTo>
                    <a:pt x="1" y="22515"/>
                    <a:pt x="6508" y="29022"/>
                    <a:pt x="14530" y="29022"/>
                  </a:cubicBezTo>
                  <a:cubicBezTo>
                    <a:pt x="22516" y="29022"/>
                    <a:pt x="29023" y="22515"/>
                    <a:pt x="29023" y="14530"/>
                  </a:cubicBezTo>
                  <a:cubicBezTo>
                    <a:pt x="29023" y="6507"/>
                    <a:pt x="22516" y="0"/>
                    <a:pt x="14530"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3" name="Google Shape;2083;p37"/>
            <p:cNvSpPr/>
            <p:nvPr/>
          </p:nvSpPr>
          <p:spPr>
            <a:xfrm>
              <a:off x="2413875" y="4003575"/>
              <a:ext cx="448300" cy="448300"/>
            </a:xfrm>
            <a:custGeom>
              <a:avLst/>
              <a:gdLst/>
              <a:ahLst/>
              <a:cxnLst/>
              <a:rect l="l" t="t" r="r" b="b"/>
              <a:pathLst>
                <a:path w="17932" h="17932" extrusionOk="0">
                  <a:moveTo>
                    <a:pt x="8984" y="1"/>
                  </a:moveTo>
                  <a:cubicBezTo>
                    <a:pt x="4030" y="1"/>
                    <a:pt x="0" y="4030"/>
                    <a:pt x="0" y="8985"/>
                  </a:cubicBezTo>
                  <a:cubicBezTo>
                    <a:pt x="0" y="13902"/>
                    <a:pt x="4030" y="17931"/>
                    <a:pt x="8984" y="17931"/>
                  </a:cubicBezTo>
                  <a:cubicBezTo>
                    <a:pt x="13901" y="17931"/>
                    <a:pt x="17931" y="13902"/>
                    <a:pt x="17931" y="8985"/>
                  </a:cubicBezTo>
                  <a:cubicBezTo>
                    <a:pt x="17931" y="4030"/>
                    <a:pt x="13901" y="1"/>
                    <a:pt x="8984"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4" name="Google Shape;2084;p37"/>
            <p:cNvSpPr/>
            <p:nvPr/>
          </p:nvSpPr>
          <p:spPr>
            <a:xfrm>
              <a:off x="2406475" y="3996175"/>
              <a:ext cx="463075" cy="463100"/>
            </a:xfrm>
            <a:custGeom>
              <a:avLst/>
              <a:gdLst/>
              <a:ahLst/>
              <a:cxnLst/>
              <a:rect l="l" t="t" r="r" b="b"/>
              <a:pathLst>
                <a:path w="18523" h="18524" extrusionOk="0">
                  <a:moveTo>
                    <a:pt x="9280" y="592"/>
                  </a:moveTo>
                  <a:cubicBezTo>
                    <a:pt x="11646" y="592"/>
                    <a:pt x="13828" y="1591"/>
                    <a:pt x="15380" y="3143"/>
                  </a:cubicBezTo>
                  <a:cubicBezTo>
                    <a:pt x="16933" y="4696"/>
                    <a:pt x="17931" y="6877"/>
                    <a:pt x="17931" y="9281"/>
                  </a:cubicBezTo>
                  <a:cubicBezTo>
                    <a:pt x="17931" y="11647"/>
                    <a:pt x="16933" y="13828"/>
                    <a:pt x="15380" y="15381"/>
                  </a:cubicBezTo>
                  <a:cubicBezTo>
                    <a:pt x="13828" y="16934"/>
                    <a:pt x="11646" y="17932"/>
                    <a:pt x="9280" y="17932"/>
                  </a:cubicBezTo>
                  <a:cubicBezTo>
                    <a:pt x="6877" y="17932"/>
                    <a:pt x="4696" y="16934"/>
                    <a:pt x="3143" y="15381"/>
                  </a:cubicBezTo>
                  <a:cubicBezTo>
                    <a:pt x="1590" y="13828"/>
                    <a:pt x="592" y="11647"/>
                    <a:pt x="592" y="9281"/>
                  </a:cubicBezTo>
                  <a:cubicBezTo>
                    <a:pt x="592" y="6877"/>
                    <a:pt x="1590" y="4696"/>
                    <a:pt x="3143" y="3143"/>
                  </a:cubicBezTo>
                  <a:cubicBezTo>
                    <a:pt x="4696" y="1591"/>
                    <a:pt x="6877" y="592"/>
                    <a:pt x="9280" y="592"/>
                  </a:cubicBezTo>
                  <a:close/>
                  <a:moveTo>
                    <a:pt x="9280" y="1"/>
                  </a:moveTo>
                  <a:cubicBezTo>
                    <a:pt x="4141" y="1"/>
                    <a:pt x="1" y="4142"/>
                    <a:pt x="1" y="9281"/>
                  </a:cubicBezTo>
                  <a:cubicBezTo>
                    <a:pt x="1" y="14383"/>
                    <a:pt x="4141" y="18523"/>
                    <a:pt x="9280" y="18523"/>
                  </a:cubicBezTo>
                  <a:cubicBezTo>
                    <a:pt x="14382" y="18523"/>
                    <a:pt x="18523" y="14383"/>
                    <a:pt x="18523" y="9281"/>
                  </a:cubicBezTo>
                  <a:cubicBezTo>
                    <a:pt x="18523" y="4142"/>
                    <a:pt x="14382" y="1"/>
                    <a:pt x="9280"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5" name="Google Shape;2085;p37"/>
            <p:cNvSpPr/>
            <p:nvPr/>
          </p:nvSpPr>
          <p:spPr>
            <a:xfrm>
              <a:off x="1636575" y="3993425"/>
              <a:ext cx="469550" cy="468625"/>
            </a:xfrm>
            <a:custGeom>
              <a:avLst/>
              <a:gdLst/>
              <a:ahLst/>
              <a:cxnLst/>
              <a:rect l="l" t="t" r="r" b="b"/>
              <a:pathLst>
                <a:path w="18782" h="18745" extrusionOk="0">
                  <a:moveTo>
                    <a:pt x="9391" y="0"/>
                  </a:moveTo>
                  <a:cubicBezTo>
                    <a:pt x="4215" y="0"/>
                    <a:pt x="0" y="4178"/>
                    <a:pt x="0" y="9391"/>
                  </a:cubicBezTo>
                  <a:cubicBezTo>
                    <a:pt x="0" y="14566"/>
                    <a:pt x="4215" y="18744"/>
                    <a:pt x="9391" y="18744"/>
                  </a:cubicBezTo>
                  <a:cubicBezTo>
                    <a:pt x="14567" y="18744"/>
                    <a:pt x="18781" y="14566"/>
                    <a:pt x="18781" y="9391"/>
                  </a:cubicBezTo>
                  <a:cubicBezTo>
                    <a:pt x="18781" y="4178"/>
                    <a:pt x="14567" y="0"/>
                    <a:pt x="9391" y="0"/>
                  </a:cubicBezTo>
                  <a:close/>
                </a:path>
              </a:pathLst>
            </a:custGeom>
            <a:solidFill>
              <a:srgbClr val="FFFFFF"/>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6" name="Google Shape;2086;p37"/>
            <p:cNvSpPr/>
            <p:nvPr/>
          </p:nvSpPr>
          <p:spPr>
            <a:xfrm>
              <a:off x="1629175" y="3985100"/>
              <a:ext cx="484325" cy="485250"/>
            </a:xfrm>
            <a:custGeom>
              <a:avLst/>
              <a:gdLst/>
              <a:ahLst/>
              <a:cxnLst/>
              <a:rect l="l" t="t" r="r" b="b"/>
              <a:pathLst>
                <a:path w="19373" h="19410" extrusionOk="0">
                  <a:moveTo>
                    <a:pt x="9687" y="629"/>
                  </a:moveTo>
                  <a:cubicBezTo>
                    <a:pt x="12201" y="629"/>
                    <a:pt x="14456" y="1664"/>
                    <a:pt x="16120" y="3291"/>
                  </a:cubicBezTo>
                  <a:cubicBezTo>
                    <a:pt x="17746" y="4917"/>
                    <a:pt x="18744" y="7210"/>
                    <a:pt x="18744" y="9724"/>
                  </a:cubicBezTo>
                  <a:cubicBezTo>
                    <a:pt x="18744" y="12201"/>
                    <a:pt x="17746" y="14493"/>
                    <a:pt x="16120" y="16120"/>
                  </a:cubicBezTo>
                  <a:cubicBezTo>
                    <a:pt x="14456" y="17783"/>
                    <a:pt x="12201" y="18781"/>
                    <a:pt x="9687" y="18781"/>
                  </a:cubicBezTo>
                  <a:cubicBezTo>
                    <a:pt x="7173" y="18781"/>
                    <a:pt x="4917" y="17783"/>
                    <a:pt x="3254" y="16120"/>
                  </a:cubicBezTo>
                  <a:cubicBezTo>
                    <a:pt x="1627" y="14493"/>
                    <a:pt x="592" y="12201"/>
                    <a:pt x="592" y="9724"/>
                  </a:cubicBezTo>
                  <a:cubicBezTo>
                    <a:pt x="592" y="7210"/>
                    <a:pt x="1627" y="4917"/>
                    <a:pt x="3254" y="3291"/>
                  </a:cubicBezTo>
                  <a:cubicBezTo>
                    <a:pt x="4917" y="1664"/>
                    <a:pt x="7173" y="629"/>
                    <a:pt x="9687" y="629"/>
                  </a:cubicBezTo>
                  <a:close/>
                  <a:moveTo>
                    <a:pt x="9687" y="0"/>
                  </a:moveTo>
                  <a:cubicBezTo>
                    <a:pt x="4326" y="0"/>
                    <a:pt x="0" y="4363"/>
                    <a:pt x="0" y="9724"/>
                  </a:cubicBezTo>
                  <a:cubicBezTo>
                    <a:pt x="0" y="15047"/>
                    <a:pt x="4326" y="19410"/>
                    <a:pt x="9687" y="19410"/>
                  </a:cubicBezTo>
                  <a:cubicBezTo>
                    <a:pt x="15047" y="19410"/>
                    <a:pt x="19373" y="15047"/>
                    <a:pt x="19373" y="9724"/>
                  </a:cubicBezTo>
                  <a:cubicBezTo>
                    <a:pt x="19373" y="4363"/>
                    <a:pt x="15047" y="0"/>
                    <a:pt x="9687"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7" name="Google Shape;2087;p37"/>
            <p:cNvSpPr/>
            <p:nvPr/>
          </p:nvSpPr>
          <p:spPr>
            <a:xfrm>
              <a:off x="1740075" y="4096925"/>
              <a:ext cx="262525" cy="262525"/>
            </a:xfrm>
            <a:custGeom>
              <a:avLst/>
              <a:gdLst/>
              <a:ahLst/>
              <a:cxnLst/>
              <a:rect l="l" t="t" r="r" b="b"/>
              <a:pathLst>
                <a:path w="10501" h="10501" extrusionOk="0">
                  <a:moveTo>
                    <a:pt x="5251" y="1"/>
                  </a:moveTo>
                  <a:cubicBezTo>
                    <a:pt x="2367" y="1"/>
                    <a:pt x="1" y="2330"/>
                    <a:pt x="1" y="5251"/>
                  </a:cubicBezTo>
                  <a:cubicBezTo>
                    <a:pt x="1" y="8134"/>
                    <a:pt x="2367" y="10500"/>
                    <a:pt x="5251" y="10500"/>
                  </a:cubicBezTo>
                  <a:cubicBezTo>
                    <a:pt x="8134" y="10500"/>
                    <a:pt x="10501" y="8134"/>
                    <a:pt x="10501" y="5251"/>
                  </a:cubicBezTo>
                  <a:cubicBezTo>
                    <a:pt x="10501" y="2330"/>
                    <a:pt x="8134" y="1"/>
                    <a:pt x="5251" y="1"/>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8" name="Google Shape;2088;p37"/>
            <p:cNvSpPr/>
            <p:nvPr/>
          </p:nvSpPr>
          <p:spPr>
            <a:xfrm>
              <a:off x="1732700" y="4088600"/>
              <a:ext cx="277300" cy="278250"/>
            </a:xfrm>
            <a:custGeom>
              <a:avLst/>
              <a:gdLst/>
              <a:ahLst/>
              <a:cxnLst/>
              <a:rect l="l" t="t" r="r" b="b"/>
              <a:pathLst>
                <a:path w="11092" h="11130" extrusionOk="0">
                  <a:moveTo>
                    <a:pt x="5546" y="629"/>
                  </a:moveTo>
                  <a:cubicBezTo>
                    <a:pt x="6914" y="629"/>
                    <a:pt x="8134" y="1184"/>
                    <a:pt x="9021" y="2071"/>
                  </a:cubicBezTo>
                  <a:cubicBezTo>
                    <a:pt x="9945" y="2959"/>
                    <a:pt x="10500" y="4216"/>
                    <a:pt x="10500" y="5584"/>
                  </a:cubicBezTo>
                  <a:cubicBezTo>
                    <a:pt x="10500" y="6915"/>
                    <a:pt x="9945" y="8172"/>
                    <a:pt x="9021" y="9059"/>
                  </a:cubicBezTo>
                  <a:cubicBezTo>
                    <a:pt x="8134" y="9946"/>
                    <a:pt x="6914" y="10501"/>
                    <a:pt x="5546" y="10501"/>
                  </a:cubicBezTo>
                  <a:cubicBezTo>
                    <a:pt x="4178" y="10501"/>
                    <a:pt x="2958" y="9946"/>
                    <a:pt x="2033" y="9059"/>
                  </a:cubicBezTo>
                  <a:cubicBezTo>
                    <a:pt x="1146" y="8172"/>
                    <a:pt x="592" y="6915"/>
                    <a:pt x="592" y="5584"/>
                  </a:cubicBezTo>
                  <a:cubicBezTo>
                    <a:pt x="592" y="4216"/>
                    <a:pt x="1146" y="2959"/>
                    <a:pt x="2033" y="2071"/>
                  </a:cubicBezTo>
                  <a:cubicBezTo>
                    <a:pt x="2958" y="1184"/>
                    <a:pt x="4178" y="629"/>
                    <a:pt x="5546" y="629"/>
                  </a:cubicBezTo>
                  <a:close/>
                  <a:moveTo>
                    <a:pt x="5546" y="1"/>
                  </a:moveTo>
                  <a:cubicBezTo>
                    <a:pt x="2477" y="1"/>
                    <a:pt x="0" y="2515"/>
                    <a:pt x="0" y="5584"/>
                  </a:cubicBezTo>
                  <a:cubicBezTo>
                    <a:pt x="0" y="8652"/>
                    <a:pt x="2477" y="11129"/>
                    <a:pt x="5546" y="11129"/>
                  </a:cubicBezTo>
                  <a:cubicBezTo>
                    <a:pt x="8614" y="11129"/>
                    <a:pt x="11091" y="8652"/>
                    <a:pt x="11091" y="5584"/>
                  </a:cubicBezTo>
                  <a:cubicBezTo>
                    <a:pt x="11091" y="2515"/>
                    <a:pt x="8614" y="1"/>
                    <a:pt x="5546"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89" name="Google Shape;2089;p37"/>
            <p:cNvSpPr/>
            <p:nvPr/>
          </p:nvSpPr>
          <p:spPr>
            <a:xfrm>
              <a:off x="1304750" y="4090450"/>
              <a:ext cx="274525" cy="274550"/>
            </a:xfrm>
            <a:custGeom>
              <a:avLst/>
              <a:gdLst/>
              <a:ahLst/>
              <a:cxnLst/>
              <a:rect l="l" t="t" r="r" b="b"/>
              <a:pathLst>
                <a:path w="10981" h="10982" extrusionOk="0">
                  <a:moveTo>
                    <a:pt x="5509" y="1"/>
                  </a:moveTo>
                  <a:cubicBezTo>
                    <a:pt x="2478" y="1"/>
                    <a:pt x="1" y="2478"/>
                    <a:pt x="1" y="5510"/>
                  </a:cubicBezTo>
                  <a:cubicBezTo>
                    <a:pt x="1" y="8541"/>
                    <a:pt x="2478" y="10981"/>
                    <a:pt x="5509" y="10981"/>
                  </a:cubicBezTo>
                  <a:cubicBezTo>
                    <a:pt x="8541" y="10981"/>
                    <a:pt x="10981" y="8541"/>
                    <a:pt x="10981" y="5510"/>
                  </a:cubicBezTo>
                  <a:cubicBezTo>
                    <a:pt x="10981" y="2478"/>
                    <a:pt x="8541" y="1"/>
                    <a:pt x="5509" y="1"/>
                  </a:cubicBezTo>
                  <a:close/>
                </a:path>
              </a:pathLst>
            </a:custGeom>
            <a:solidFill>
              <a:srgbClr val="FFFFFF"/>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0" name="Google Shape;2090;p37"/>
            <p:cNvSpPr/>
            <p:nvPr/>
          </p:nvSpPr>
          <p:spPr>
            <a:xfrm>
              <a:off x="1297350" y="4083075"/>
              <a:ext cx="290250" cy="289300"/>
            </a:xfrm>
            <a:custGeom>
              <a:avLst/>
              <a:gdLst/>
              <a:ahLst/>
              <a:cxnLst/>
              <a:rect l="l" t="t" r="r" b="b"/>
              <a:pathLst>
                <a:path w="11610" h="11572" extrusionOk="0">
                  <a:moveTo>
                    <a:pt x="5805" y="592"/>
                  </a:moveTo>
                  <a:cubicBezTo>
                    <a:pt x="7210" y="592"/>
                    <a:pt x="8504" y="1183"/>
                    <a:pt x="9465" y="2108"/>
                  </a:cubicBezTo>
                  <a:cubicBezTo>
                    <a:pt x="10390" y="3069"/>
                    <a:pt x="10981" y="4363"/>
                    <a:pt x="10981" y="5805"/>
                  </a:cubicBezTo>
                  <a:cubicBezTo>
                    <a:pt x="10981" y="7209"/>
                    <a:pt x="10390" y="8503"/>
                    <a:pt x="9465" y="9465"/>
                  </a:cubicBezTo>
                  <a:cubicBezTo>
                    <a:pt x="8504" y="10389"/>
                    <a:pt x="7210" y="10980"/>
                    <a:pt x="5805" y="10980"/>
                  </a:cubicBezTo>
                  <a:cubicBezTo>
                    <a:pt x="4363" y="10980"/>
                    <a:pt x="3070" y="10389"/>
                    <a:pt x="2108" y="9465"/>
                  </a:cubicBezTo>
                  <a:cubicBezTo>
                    <a:pt x="1184" y="8503"/>
                    <a:pt x="592" y="7209"/>
                    <a:pt x="592" y="5805"/>
                  </a:cubicBezTo>
                  <a:cubicBezTo>
                    <a:pt x="592" y="4363"/>
                    <a:pt x="1184" y="3069"/>
                    <a:pt x="2108" y="2108"/>
                  </a:cubicBezTo>
                  <a:cubicBezTo>
                    <a:pt x="3070" y="1183"/>
                    <a:pt x="4363" y="592"/>
                    <a:pt x="5805" y="592"/>
                  </a:cubicBezTo>
                  <a:close/>
                  <a:moveTo>
                    <a:pt x="5805" y="0"/>
                  </a:moveTo>
                  <a:cubicBezTo>
                    <a:pt x="2589" y="0"/>
                    <a:pt x="1" y="2588"/>
                    <a:pt x="1" y="5805"/>
                  </a:cubicBezTo>
                  <a:cubicBezTo>
                    <a:pt x="1" y="8984"/>
                    <a:pt x="2589" y="11572"/>
                    <a:pt x="5805" y="11572"/>
                  </a:cubicBezTo>
                  <a:cubicBezTo>
                    <a:pt x="8985" y="11572"/>
                    <a:pt x="11610" y="8984"/>
                    <a:pt x="11610" y="5805"/>
                  </a:cubicBezTo>
                  <a:cubicBezTo>
                    <a:pt x="11610" y="2588"/>
                    <a:pt x="8985" y="0"/>
                    <a:pt x="5805"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1" name="Google Shape;2091;p37"/>
            <p:cNvSpPr/>
            <p:nvPr/>
          </p:nvSpPr>
          <p:spPr>
            <a:xfrm>
              <a:off x="1364825" y="4150550"/>
              <a:ext cx="154375" cy="154375"/>
            </a:xfrm>
            <a:custGeom>
              <a:avLst/>
              <a:gdLst/>
              <a:ahLst/>
              <a:cxnLst/>
              <a:rect l="l" t="t" r="r" b="b"/>
              <a:pathLst>
                <a:path w="6175" h="6175" extrusionOk="0">
                  <a:moveTo>
                    <a:pt x="3106" y="0"/>
                  </a:moveTo>
                  <a:cubicBezTo>
                    <a:pt x="1406" y="0"/>
                    <a:pt x="1" y="1405"/>
                    <a:pt x="1" y="3106"/>
                  </a:cubicBezTo>
                  <a:cubicBezTo>
                    <a:pt x="1" y="4806"/>
                    <a:pt x="1406" y="6174"/>
                    <a:pt x="3106" y="6174"/>
                  </a:cubicBezTo>
                  <a:cubicBezTo>
                    <a:pt x="4807" y="6174"/>
                    <a:pt x="6175" y="4806"/>
                    <a:pt x="6175" y="3106"/>
                  </a:cubicBezTo>
                  <a:cubicBezTo>
                    <a:pt x="6175" y="1405"/>
                    <a:pt x="4807" y="0"/>
                    <a:pt x="3106" y="0"/>
                  </a:cubicBez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2" name="Google Shape;2092;p37"/>
            <p:cNvSpPr/>
            <p:nvPr/>
          </p:nvSpPr>
          <p:spPr>
            <a:xfrm>
              <a:off x="1357450" y="4143150"/>
              <a:ext cx="169150" cy="169150"/>
            </a:xfrm>
            <a:custGeom>
              <a:avLst/>
              <a:gdLst/>
              <a:ahLst/>
              <a:cxnLst/>
              <a:rect l="l" t="t" r="r" b="b"/>
              <a:pathLst>
                <a:path w="6766" h="6766" extrusionOk="0">
                  <a:moveTo>
                    <a:pt x="3401" y="629"/>
                  </a:moveTo>
                  <a:cubicBezTo>
                    <a:pt x="4141" y="629"/>
                    <a:pt x="4843" y="925"/>
                    <a:pt x="5361" y="1442"/>
                  </a:cubicBezTo>
                  <a:cubicBezTo>
                    <a:pt x="5841" y="1923"/>
                    <a:pt x="6174" y="2625"/>
                    <a:pt x="6174" y="3402"/>
                  </a:cubicBezTo>
                  <a:cubicBezTo>
                    <a:pt x="6174" y="4141"/>
                    <a:pt x="5841" y="4843"/>
                    <a:pt x="5361" y="5361"/>
                  </a:cubicBezTo>
                  <a:cubicBezTo>
                    <a:pt x="4843" y="5842"/>
                    <a:pt x="4141" y="6174"/>
                    <a:pt x="3401" y="6174"/>
                  </a:cubicBezTo>
                  <a:cubicBezTo>
                    <a:pt x="2625" y="6174"/>
                    <a:pt x="1923" y="5842"/>
                    <a:pt x="1442" y="5361"/>
                  </a:cubicBezTo>
                  <a:cubicBezTo>
                    <a:pt x="924" y="4843"/>
                    <a:pt x="629" y="4141"/>
                    <a:pt x="629" y="3402"/>
                  </a:cubicBezTo>
                  <a:cubicBezTo>
                    <a:pt x="629" y="2625"/>
                    <a:pt x="924" y="1923"/>
                    <a:pt x="1442" y="1442"/>
                  </a:cubicBezTo>
                  <a:cubicBezTo>
                    <a:pt x="1923" y="925"/>
                    <a:pt x="2625" y="629"/>
                    <a:pt x="3401" y="629"/>
                  </a:cubicBezTo>
                  <a:close/>
                  <a:moveTo>
                    <a:pt x="3401" y="0"/>
                  </a:moveTo>
                  <a:cubicBezTo>
                    <a:pt x="1516" y="0"/>
                    <a:pt x="0" y="1516"/>
                    <a:pt x="0" y="3402"/>
                  </a:cubicBezTo>
                  <a:cubicBezTo>
                    <a:pt x="0" y="5250"/>
                    <a:pt x="1516" y="6766"/>
                    <a:pt x="3401" y="6766"/>
                  </a:cubicBezTo>
                  <a:cubicBezTo>
                    <a:pt x="5250" y="6766"/>
                    <a:pt x="6766" y="5250"/>
                    <a:pt x="6766" y="3402"/>
                  </a:cubicBezTo>
                  <a:cubicBezTo>
                    <a:pt x="6766" y="1516"/>
                    <a:pt x="5250" y="0"/>
                    <a:pt x="3401"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3" name="Google Shape;2093;p37"/>
            <p:cNvSpPr/>
            <p:nvPr/>
          </p:nvSpPr>
          <p:spPr>
            <a:xfrm>
              <a:off x="1150400" y="4228175"/>
              <a:ext cx="1488100" cy="25"/>
            </a:xfrm>
            <a:custGeom>
              <a:avLst/>
              <a:gdLst/>
              <a:ahLst/>
              <a:cxnLst/>
              <a:rect l="l" t="t" r="r" b="b"/>
              <a:pathLst>
                <a:path w="59524" h="1" extrusionOk="0">
                  <a:moveTo>
                    <a:pt x="59523" y="1"/>
                  </a:moveTo>
                  <a:lnTo>
                    <a:pt x="1" y="1"/>
                  </a:lnTo>
                </a:path>
              </a:pathLst>
            </a:custGeom>
            <a:solidFill>
              <a:srgbClr val="FFFFFF"/>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4" name="Google Shape;2094;p37"/>
            <p:cNvSpPr/>
            <p:nvPr/>
          </p:nvSpPr>
          <p:spPr>
            <a:xfrm>
              <a:off x="1143000" y="4219850"/>
              <a:ext cx="1502900" cy="15750"/>
            </a:xfrm>
            <a:custGeom>
              <a:avLst/>
              <a:gdLst/>
              <a:ahLst/>
              <a:cxnLst/>
              <a:rect l="l" t="t" r="r" b="b"/>
              <a:pathLst>
                <a:path w="60116" h="630" extrusionOk="0">
                  <a:moveTo>
                    <a:pt x="297" y="1"/>
                  </a:moveTo>
                  <a:cubicBezTo>
                    <a:pt x="112" y="1"/>
                    <a:pt x="1" y="149"/>
                    <a:pt x="1" y="334"/>
                  </a:cubicBezTo>
                  <a:cubicBezTo>
                    <a:pt x="1" y="481"/>
                    <a:pt x="112" y="629"/>
                    <a:pt x="297" y="629"/>
                  </a:cubicBezTo>
                  <a:lnTo>
                    <a:pt x="59819" y="629"/>
                  </a:lnTo>
                  <a:cubicBezTo>
                    <a:pt x="59967" y="629"/>
                    <a:pt x="60115" y="481"/>
                    <a:pt x="60115" y="334"/>
                  </a:cubicBezTo>
                  <a:cubicBezTo>
                    <a:pt x="60115" y="149"/>
                    <a:pt x="59967" y="1"/>
                    <a:pt x="59819" y="1"/>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5" name="Google Shape;2095;p37"/>
            <p:cNvSpPr/>
            <p:nvPr/>
          </p:nvSpPr>
          <p:spPr>
            <a:xfrm>
              <a:off x="2662500" y="939625"/>
              <a:ext cx="943700" cy="739450"/>
            </a:xfrm>
            <a:custGeom>
              <a:avLst/>
              <a:gdLst/>
              <a:ahLst/>
              <a:cxnLst/>
              <a:rect l="l" t="t" r="r" b="b"/>
              <a:pathLst>
                <a:path w="37748" h="29578" extrusionOk="0">
                  <a:moveTo>
                    <a:pt x="1" y="1"/>
                  </a:moveTo>
                  <a:lnTo>
                    <a:pt x="1" y="29577"/>
                  </a:lnTo>
                  <a:lnTo>
                    <a:pt x="3587" y="29577"/>
                  </a:lnTo>
                  <a:cubicBezTo>
                    <a:pt x="5472" y="27507"/>
                    <a:pt x="7653" y="25917"/>
                    <a:pt x="10093" y="24956"/>
                  </a:cubicBezTo>
                  <a:cubicBezTo>
                    <a:pt x="15454" y="22775"/>
                    <a:pt x="20260" y="21998"/>
                    <a:pt x="24623" y="21998"/>
                  </a:cubicBezTo>
                  <a:cubicBezTo>
                    <a:pt x="29503" y="21998"/>
                    <a:pt x="33829" y="22960"/>
                    <a:pt x="37747" y="24106"/>
                  </a:cubicBezTo>
                  <a:lnTo>
                    <a:pt x="37747" y="1"/>
                  </a:ln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6" name="Google Shape;2096;p37"/>
            <p:cNvSpPr/>
            <p:nvPr/>
          </p:nvSpPr>
          <p:spPr>
            <a:xfrm>
              <a:off x="2752150" y="1489575"/>
              <a:ext cx="854050" cy="189500"/>
            </a:xfrm>
            <a:custGeom>
              <a:avLst/>
              <a:gdLst/>
              <a:ahLst/>
              <a:cxnLst/>
              <a:rect l="l" t="t" r="r" b="b"/>
              <a:pathLst>
                <a:path w="34162" h="7580" extrusionOk="0">
                  <a:moveTo>
                    <a:pt x="21037" y="0"/>
                  </a:moveTo>
                  <a:cubicBezTo>
                    <a:pt x="16674" y="0"/>
                    <a:pt x="11868" y="777"/>
                    <a:pt x="6507" y="2958"/>
                  </a:cubicBezTo>
                  <a:cubicBezTo>
                    <a:pt x="4067" y="3919"/>
                    <a:pt x="1886" y="5509"/>
                    <a:pt x="1" y="7579"/>
                  </a:cubicBezTo>
                  <a:lnTo>
                    <a:pt x="34161" y="7579"/>
                  </a:lnTo>
                  <a:lnTo>
                    <a:pt x="34161" y="2108"/>
                  </a:lnTo>
                  <a:cubicBezTo>
                    <a:pt x="30243" y="962"/>
                    <a:pt x="25917" y="0"/>
                    <a:pt x="21037" y="0"/>
                  </a:cubicBez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7" name="Google Shape;2097;p37"/>
            <p:cNvSpPr/>
            <p:nvPr/>
          </p:nvSpPr>
          <p:spPr>
            <a:xfrm>
              <a:off x="2662500" y="1694750"/>
              <a:ext cx="943700" cy="74900"/>
            </a:xfrm>
            <a:custGeom>
              <a:avLst/>
              <a:gdLst/>
              <a:ahLst/>
              <a:cxnLst/>
              <a:rect l="l" t="t" r="r" b="b"/>
              <a:pathLst>
                <a:path w="37748" h="2996" extrusionOk="0">
                  <a:moveTo>
                    <a:pt x="1" y="1"/>
                  </a:moveTo>
                  <a:lnTo>
                    <a:pt x="1" y="2995"/>
                  </a:lnTo>
                  <a:lnTo>
                    <a:pt x="37747" y="2995"/>
                  </a:lnTo>
                  <a:lnTo>
                    <a:pt x="37747" y="1"/>
                  </a:lnTo>
                  <a:close/>
                </a:path>
              </a:pathLst>
            </a:custGeom>
            <a:solidFill>
              <a:schemeClr val="accent3"/>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8" name="Google Shape;2098;p37"/>
            <p:cNvSpPr/>
            <p:nvPr/>
          </p:nvSpPr>
          <p:spPr>
            <a:xfrm>
              <a:off x="2662500" y="1679050"/>
              <a:ext cx="943700" cy="15725"/>
            </a:xfrm>
            <a:custGeom>
              <a:avLst/>
              <a:gdLst/>
              <a:ahLst/>
              <a:cxnLst/>
              <a:rect l="l" t="t" r="r" b="b"/>
              <a:pathLst>
                <a:path w="37748" h="629" extrusionOk="0">
                  <a:moveTo>
                    <a:pt x="1" y="0"/>
                  </a:moveTo>
                  <a:lnTo>
                    <a:pt x="1" y="629"/>
                  </a:lnTo>
                  <a:lnTo>
                    <a:pt x="37747" y="629"/>
                  </a:lnTo>
                  <a:lnTo>
                    <a:pt x="37747" y="0"/>
                  </a:lnTo>
                  <a:close/>
                </a:path>
              </a:pathLst>
            </a:custGeom>
            <a:solidFill>
              <a:schemeClr val="accent4"/>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099" name="Google Shape;2099;p37"/>
            <p:cNvSpPr/>
            <p:nvPr/>
          </p:nvSpPr>
          <p:spPr>
            <a:xfrm>
              <a:off x="2655100" y="932250"/>
              <a:ext cx="959425" cy="844800"/>
            </a:xfrm>
            <a:custGeom>
              <a:avLst/>
              <a:gdLst/>
              <a:ahLst/>
              <a:cxnLst/>
              <a:rect l="l" t="t" r="r" b="b"/>
              <a:pathLst>
                <a:path w="38377" h="33792" extrusionOk="0">
                  <a:moveTo>
                    <a:pt x="37748" y="629"/>
                  </a:moveTo>
                  <a:lnTo>
                    <a:pt x="37748" y="33200"/>
                  </a:lnTo>
                  <a:lnTo>
                    <a:pt x="592" y="33200"/>
                  </a:lnTo>
                  <a:lnTo>
                    <a:pt x="592" y="629"/>
                  </a:lnTo>
                  <a:close/>
                  <a:moveTo>
                    <a:pt x="297" y="0"/>
                  </a:moveTo>
                  <a:cubicBezTo>
                    <a:pt x="223" y="0"/>
                    <a:pt x="149" y="37"/>
                    <a:pt x="75" y="111"/>
                  </a:cubicBezTo>
                  <a:cubicBezTo>
                    <a:pt x="1" y="148"/>
                    <a:pt x="1" y="222"/>
                    <a:pt x="1" y="296"/>
                  </a:cubicBezTo>
                  <a:lnTo>
                    <a:pt x="1" y="33495"/>
                  </a:lnTo>
                  <a:cubicBezTo>
                    <a:pt x="1" y="33569"/>
                    <a:pt x="1" y="33643"/>
                    <a:pt x="75" y="33717"/>
                  </a:cubicBezTo>
                  <a:cubicBezTo>
                    <a:pt x="149" y="33791"/>
                    <a:pt x="223" y="33791"/>
                    <a:pt x="297" y="33791"/>
                  </a:cubicBezTo>
                  <a:lnTo>
                    <a:pt x="38043" y="33791"/>
                  </a:lnTo>
                  <a:cubicBezTo>
                    <a:pt x="38154" y="33791"/>
                    <a:pt x="38228" y="33791"/>
                    <a:pt x="38265" y="33717"/>
                  </a:cubicBezTo>
                  <a:cubicBezTo>
                    <a:pt x="38339" y="33643"/>
                    <a:pt x="38376" y="33569"/>
                    <a:pt x="38376" y="33495"/>
                  </a:cubicBezTo>
                  <a:lnTo>
                    <a:pt x="38376" y="296"/>
                  </a:lnTo>
                  <a:cubicBezTo>
                    <a:pt x="38376" y="222"/>
                    <a:pt x="38339" y="148"/>
                    <a:pt x="38265" y="111"/>
                  </a:cubicBezTo>
                  <a:cubicBezTo>
                    <a:pt x="38228" y="37"/>
                    <a:pt x="38154" y="0"/>
                    <a:pt x="38043"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100" name="Google Shape;2100;p37"/>
            <p:cNvSpPr/>
            <p:nvPr/>
          </p:nvSpPr>
          <p:spPr>
            <a:xfrm>
              <a:off x="2662500" y="939625"/>
              <a:ext cx="943700" cy="141450"/>
            </a:xfrm>
            <a:custGeom>
              <a:avLst/>
              <a:gdLst/>
              <a:ahLst/>
              <a:cxnLst/>
              <a:rect l="l" t="t" r="r" b="b"/>
              <a:pathLst>
                <a:path w="37748" h="5658" extrusionOk="0">
                  <a:moveTo>
                    <a:pt x="1" y="1"/>
                  </a:moveTo>
                  <a:lnTo>
                    <a:pt x="1" y="5657"/>
                  </a:lnTo>
                  <a:lnTo>
                    <a:pt x="37747" y="5657"/>
                  </a:lnTo>
                  <a:lnTo>
                    <a:pt x="37747" y="1"/>
                  </a:lnTo>
                  <a:close/>
                </a:path>
              </a:pathLst>
            </a:custGeom>
            <a:solidFill>
              <a:schemeClr val="accen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101" name="Google Shape;2101;p37"/>
            <p:cNvSpPr/>
            <p:nvPr/>
          </p:nvSpPr>
          <p:spPr>
            <a:xfrm>
              <a:off x="2655100" y="932250"/>
              <a:ext cx="959425" cy="156225"/>
            </a:xfrm>
            <a:custGeom>
              <a:avLst/>
              <a:gdLst/>
              <a:ahLst/>
              <a:cxnLst/>
              <a:rect l="l" t="t" r="r" b="b"/>
              <a:pathLst>
                <a:path w="38377" h="6249" extrusionOk="0">
                  <a:moveTo>
                    <a:pt x="37748" y="629"/>
                  </a:moveTo>
                  <a:lnTo>
                    <a:pt x="37748" y="5657"/>
                  </a:lnTo>
                  <a:lnTo>
                    <a:pt x="592" y="5657"/>
                  </a:lnTo>
                  <a:lnTo>
                    <a:pt x="592" y="629"/>
                  </a:lnTo>
                  <a:close/>
                  <a:moveTo>
                    <a:pt x="297" y="0"/>
                  </a:moveTo>
                  <a:cubicBezTo>
                    <a:pt x="223" y="0"/>
                    <a:pt x="149" y="37"/>
                    <a:pt x="75" y="111"/>
                  </a:cubicBezTo>
                  <a:cubicBezTo>
                    <a:pt x="1" y="148"/>
                    <a:pt x="1" y="222"/>
                    <a:pt x="1" y="296"/>
                  </a:cubicBezTo>
                  <a:lnTo>
                    <a:pt x="1" y="5952"/>
                  </a:lnTo>
                  <a:cubicBezTo>
                    <a:pt x="1" y="6026"/>
                    <a:pt x="1" y="6100"/>
                    <a:pt x="75" y="6174"/>
                  </a:cubicBezTo>
                  <a:cubicBezTo>
                    <a:pt x="149" y="6211"/>
                    <a:pt x="223" y="6248"/>
                    <a:pt x="297" y="6248"/>
                  </a:cubicBezTo>
                  <a:lnTo>
                    <a:pt x="38043" y="6248"/>
                  </a:lnTo>
                  <a:cubicBezTo>
                    <a:pt x="38154" y="6248"/>
                    <a:pt x="38228" y="6211"/>
                    <a:pt x="38265" y="6174"/>
                  </a:cubicBezTo>
                  <a:cubicBezTo>
                    <a:pt x="38339" y="6100"/>
                    <a:pt x="38376" y="6026"/>
                    <a:pt x="38376" y="5952"/>
                  </a:cubicBezTo>
                  <a:lnTo>
                    <a:pt x="38376" y="296"/>
                  </a:lnTo>
                  <a:cubicBezTo>
                    <a:pt x="38376" y="222"/>
                    <a:pt x="38339" y="148"/>
                    <a:pt x="38265" y="111"/>
                  </a:cubicBezTo>
                  <a:cubicBezTo>
                    <a:pt x="38228" y="37"/>
                    <a:pt x="38154" y="0"/>
                    <a:pt x="38043"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102" name="Google Shape;2102;p37"/>
            <p:cNvSpPr/>
            <p:nvPr/>
          </p:nvSpPr>
          <p:spPr>
            <a:xfrm>
              <a:off x="2942550" y="1191950"/>
              <a:ext cx="389150" cy="389150"/>
            </a:xfrm>
            <a:custGeom>
              <a:avLst/>
              <a:gdLst/>
              <a:ahLst/>
              <a:cxnLst/>
              <a:rect l="l" t="t" r="r" b="b"/>
              <a:pathLst>
                <a:path w="15566" h="15566" extrusionOk="0">
                  <a:moveTo>
                    <a:pt x="7801" y="1"/>
                  </a:moveTo>
                  <a:cubicBezTo>
                    <a:pt x="3476" y="1"/>
                    <a:pt x="1" y="3476"/>
                    <a:pt x="1" y="7765"/>
                  </a:cubicBezTo>
                  <a:cubicBezTo>
                    <a:pt x="1" y="12090"/>
                    <a:pt x="3476" y="15565"/>
                    <a:pt x="7801" y="15565"/>
                  </a:cubicBezTo>
                  <a:cubicBezTo>
                    <a:pt x="12090" y="15565"/>
                    <a:pt x="15565" y="12090"/>
                    <a:pt x="15565" y="7765"/>
                  </a:cubicBezTo>
                  <a:cubicBezTo>
                    <a:pt x="15565" y="3476"/>
                    <a:pt x="12090" y="1"/>
                    <a:pt x="7801"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103" name="Google Shape;2103;p37"/>
            <p:cNvSpPr/>
            <p:nvPr/>
          </p:nvSpPr>
          <p:spPr>
            <a:xfrm>
              <a:off x="2935150" y="1183650"/>
              <a:ext cx="404850" cy="404850"/>
            </a:xfrm>
            <a:custGeom>
              <a:avLst/>
              <a:gdLst/>
              <a:ahLst/>
              <a:cxnLst/>
              <a:rect l="l" t="t" r="r" b="b"/>
              <a:pathLst>
                <a:path w="16194" h="16194" extrusionOk="0">
                  <a:moveTo>
                    <a:pt x="8097" y="629"/>
                  </a:moveTo>
                  <a:cubicBezTo>
                    <a:pt x="10168" y="629"/>
                    <a:pt x="12016" y="1479"/>
                    <a:pt x="13384" y="2810"/>
                  </a:cubicBezTo>
                  <a:cubicBezTo>
                    <a:pt x="14715" y="4178"/>
                    <a:pt x="15565" y="6026"/>
                    <a:pt x="15565" y="8097"/>
                  </a:cubicBezTo>
                  <a:cubicBezTo>
                    <a:pt x="15565" y="10167"/>
                    <a:pt x="14715" y="12052"/>
                    <a:pt x="13384" y="13383"/>
                  </a:cubicBezTo>
                  <a:cubicBezTo>
                    <a:pt x="12016" y="14751"/>
                    <a:pt x="10168" y="15565"/>
                    <a:pt x="8097" y="15565"/>
                  </a:cubicBezTo>
                  <a:cubicBezTo>
                    <a:pt x="6027" y="15565"/>
                    <a:pt x="4142" y="14751"/>
                    <a:pt x="2811" y="13383"/>
                  </a:cubicBezTo>
                  <a:cubicBezTo>
                    <a:pt x="1443" y="12052"/>
                    <a:pt x="629" y="10167"/>
                    <a:pt x="629" y="8097"/>
                  </a:cubicBezTo>
                  <a:cubicBezTo>
                    <a:pt x="629" y="6026"/>
                    <a:pt x="1443" y="4178"/>
                    <a:pt x="2811" y="2810"/>
                  </a:cubicBezTo>
                  <a:cubicBezTo>
                    <a:pt x="4142" y="1479"/>
                    <a:pt x="6027" y="629"/>
                    <a:pt x="8097" y="629"/>
                  </a:cubicBezTo>
                  <a:close/>
                  <a:moveTo>
                    <a:pt x="8097" y="0"/>
                  </a:moveTo>
                  <a:cubicBezTo>
                    <a:pt x="3624" y="0"/>
                    <a:pt x="1" y="3623"/>
                    <a:pt x="1" y="8097"/>
                  </a:cubicBezTo>
                  <a:cubicBezTo>
                    <a:pt x="1" y="12570"/>
                    <a:pt x="3624" y="16193"/>
                    <a:pt x="8097" y="16193"/>
                  </a:cubicBezTo>
                  <a:cubicBezTo>
                    <a:pt x="12571" y="16193"/>
                    <a:pt x="16194" y="12570"/>
                    <a:pt x="16194" y="8097"/>
                  </a:cubicBezTo>
                  <a:cubicBezTo>
                    <a:pt x="16194" y="3623"/>
                    <a:pt x="12571" y="0"/>
                    <a:pt x="8097"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104" name="Google Shape;2104;p37"/>
            <p:cNvSpPr/>
            <p:nvPr/>
          </p:nvSpPr>
          <p:spPr>
            <a:xfrm>
              <a:off x="3046075" y="1257575"/>
              <a:ext cx="228325" cy="263450"/>
            </a:xfrm>
            <a:custGeom>
              <a:avLst/>
              <a:gdLst/>
              <a:ahLst/>
              <a:cxnLst/>
              <a:rect l="l" t="t" r="r" b="b"/>
              <a:pathLst>
                <a:path w="9133" h="10538" extrusionOk="0">
                  <a:moveTo>
                    <a:pt x="0" y="1"/>
                  </a:moveTo>
                  <a:lnTo>
                    <a:pt x="0" y="10537"/>
                  </a:lnTo>
                  <a:lnTo>
                    <a:pt x="9132" y="5288"/>
                  </a:lnTo>
                  <a:lnTo>
                    <a:pt x="0" y="1"/>
                  </a:lnTo>
                  <a:close/>
                </a:path>
              </a:pathLst>
            </a:custGeom>
            <a:solidFill>
              <a:schemeClr val="lt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sp>
          <p:nvSpPr>
            <p:cNvPr id="2105" name="Google Shape;2105;p37"/>
            <p:cNvSpPr/>
            <p:nvPr/>
          </p:nvSpPr>
          <p:spPr>
            <a:xfrm>
              <a:off x="3038675" y="1250425"/>
              <a:ext cx="243100" cy="278675"/>
            </a:xfrm>
            <a:custGeom>
              <a:avLst/>
              <a:gdLst/>
              <a:ahLst/>
              <a:cxnLst/>
              <a:rect l="l" t="t" r="r" b="b"/>
              <a:pathLst>
                <a:path w="9724" h="11147" extrusionOk="0">
                  <a:moveTo>
                    <a:pt x="592" y="838"/>
                  </a:moveTo>
                  <a:lnTo>
                    <a:pt x="8800" y="5574"/>
                  </a:lnTo>
                  <a:lnTo>
                    <a:pt x="592" y="10306"/>
                  </a:lnTo>
                  <a:lnTo>
                    <a:pt x="592" y="838"/>
                  </a:lnTo>
                  <a:close/>
                  <a:moveTo>
                    <a:pt x="310" y="0"/>
                  </a:moveTo>
                  <a:cubicBezTo>
                    <a:pt x="259" y="0"/>
                    <a:pt x="204" y="9"/>
                    <a:pt x="148" y="28"/>
                  </a:cubicBezTo>
                  <a:cubicBezTo>
                    <a:pt x="38" y="102"/>
                    <a:pt x="1" y="213"/>
                    <a:pt x="1" y="287"/>
                  </a:cubicBezTo>
                  <a:lnTo>
                    <a:pt x="1" y="10823"/>
                  </a:lnTo>
                  <a:cubicBezTo>
                    <a:pt x="1" y="10934"/>
                    <a:pt x="38" y="11045"/>
                    <a:pt x="148" y="11119"/>
                  </a:cubicBezTo>
                  <a:cubicBezTo>
                    <a:pt x="204" y="11138"/>
                    <a:pt x="259" y="11147"/>
                    <a:pt x="310" y="11147"/>
                  </a:cubicBezTo>
                  <a:cubicBezTo>
                    <a:pt x="361" y="11147"/>
                    <a:pt x="407" y="11138"/>
                    <a:pt x="444" y="11119"/>
                  </a:cubicBezTo>
                  <a:lnTo>
                    <a:pt x="9576" y="5832"/>
                  </a:lnTo>
                  <a:cubicBezTo>
                    <a:pt x="9687" y="5795"/>
                    <a:pt x="9724" y="5684"/>
                    <a:pt x="9724" y="5574"/>
                  </a:cubicBezTo>
                  <a:cubicBezTo>
                    <a:pt x="9724" y="5463"/>
                    <a:pt x="9687" y="5352"/>
                    <a:pt x="9576" y="5315"/>
                  </a:cubicBezTo>
                  <a:lnTo>
                    <a:pt x="444" y="28"/>
                  </a:lnTo>
                  <a:cubicBezTo>
                    <a:pt x="407" y="9"/>
                    <a:pt x="361" y="0"/>
                    <a:pt x="310" y="0"/>
                  </a:cubicBezTo>
                  <a:close/>
                </a:path>
              </a:pathLst>
            </a:cu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p>
          </p:txBody>
        </p:sp>
      </p:grpSp>
      <p:grpSp>
        <p:nvGrpSpPr>
          <p:cNvPr id="2106" name="Google Shape;2106;p37"/>
          <p:cNvGrpSpPr/>
          <p:nvPr/>
        </p:nvGrpSpPr>
        <p:grpSpPr>
          <a:xfrm>
            <a:off x="731646" y="832645"/>
            <a:ext cx="911416" cy="902552"/>
            <a:chOff x="731647" y="573573"/>
            <a:chExt cx="635100" cy="734640"/>
          </a:xfrm>
        </p:grpSpPr>
        <p:grpSp>
          <p:nvGrpSpPr>
            <p:cNvPr id="2107" name="Google Shape;2107;p37"/>
            <p:cNvGrpSpPr/>
            <p:nvPr/>
          </p:nvGrpSpPr>
          <p:grpSpPr>
            <a:xfrm>
              <a:off x="731647" y="573573"/>
              <a:ext cx="635100" cy="635100"/>
              <a:chOff x="917231" y="750460"/>
              <a:chExt cx="635100" cy="635100"/>
            </a:xfrm>
          </p:grpSpPr>
          <p:sp>
            <p:nvSpPr>
              <p:cNvPr id="2108" name="Google Shape;2108;p37"/>
              <p:cNvSpPr/>
              <p:nvPr/>
            </p:nvSpPr>
            <p:spPr>
              <a:xfrm>
                <a:off x="917231" y="750460"/>
                <a:ext cx="635100" cy="635100"/>
              </a:xfrm>
              <a:prstGeom prst="ellipse">
                <a:avLst/>
              </a:prstGeom>
              <a:solidFill>
                <a:srgbClr val="FFFFFF"/>
              </a:solidFill>
              <a:ln w="9525" cap="flat" cmpd="sng">
                <a:solidFill>
                  <a:schemeClr val="dk1"/>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sp>
            <p:nvSpPr>
              <p:cNvPr id="2109" name="Google Shape;2109;p37"/>
              <p:cNvSpPr/>
              <p:nvPr/>
            </p:nvSpPr>
            <p:spPr>
              <a:xfrm>
                <a:off x="1001943" y="835185"/>
                <a:ext cx="465600" cy="465600"/>
              </a:xfrm>
              <a:prstGeom prst="ellipse">
                <a:avLst/>
              </a:prstGeom>
              <a:solidFill>
                <a:schemeClr val="accent1"/>
              </a:solidFill>
              <a:ln w="9525" cap="flat" cmpd="sng">
                <a:solidFill>
                  <a:schemeClr val="dk2"/>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grpSp>
        <p:grpSp>
          <p:nvGrpSpPr>
            <p:cNvPr id="2110" name="Google Shape;2110;p37"/>
            <p:cNvGrpSpPr/>
            <p:nvPr/>
          </p:nvGrpSpPr>
          <p:grpSpPr>
            <a:xfrm>
              <a:off x="961679" y="1281213"/>
              <a:ext cx="175013" cy="27000"/>
              <a:chOff x="5662375" y="212375"/>
              <a:chExt cx="175013" cy="27000"/>
            </a:xfrm>
          </p:grpSpPr>
          <p:sp>
            <p:nvSpPr>
              <p:cNvPr id="2111" name="Google Shape;2111;p37"/>
              <p:cNvSpPr/>
              <p:nvPr/>
            </p:nvSpPr>
            <p:spPr>
              <a:xfrm>
                <a:off x="5662375"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12" name="Google Shape;2112;p37"/>
              <p:cNvSpPr/>
              <p:nvPr/>
            </p:nvSpPr>
            <p:spPr>
              <a:xfrm>
                <a:off x="5736381"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13" name="Google Shape;2113;p37"/>
              <p:cNvSpPr/>
              <p:nvPr/>
            </p:nvSpPr>
            <p:spPr>
              <a:xfrm>
                <a:off x="5810388"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grpSp>
      </p:grpSp>
      <p:grpSp>
        <p:nvGrpSpPr>
          <p:cNvPr id="2114" name="Google Shape;2114;p37"/>
          <p:cNvGrpSpPr/>
          <p:nvPr/>
        </p:nvGrpSpPr>
        <p:grpSpPr>
          <a:xfrm>
            <a:off x="731647" y="1650460"/>
            <a:ext cx="1125728" cy="949820"/>
            <a:chOff x="731647" y="1650460"/>
            <a:chExt cx="635100" cy="733490"/>
          </a:xfrm>
        </p:grpSpPr>
        <p:grpSp>
          <p:nvGrpSpPr>
            <p:cNvPr id="2115" name="Google Shape;2115;p37"/>
            <p:cNvGrpSpPr/>
            <p:nvPr/>
          </p:nvGrpSpPr>
          <p:grpSpPr>
            <a:xfrm>
              <a:off x="731647" y="1650460"/>
              <a:ext cx="635100" cy="635100"/>
              <a:chOff x="917231" y="1827973"/>
              <a:chExt cx="635100" cy="635100"/>
            </a:xfrm>
          </p:grpSpPr>
          <p:sp>
            <p:nvSpPr>
              <p:cNvPr id="2116" name="Google Shape;2116;p37"/>
              <p:cNvSpPr/>
              <p:nvPr/>
            </p:nvSpPr>
            <p:spPr>
              <a:xfrm>
                <a:off x="917231" y="1827973"/>
                <a:ext cx="635100" cy="635100"/>
              </a:xfrm>
              <a:prstGeom prst="ellipse">
                <a:avLst/>
              </a:prstGeom>
              <a:solidFill>
                <a:schemeClr val="lt1"/>
              </a:solidFill>
              <a:ln w="9525" cap="flat" cmpd="sng">
                <a:solidFill>
                  <a:schemeClr val="dk1"/>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sp>
            <p:nvSpPr>
              <p:cNvPr id="2117" name="Google Shape;2117;p37"/>
              <p:cNvSpPr/>
              <p:nvPr/>
            </p:nvSpPr>
            <p:spPr>
              <a:xfrm>
                <a:off x="1001931" y="1912710"/>
                <a:ext cx="465600" cy="465600"/>
              </a:xfrm>
              <a:prstGeom prst="ellipse">
                <a:avLst/>
              </a:prstGeom>
              <a:solidFill>
                <a:schemeClr val="accent1"/>
              </a:solidFill>
              <a:ln w="9525" cap="flat" cmpd="sng">
                <a:solidFill>
                  <a:schemeClr val="dk1"/>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grpSp>
        <p:grpSp>
          <p:nvGrpSpPr>
            <p:cNvPr id="2118" name="Google Shape;2118;p37"/>
            <p:cNvGrpSpPr/>
            <p:nvPr/>
          </p:nvGrpSpPr>
          <p:grpSpPr>
            <a:xfrm>
              <a:off x="961679" y="2356951"/>
              <a:ext cx="175013" cy="27000"/>
              <a:chOff x="5662375" y="212375"/>
              <a:chExt cx="175013" cy="27000"/>
            </a:xfrm>
          </p:grpSpPr>
          <p:sp>
            <p:nvSpPr>
              <p:cNvPr id="2119" name="Google Shape;2119;p37"/>
              <p:cNvSpPr/>
              <p:nvPr/>
            </p:nvSpPr>
            <p:spPr>
              <a:xfrm>
                <a:off x="5662375"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20" name="Google Shape;2120;p37"/>
              <p:cNvSpPr/>
              <p:nvPr/>
            </p:nvSpPr>
            <p:spPr>
              <a:xfrm>
                <a:off x="5736381"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21" name="Google Shape;2121;p37"/>
              <p:cNvSpPr/>
              <p:nvPr/>
            </p:nvSpPr>
            <p:spPr>
              <a:xfrm>
                <a:off x="5810388"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grpSp>
      </p:grpSp>
      <p:grpSp>
        <p:nvGrpSpPr>
          <p:cNvPr id="2122" name="Google Shape;2122;p37"/>
          <p:cNvGrpSpPr/>
          <p:nvPr/>
        </p:nvGrpSpPr>
        <p:grpSpPr>
          <a:xfrm>
            <a:off x="731646" y="2728277"/>
            <a:ext cx="975418" cy="1004420"/>
            <a:chOff x="731647" y="2728277"/>
            <a:chExt cx="635100" cy="734983"/>
          </a:xfrm>
        </p:grpSpPr>
        <p:grpSp>
          <p:nvGrpSpPr>
            <p:cNvPr id="2123" name="Google Shape;2123;p37"/>
            <p:cNvGrpSpPr/>
            <p:nvPr/>
          </p:nvGrpSpPr>
          <p:grpSpPr>
            <a:xfrm>
              <a:off x="731647" y="2728277"/>
              <a:ext cx="635100" cy="635100"/>
              <a:chOff x="917231" y="2905502"/>
              <a:chExt cx="635100" cy="635100"/>
            </a:xfrm>
          </p:grpSpPr>
          <p:sp>
            <p:nvSpPr>
              <p:cNvPr id="2124" name="Google Shape;2124;p37"/>
              <p:cNvSpPr/>
              <p:nvPr/>
            </p:nvSpPr>
            <p:spPr>
              <a:xfrm>
                <a:off x="917231" y="2905502"/>
                <a:ext cx="635100" cy="635100"/>
              </a:xfrm>
              <a:prstGeom prst="ellipse">
                <a:avLst/>
              </a:prstGeom>
              <a:solidFill>
                <a:schemeClr val="lt1"/>
              </a:solidFill>
              <a:ln w="9525" cap="flat" cmpd="sng">
                <a:solidFill>
                  <a:schemeClr val="dk1"/>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sp>
            <p:nvSpPr>
              <p:cNvPr id="2125" name="Google Shape;2125;p37"/>
              <p:cNvSpPr/>
              <p:nvPr/>
            </p:nvSpPr>
            <p:spPr>
              <a:xfrm>
                <a:off x="1001931" y="2990251"/>
                <a:ext cx="465600" cy="465599"/>
              </a:xfrm>
              <a:prstGeom prst="ellipse">
                <a:avLst/>
              </a:prstGeom>
              <a:solidFill>
                <a:schemeClr val="accent1"/>
              </a:solidFill>
              <a:ln w="9525" cap="flat" cmpd="sng">
                <a:solidFill>
                  <a:schemeClr val="dk1"/>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grpSp>
        <p:grpSp>
          <p:nvGrpSpPr>
            <p:cNvPr id="2126" name="Google Shape;2126;p37"/>
            <p:cNvGrpSpPr/>
            <p:nvPr/>
          </p:nvGrpSpPr>
          <p:grpSpPr>
            <a:xfrm>
              <a:off x="961679" y="3436260"/>
              <a:ext cx="175013" cy="27000"/>
              <a:chOff x="5662375" y="212375"/>
              <a:chExt cx="175013" cy="27000"/>
            </a:xfrm>
          </p:grpSpPr>
          <p:sp>
            <p:nvSpPr>
              <p:cNvPr id="2127" name="Google Shape;2127;p37"/>
              <p:cNvSpPr/>
              <p:nvPr/>
            </p:nvSpPr>
            <p:spPr>
              <a:xfrm>
                <a:off x="5662375"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28" name="Google Shape;2128;p37"/>
              <p:cNvSpPr/>
              <p:nvPr/>
            </p:nvSpPr>
            <p:spPr>
              <a:xfrm>
                <a:off x="5736381"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29" name="Google Shape;2129;p37"/>
              <p:cNvSpPr/>
              <p:nvPr/>
            </p:nvSpPr>
            <p:spPr>
              <a:xfrm>
                <a:off x="5810388"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grpSp>
      </p:grpSp>
      <p:grpSp>
        <p:nvGrpSpPr>
          <p:cNvPr id="2130" name="Google Shape;2130;p37"/>
          <p:cNvGrpSpPr/>
          <p:nvPr/>
        </p:nvGrpSpPr>
        <p:grpSpPr>
          <a:xfrm>
            <a:off x="731647" y="3806676"/>
            <a:ext cx="975417" cy="951062"/>
            <a:chOff x="731647" y="3806675"/>
            <a:chExt cx="635100" cy="734704"/>
          </a:xfrm>
        </p:grpSpPr>
        <p:grpSp>
          <p:nvGrpSpPr>
            <p:cNvPr id="2131" name="Google Shape;2131;p37"/>
            <p:cNvGrpSpPr/>
            <p:nvPr/>
          </p:nvGrpSpPr>
          <p:grpSpPr>
            <a:xfrm>
              <a:off x="731647" y="3806675"/>
              <a:ext cx="635100" cy="635100"/>
              <a:chOff x="917231" y="3983097"/>
              <a:chExt cx="635100" cy="635100"/>
            </a:xfrm>
          </p:grpSpPr>
          <p:sp>
            <p:nvSpPr>
              <p:cNvPr id="2132" name="Google Shape;2132;p37"/>
              <p:cNvSpPr/>
              <p:nvPr/>
            </p:nvSpPr>
            <p:spPr>
              <a:xfrm>
                <a:off x="917231" y="3983097"/>
                <a:ext cx="635100" cy="635100"/>
              </a:xfrm>
              <a:prstGeom prst="ellipse">
                <a:avLst/>
              </a:prstGeom>
              <a:solidFill>
                <a:schemeClr val="lt1"/>
              </a:solidFill>
              <a:ln w="9525" cap="flat" cmpd="sng">
                <a:solidFill>
                  <a:schemeClr val="dk1"/>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sp>
            <p:nvSpPr>
              <p:cNvPr id="2133" name="Google Shape;2133;p37"/>
              <p:cNvSpPr/>
              <p:nvPr/>
            </p:nvSpPr>
            <p:spPr>
              <a:xfrm>
                <a:off x="1001931" y="4067797"/>
                <a:ext cx="465600" cy="465600"/>
              </a:xfrm>
              <a:prstGeom prst="ellipse">
                <a:avLst/>
              </a:prstGeom>
              <a:solidFill>
                <a:schemeClr val="accent1"/>
              </a:solidFill>
              <a:ln w="9525" cap="flat" cmpd="sng">
                <a:solidFill>
                  <a:schemeClr val="dk1"/>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grpSp>
        <p:grpSp>
          <p:nvGrpSpPr>
            <p:cNvPr id="2134" name="Google Shape;2134;p37"/>
            <p:cNvGrpSpPr/>
            <p:nvPr/>
          </p:nvGrpSpPr>
          <p:grpSpPr>
            <a:xfrm>
              <a:off x="961679" y="4514379"/>
              <a:ext cx="175013" cy="27000"/>
              <a:chOff x="5662375" y="212375"/>
              <a:chExt cx="175013" cy="27000"/>
            </a:xfrm>
          </p:grpSpPr>
          <p:sp>
            <p:nvSpPr>
              <p:cNvPr id="2135" name="Google Shape;2135;p37"/>
              <p:cNvSpPr/>
              <p:nvPr/>
            </p:nvSpPr>
            <p:spPr>
              <a:xfrm>
                <a:off x="5662375"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36" name="Google Shape;2136;p37"/>
              <p:cNvSpPr/>
              <p:nvPr/>
            </p:nvSpPr>
            <p:spPr>
              <a:xfrm>
                <a:off x="5736381"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37" name="Google Shape;2137;p37"/>
              <p:cNvSpPr/>
              <p:nvPr/>
            </p:nvSpPr>
            <p:spPr>
              <a:xfrm>
                <a:off x="5810388" y="212375"/>
                <a:ext cx="27000" cy="27000"/>
              </a:xfrm>
              <a:prstGeom prst="ellipse">
                <a:avLst/>
              </a:prstGeom>
              <a:solidFill>
                <a:schemeClr val="dk1"/>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grpSp>
      </p:grpSp>
      <p:sp>
        <p:nvSpPr>
          <p:cNvPr id="2139" name="Google Shape;2139;p37"/>
          <p:cNvSpPr txBox="1">
            <a:spLocks noGrp="1"/>
          </p:cNvSpPr>
          <p:nvPr>
            <p:ph type="subTitle" idx="2"/>
          </p:nvPr>
        </p:nvSpPr>
        <p:spPr>
          <a:xfrm>
            <a:off x="1706447" y="891745"/>
            <a:ext cx="3340047" cy="576000"/>
          </a:xfrm>
          <a:prstGeom prst="rect">
            <a:avLst/>
          </a:prstGeom>
        </p:spPr>
        <p:txBody>
          <a:bodyPr spcFirstLastPara="1" wrap="square" lIns="91421" tIns="91421" rIns="91421" bIns="91421" anchor="t" anchorCtr="0">
            <a:noAutofit/>
          </a:bodyPr>
          <a:lstStyle/>
          <a:p>
            <a:pPr>
              <a:buClr>
                <a:schemeClr val="dk1"/>
              </a:buClr>
              <a:buSzPts val="1100"/>
            </a:pPr>
            <a:r>
              <a:rPr lang="en" smtClean="0"/>
              <a:t>Giới thiệu về bảng điểm thi Tiếng Anh</a:t>
            </a:r>
            <a:endParaRPr/>
          </a:p>
        </p:txBody>
      </p:sp>
      <p:sp>
        <p:nvSpPr>
          <p:cNvPr id="2140" name="Google Shape;2140;p37"/>
          <p:cNvSpPr txBox="1">
            <a:spLocks noGrp="1"/>
          </p:cNvSpPr>
          <p:nvPr>
            <p:ph type="subTitle" idx="1"/>
          </p:nvPr>
        </p:nvSpPr>
        <p:spPr>
          <a:xfrm>
            <a:off x="1163313" y="105896"/>
            <a:ext cx="3348755" cy="384000"/>
          </a:xfrm>
          <a:prstGeom prst="rect">
            <a:avLst/>
          </a:prstGeom>
        </p:spPr>
        <p:txBody>
          <a:bodyPr spcFirstLastPara="1" wrap="square" lIns="91421" tIns="91421" rIns="91421" bIns="91421" anchor="t" anchorCtr="0">
            <a:noAutofit/>
          </a:bodyPr>
          <a:lstStyle/>
          <a:p>
            <a:pPr>
              <a:lnSpc>
                <a:spcPct val="115000"/>
              </a:lnSpc>
            </a:pPr>
            <a:r>
              <a:rPr lang="en" dirty="0" smtClean="0"/>
              <a:t>e) Các trường và dữ liệu</a:t>
            </a:r>
            <a:endParaRPr dirty="0"/>
          </a:p>
        </p:txBody>
      </p:sp>
      <p:sp>
        <p:nvSpPr>
          <p:cNvPr id="2142" name="Google Shape;2142;p37"/>
          <p:cNvSpPr txBox="1">
            <a:spLocks noGrp="1"/>
          </p:cNvSpPr>
          <p:nvPr>
            <p:ph type="subTitle" idx="4"/>
          </p:nvPr>
        </p:nvSpPr>
        <p:spPr>
          <a:xfrm>
            <a:off x="1664208" y="1792224"/>
            <a:ext cx="2615100" cy="576000"/>
          </a:xfrm>
          <a:prstGeom prst="rect">
            <a:avLst/>
          </a:prstGeom>
        </p:spPr>
        <p:txBody>
          <a:bodyPr spcFirstLastPara="1" wrap="square" lIns="91421" tIns="91421" rIns="91421" bIns="91421" anchor="t" anchorCtr="0">
            <a:noAutofit/>
          </a:bodyPr>
          <a:lstStyle/>
          <a:p>
            <a:pPr>
              <a:buClr>
                <a:schemeClr val="dk1"/>
              </a:buClr>
              <a:buSzPts val="1100"/>
            </a:pPr>
            <a:r>
              <a:rPr lang="en" dirty="0" smtClean="0"/>
              <a:t>Tên của trường và giá trị </a:t>
            </a:r>
            <a:endParaRPr dirty="0"/>
          </a:p>
        </p:txBody>
      </p:sp>
      <p:sp>
        <p:nvSpPr>
          <p:cNvPr id="2144" name="Google Shape;2144;p37"/>
          <p:cNvSpPr txBox="1">
            <a:spLocks noGrp="1"/>
          </p:cNvSpPr>
          <p:nvPr>
            <p:ph type="subTitle" idx="6"/>
          </p:nvPr>
        </p:nvSpPr>
        <p:spPr>
          <a:xfrm>
            <a:off x="1664208" y="2871216"/>
            <a:ext cx="2615100" cy="576000"/>
          </a:xfrm>
          <a:prstGeom prst="rect">
            <a:avLst/>
          </a:prstGeom>
        </p:spPr>
        <p:txBody>
          <a:bodyPr spcFirstLastPara="1" wrap="square" lIns="91421" tIns="91421" rIns="91421" bIns="91421" anchor="t" anchorCtr="0">
            <a:noAutofit/>
          </a:bodyPr>
          <a:lstStyle/>
          <a:p>
            <a:pPr>
              <a:buClr>
                <a:schemeClr val="dk1"/>
              </a:buClr>
              <a:buSzPts val="1100"/>
            </a:pPr>
            <a:r>
              <a:rPr lang="en" smtClean="0"/>
              <a:t>Mục đích của việc xác định dữ liệu</a:t>
            </a:r>
            <a:endParaRPr/>
          </a:p>
        </p:txBody>
      </p:sp>
      <p:sp>
        <p:nvSpPr>
          <p:cNvPr id="2146" name="Google Shape;2146;p37"/>
          <p:cNvSpPr txBox="1">
            <a:spLocks noGrp="1"/>
          </p:cNvSpPr>
          <p:nvPr>
            <p:ph type="subTitle" idx="8"/>
          </p:nvPr>
        </p:nvSpPr>
        <p:spPr>
          <a:xfrm>
            <a:off x="1664208" y="3950208"/>
            <a:ext cx="2615100" cy="576000"/>
          </a:xfrm>
          <a:prstGeom prst="rect">
            <a:avLst/>
          </a:prstGeom>
        </p:spPr>
        <p:txBody>
          <a:bodyPr spcFirstLastPara="1" wrap="square" lIns="91421" tIns="91421" rIns="91421" bIns="91421" anchor="t" anchorCtr="0">
            <a:noAutofit/>
          </a:bodyPr>
          <a:lstStyle/>
          <a:p>
            <a:pPr>
              <a:buClr>
                <a:schemeClr val="dk1"/>
              </a:buClr>
              <a:buSzPts val="1100"/>
            </a:pPr>
            <a:r>
              <a:rPr lang="en" smtClean="0"/>
              <a:t>ví dụ và kiểu dữ liệu tương ứng</a:t>
            </a:r>
            <a:endParaRPr/>
          </a:p>
        </p:txBody>
      </p:sp>
      <p:sp>
        <p:nvSpPr>
          <p:cNvPr id="2147" name="Google Shape;2147;p37"/>
          <p:cNvSpPr txBox="1">
            <a:spLocks noGrp="1"/>
          </p:cNvSpPr>
          <p:nvPr>
            <p:ph type="title" idx="9"/>
          </p:nvPr>
        </p:nvSpPr>
        <p:spPr>
          <a:xfrm>
            <a:off x="931511" y="987644"/>
            <a:ext cx="550400" cy="482805"/>
          </a:xfrm>
          <a:prstGeom prst="rect">
            <a:avLst/>
          </a:prstGeom>
        </p:spPr>
        <p:txBody>
          <a:bodyPr spcFirstLastPara="1" wrap="square" lIns="91421" tIns="91421" rIns="91421" bIns="91421" anchor="ctr" anchorCtr="0">
            <a:noAutofit/>
          </a:bodyPr>
          <a:lstStyle/>
          <a:p>
            <a:r>
              <a:rPr lang="en"/>
              <a:t>01</a:t>
            </a:r>
            <a:endParaRPr/>
          </a:p>
        </p:txBody>
      </p:sp>
      <p:sp>
        <p:nvSpPr>
          <p:cNvPr id="2148" name="Google Shape;2148;p37"/>
          <p:cNvSpPr txBox="1">
            <a:spLocks noGrp="1"/>
          </p:cNvSpPr>
          <p:nvPr>
            <p:ph type="title" idx="13"/>
          </p:nvPr>
        </p:nvSpPr>
        <p:spPr>
          <a:xfrm>
            <a:off x="813816" y="1801368"/>
            <a:ext cx="829246" cy="445177"/>
          </a:xfrm>
          <a:prstGeom prst="rect">
            <a:avLst/>
          </a:prstGeom>
        </p:spPr>
        <p:txBody>
          <a:bodyPr spcFirstLastPara="1" wrap="square" lIns="91421" tIns="91421" rIns="91421" bIns="91421" anchor="ctr" anchorCtr="0">
            <a:noAutofit/>
          </a:bodyPr>
          <a:lstStyle/>
          <a:p>
            <a:r>
              <a:rPr lang="en"/>
              <a:t>02</a:t>
            </a:r>
            <a:endParaRPr/>
          </a:p>
        </p:txBody>
      </p:sp>
      <p:sp>
        <p:nvSpPr>
          <p:cNvPr id="2149" name="Google Shape;2149;p37"/>
          <p:cNvSpPr txBox="1">
            <a:spLocks noGrp="1"/>
          </p:cNvSpPr>
          <p:nvPr>
            <p:ph type="title" idx="14"/>
          </p:nvPr>
        </p:nvSpPr>
        <p:spPr>
          <a:xfrm>
            <a:off x="813816" y="2880360"/>
            <a:ext cx="611852" cy="443803"/>
          </a:xfrm>
          <a:prstGeom prst="rect">
            <a:avLst/>
          </a:prstGeom>
        </p:spPr>
        <p:txBody>
          <a:bodyPr spcFirstLastPara="1" wrap="square" lIns="91421" tIns="91421" rIns="91421" bIns="91421" anchor="ctr" anchorCtr="0">
            <a:noAutofit/>
          </a:bodyPr>
          <a:lstStyle/>
          <a:p>
            <a:r>
              <a:rPr lang="en"/>
              <a:t>03</a:t>
            </a:r>
            <a:endParaRPr/>
          </a:p>
        </p:txBody>
      </p:sp>
      <p:sp>
        <p:nvSpPr>
          <p:cNvPr id="2150" name="Google Shape;2150;p37"/>
          <p:cNvSpPr txBox="1">
            <a:spLocks noGrp="1"/>
          </p:cNvSpPr>
          <p:nvPr>
            <p:ph type="title" idx="15"/>
          </p:nvPr>
        </p:nvSpPr>
        <p:spPr>
          <a:xfrm>
            <a:off x="813816" y="3959352"/>
            <a:ext cx="763007" cy="568104"/>
          </a:xfrm>
          <a:prstGeom prst="rect">
            <a:avLst/>
          </a:prstGeom>
        </p:spPr>
        <p:txBody>
          <a:bodyPr spcFirstLastPara="1" wrap="square" lIns="91421" tIns="91421" rIns="91421" bIns="91421" anchor="ctr" anchorCtr="0">
            <a:noAutofit/>
          </a:bodyPr>
          <a:lstStyle/>
          <a:p>
            <a:r>
              <a:rPr lang="en"/>
              <a:t>04</a:t>
            </a:r>
            <a:endParaRPr/>
          </a:p>
        </p:txBody>
      </p:sp>
    </p:spTree>
    <p:extLst>
      <p:ext uri="{BB962C8B-B14F-4D97-AF65-F5344CB8AC3E}">
        <p14:creationId xmlns:p14="http://schemas.microsoft.com/office/powerpoint/2010/main" val="1296289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40">
                                            <p:txEl>
                                              <p:pRg st="0" end="0"/>
                                            </p:txEl>
                                          </p:spTgt>
                                        </p:tgtEl>
                                        <p:attrNameLst>
                                          <p:attrName>style.visibility</p:attrName>
                                        </p:attrNameLst>
                                      </p:cBhvr>
                                      <p:to>
                                        <p:strVal val="visible"/>
                                      </p:to>
                                    </p:set>
                                    <p:animEffect transition="in" filter="fade">
                                      <p:cBhvr>
                                        <p:cTn id="7" dur="1000"/>
                                        <p:tgtEl>
                                          <p:spTgt spid="2140">
                                            <p:txEl>
                                              <p:pRg st="0" end="0"/>
                                            </p:txEl>
                                          </p:spTgt>
                                        </p:tgtEl>
                                      </p:cBhvr>
                                    </p:animEffect>
                                    <p:anim calcmode="lin" valueType="num">
                                      <p:cBhvr>
                                        <p:cTn id="8" dur="1000" fill="hold"/>
                                        <p:tgtEl>
                                          <p:spTgt spid="214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140">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147"/>
                                        </p:tgtEl>
                                        <p:attrNameLst>
                                          <p:attrName>style.visibility</p:attrName>
                                        </p:attrNameLst>
                                      </p:cBhvr>
                                      <p:to>
                                        <p:strVal val="visible"/>
                                      </p:to>
                                    </p:set>
                                    <p:animEffect transition="in" filter="fade">
                                      <p:cBhvr>
                                        <p:cTn id="14" dur="1000"/>
                                        <p:tgtEl>
                                          <p:spTgt spid="2147"/>
                                        </p:tgtEl>
                                      </p:cBhvr>
                                    </p:animEffect>
                                    <p:anim calcmode="lin" valueType="num">
                                      <p:cBhvr>
                                        <p:cTn id="15" dur="1000" fill="hold"/>
                                        <p:tgtEl>
                                          <p:spTgt spid="2147"/>
                                        </p:tgtEl>
                                        <p:attrNameLst>
                                          <p:attrName>ppt_x</p:attrName>
                                        </p:attrNameLst>
                                      </p:cBhvr>
                                      <p:tavLst>
                                        <p:tav tm="0">
                                          <p:val>
                                            <p:strVal val="#ppt_x"/>
                                          </p:val>
                                        </p:tav>
                                        <p:tav tm="100000">
                                          <p:val>
                                            <p:strVal val="#ppt_x"/>
                                          </p:val>
                                        </p:tav>
                                      </p:tavLst>
                                    </p:anim>
                                    <p:anim calcmode="lin" valueType="num">
                                      <p:cBhvr>
                                        <p:cTn id="16" dur="1000" fill="hold"/>
                                        <p:tgtEl>
                                          <p:spTgt spid="2147"/>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2106"/>
                                        </p:tgtEl>
                                        <p:attrNameLst>
                                          <p:attrName>style.visibility</p:attrName>
                                        </p:attrNameLst>
                                      </p:cBhvr>
                                      <p:to>
                                        <p:strVal val="visible"/>
                                      </p:to>
                                    </p:set>
                                    <p:animEffect transition="in" filter="fade">
                                      <p:cBhvr>
                                        <p:cTn id="19" dur="1000"/>
                                        <p:tgtEl>
                                          <p:spTgt spid="2106"/>
                                        </p:tgtEl>
                                      </p:cBhvr>
                                    </p:animEffect>
                                    <p:anim calcmode="lin" valueType="num">
                                      <p:cBhvr>
                                        <p:cTn id="20" dur="1000" fill="hold"/>
                                        <p:tgtEl>
                                          <p:spTgt spid="2106"/>
                                        </p:tgtEl>
                                        <p:attrNameLst>
                                          <p:attrName>ppt_x</p:attrName>
                                        </p:attrNameLst>
                                      </p:cBhvr>
                                      <p:tavLst>
                                        <p:tav tm="0">
                                          <p:val>
                                            <p:strVal val="#ppt_x"/>
                                          </p:val>
                                        </p:tav>
                                        <p:tav tm="100000">
                                          <p:val>
                                            <p:strVal val="#ppt_x"/>
                                          </p:val>
                                        </p:tav>
                                      </p:tavLst>
                                    </p:anim>
                                    <p:anim calcmode="lin" valueType="num">
                                      <p:cBhvr>
                                        <p:cTn id="21" dur="1000" fill="hold"/>
                                        <p:tgtEl>
                                          <p:spTgt spid="210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2139">
                                            <p:txEl>
                                              <p:pRg st="0" end="0"/>
                                            </p:txEl>
                                          </p:spTgt>
                                        </p:tgtEl>
                                        <p:attrNameLst>
                                          <p:attrName>style.visibility</p:attrName>
                                        </p:attrNameLst>
                                      </p:cBhvr>
                                      <p:to>
                                        <p:strVal val="visible"/>
                                      </p:to>
                                    </p:set>
                                    <p:animEffect transition="in" filter="fade">
                                      <p:cBhvr>
                                        <p:cTn id="24" dur="1000"/>
                                        <p:tgtEl>
                                          <p:spTgt spid="2139">
                                            <p:txEl>
                                              <p:pRg st="0" end="0"/>
                                            </p:txEl>
                                          </p:spTgt>
                                        </p:tgtEl>
                                      </p:cBhvr>
                                    </p:animEffect>
                                    <p:anim calcmode="lin" valueType="num">
                                      <p:cBhvr>
                                        <p:cTn id="25" dur="1000" fill="hold"/>
                                        <p:tgtEl>
                                          <p:spTgt spid="2139">
                                            <p:txEl>
                                              <p:pRg st="0" end="0"/>
                                            </p:txEl>
                                          </p:spTgt>
                                        </p:tgtEl>
                                        <p:attrNameLst>
                                          <p:attrName>ppt_x</p:attrName>
                                        </p:attrNameLst>
                                      </p:cBhvr>
                                      <p:tavLst>
                                        <p:tav tm="0">
                                          <p:val>
                                            <p:strVal val="#ppt_x"/>
                                          </p:val>
                                        </p:tav>
                                        <p:tav tm="100000">
                                          <p:val>
                                            <p:strVal val="#ppt_x"/>
                                          </p:val>
                                        </p:tav>
                                      </p:tavLst>
                                    </p:anim>
                                    <p:anim calcmode="lin" valueType="num">
                                      <p:cBhvr>
                                        <p:cTn id="26" dur="1000" fill="hold"/>
                                        <p:tgtEl>
                                          <p:spTgt spid="213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2114"/>
                                        </p:tgtEl>
                                        <p:attrNameLst>
                                          <p:attrName>style.visibility</p:attrName>
                                        </p:attrNameLst>
                                      </p:cBhvr>
                                      <p:to>
                                        <p:strVal val="visible"/>
                                      </p:to>
                                    </p:set>
                                    <p:animEffect transition="in" filter="fade">
                                      <p:cBhvr>
                                        <p:cTn id="31" dur="1000"/>
                                        <p:tgtEl>
                                          <p:spTgt spid="2114"/>
                                        </p:tgtEl>
                                      </p:cBhvr>
                                    </p:animEffect>
                                    <p:anim calcmode="lin" valueType="num">
                                      <p:cBhvr>
                                        <p:cTn id="32" dur="1000" fill="hold"/>
                                        <p:tgtEl>
                                          <p:spTgt spid="2114"/>
                                        </p:tgtEl>
                                        <p:attrNameLst>
                                          <p:attrName>ppt_x</p:attrName>
                                        </p:attrNameLst>
                                      </p:cBhvr>
                                      <p:tavLst>
                                        <p:tav tm="0">
                                          <p:val>
                                            <p:strVal val="#ppt_x"/>
                                          </p:val>
                                        </p:tav>
                                        <p:tav tm="100000">
                                          <p:val>
                                            <p:strVal val="#ppt_x"/>
                                          </p:val>
                                        </p:tav>
                                      </p:tavLst>
                                    </p:anim>
                                    <p:anim calcmode="lin" valueType="num">
                                      <p:cBhvr>
                                        <p:cTn id="33" dur="1000" fill="hold"/>
                                        <p:tgtEl>
                                          <p:spTgt spid="2114"/>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148"/>
                                        </p:tgtEl>
                                        <p:attrNameLst>
                                          <p:attrName>style.visibility</p:attrName>
                                        </p:attrNameLst>
                                      </p:cBhvr>
                                      <p:to>
                                        <p:strVal val="visible"/>
                                      </p:to>
                                    </p:set>
                                    <p:animEffect transition="in" filter="fade">
                                      <p:cBhvr>
                                        <p:cTn id="36" dur="1000"/>
                                        <p:tgtEl>
                                          <p:spTgt spid="2148"/>
                                        </p:tgtEl>
                                      </p:cBhvr>
                                    </p:animEffect>
                                    <p:anim calcmode="lin" valueType="num">
                                      <p:cBhvr>
                                        <p:cTn id="37" dur="1000" fill="hold"/>
                                        <p:tgtEl>
                                          <p:spTgt spid="2148"/>
                                        </p:tgtEl>
                                        <p:attrNameLst>
                                          <p:attrName>ppt_x</p:attrName>
                                        </p:attrNameLst>
                                      </p:cBhvr>
                                      <p:tavLst>
                                        <p:tav tm="0">
                                          <p:val>
                                            <p:strVal val="#ppt_x"/>
                                          </p:val>
                                        </p:tav>
                                        <p:tav tm="100000">
                                          <p:val>
                                            <p:strVal val="#ppt_x"/>
                                          </p:val>
                                        </p:tav>
                                      </p:tavLst>
                                    </p:anim>
                                    <p:anim calcmode="lin" valueType="num">
                                      <p:cBhvr>
                                        <p:cTn id="38" dur="1000" fill="hold"/>
                                        <p:tgtEl>
                                          <p:spTgt spid="2148"/>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2142">
                                            <p:txEl>
                                              <p:pRg st="0" end="0"/>
                                            </p:txEl>
                                          </p:spTgt>
                                        </p:tgtEl>
                                        <p:attrNameLst>
                                          <p:attrName>style.visibility</p:attrName>
                                        </p:attrNameLst>
                                      </p:cBhvr>
                                      <p:to>
                                        <p:strVal val="visible"/>
                                      </p:to>
                                    </p:set>
                                    <p:animEffect transition="in" filter="fade">
                                      <p:cBhvr>
                                        <p:cTn id="41" dur="1000"/>
                                        <p:tgtEl>
                                          <p:spTgt spid="2142">
                                            <p:txEl>
                                              <p:pRg st="0" end="0"/>
                                            </p:txEl>
                                          </p:spTgt>
                                        </p:tgtEl>
                                      </p:cBhvr>
                                    </p:animEffect>
                                    <p:anim calcmode="lin" valueType="num">
                                      <p:cBhvr>
                                        <p:cTn id="42" dur="1000" fill="hold"/>
                                        <p:tgtEl>
                                          <p:spTgt spid="2142">
                                            <p:txEl>
                                              <p:pRg st="0" end="0"/>
                                            </p:txEl>
                                          </p:spTgt>
                                        </p:tgtEl>
                                        <p:attrNameLst>
                                          <p:attrName>ppt_x</p:attrName>
                                        </p:attrNameLst>
                                      </p:cBhvr>
                                      <p:tavLst>
                                        <p:tav tm="0">
                                          <p:val>
                                            <p:strVal val="#ppt_x"/>
                                          </p:val>
                                        </p:tav>
                                        <p:tav tm="100000">
                                          <p:val>
                                            <p:strVal val="#ppt_x"/>
                                          </p:val>
                                        </p:tav>
                                      </p:tavLst>
                                    </p:anim>
                                    <p:anim calcmode="lin" valueType="num">
                                      <p:cBhvr>
                                        <p:cTn id="43" dur="1000" fill="hold"/>
                                        <p:tgtEl>
                                          <p:spTgt spid="214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nodeType="clickEffect">
                                  <p:stCondLst>
                                    <p:cond delay="0"/>
                                  </p:stCondLst>
                                  <p:childTnLst>
                                    <p:set>
                                      <p:cBhvr>
                                        <p:cTn id="47" dur="1" fill="hold">
                                          <p:stCondLst>
                                            <p:cond delay="0"/>
                                          </p:stCondLst>
                                        </p:cTn>
                                        <p:tgtEl>
                                          <p:spTgt spid="2122"/>
                                        </p:tgtEl>
                                        <p:attrNameLst>
                                          <p:attrName>style.visibility</p:attrName>
                                        </p:attrNameLst>
                                      </p:cBhvr>
                                      <p:to>
                                        <p:strVal val="visible"/>
                                      </p:to>
                                    </p:set>
                                    <p:animEffect transition="in" filter="fade">
                                      <p:cBhvr>
                                        <p:cTn id="48" dur="1000"/>
                                        <p:tgtEl>
                                          <p:spTgt spid="2122"/>
                                        </p:tgtEl>
                                      </p:cBhvr>
                                    </p:animEffect>
                                    <p:anim calcmode="lin" valueType="num">
                                      <p:cBhvr>
                                        <p:cTn id="49" dur="1000" fill="hold"/>
                                        <p:tgtEl>
                                          <p:spTgt spid="2122"/>
                                        </p:tgtEl>
                                        <p:attrNameLst>
                                          <p:attrName>ppt_x</p:attrName>
                                        </p:attrNameLst>
                                      </p:cBhvr>
                                      <p:tavLst>
                                        <p:tav tm="0">
                                          <p:val>
                                            <p:strVal val="#ppt_x"/>
                                          </p:val>
                                        </p:tav>
                                        <p:tav tm="100000">
                                          <p:val>
                                            <p:strVal val="#ppt_x"/>
                                          </p:val>
                                        </p:tav>
                                      </p:tavLst>
                                    </p:anim>
                                    <p:anim calcmode="lin" valueType="num">
                                      <p:cBhvr>
                                        <p:cTn id="50" dur="1000" fill="hold"/>
                                        <p:tgtEl>
                                          <p:spTgt spid="2122"/>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2149"/>
                                        </p:tgtEl>
                                        <p:attrNameLst>
                                          <p:attrName>style.visibility</p:attrName>
                                        </p:attrNameLst>
                                      </p:cBhvr>
                                      <p:to>
                                        <p:strVal val="visible"/>
                                      </p:to>
                                    </p:set>
                                    <p:animEffect transition="in" filter="fade">
                                      <p:cBhvr>
                                        <p:cTn id="53" dur="1000"/>
                                        <p:tgtEl>
                                          <p:spTgt spid="2149"/>
                                        </p:tgtEl>
                                      </p:cBhvr>
                                    </p:animEffect>
                                    <p:anim calcmode="lin" valueType="num">
                                      <p:cBhvr>
                                        <p:cTn id="54" dur="1000" fill="hold"/>
                                        <p:tgtEl>
                                          <p:spTgt spid="2149"/>
                                        </p:tgtEl>
                                        <p:attrNameLst>
                                          <p:attrName>ppt_x</p:attrName>
                                        </p:attrNameLst>
                                      </p:cBhvr>
                                      <p:tavLst>
                                        <p:tav tm="0">
                                          <p:val>
                                            <p:strVal val="#ppt_x"/>
                                          </p:val>
                                        </p:tav>
                                        <p:tav tm="100000">
                                          <p:val>
                                            <p:strVal val="#ppt_x"/>
                                          </p:val>
                                        </p:tav>
                                      </p:tavLst>
                                    </p:anim>
                                    <p:anim calcmode="lin" valueType="num">
                                      <p:cBhvr>
                                        <p:cTn id="55" dur="1000" fill="hold"/>
                                        <p:tgtEl>
                                          <p:spTgt spid="2149"/>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144">
                                            <p:txEl>
                                              <p:pRg st="0" end="0"/>
                                            </p:txEl>
                                          </p:spTgt>
                                        </p:tgtEl>
                                        <p:attrNameLst>
                                          <p:attrName>style.visibility</p:attrName>
                                        </p:attrNameLst>
                                      </p:cBhvr>
                                      <p:to>
                                        <p:strVal val="visible"/>
                                      </p:to>
                                    </p:set>
                                    <p:animEffect transition="in" filter="fade">
                                      <p:cBhvr>
                                        <p:cTn id="58" dur="1000"/>
                                        <p:tgtEl>
                                          <p:spTgt spid="2144">
                                            <p:txEl>
                                              <p:pRg st="0" end="0"/>
                                            </p:txEl>
                                          </p:spTgt>
                                        </p:tgtEl>
                                      </p:cBhvr>
                                    </p:animEffect>
                                    <p:anim calcmode="lin" valueType="num">
                                      <p:cBhvr>
                                        <p:cTn id="59" dur="1000" fill="hold"/>
                                        <p:tgtEl>
                                          <p:spTgt spid="2144">
                                            <p:txEl>
                                              <p:pRg st="0" end="0"/>
                                            </p:txEl>
                                          </p:spTgt>
                                        </p:tgtEl>
                                        <p:attrNameLst>
                                          <p:attrName>ppt_x</p:attrName>
                                        </p:attrNameLst>
                                      </p:cBhvr>
                                      <p:tavLst>
                                        <p:tav tm="0">
                                          <p:val>
                                            <p:strVal val="#ppt_x"/>
                                          </p:val>
                                        </p:tav>
                                        <p:tav tm="100000">
                                          <p:val>
                                            <p:strVal val="#ppt_x"/>
                                          </p:val>
                                        </p:tav>
                                      </p:tavLst>
                                    </p:anim>
                                    <p:anim calcmode="lin" valueType="num">
                                      <p:cBhvr>
                                        <p:cTn id="60" dur="1000" fill="hold"/>
                                        <p:tgtEl>
                                          <p:spTgt spid="214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nodeType="clickEffect">
                                  <p:stCondLst>
                                    <p:cond delay="0"/>
                                  </p:stCondLst>
                                  <p:childTnLst>
                                    <p:set>
                                      <p:cBhvr>
                                        <p:cTn id="64" dur="1" fill="hold">
                                          <p:stCondLst>
                                            <p:cond delay="0"/>
                                          </p:stCondLst>
                                        </p:cTn>
                                        <p:tgtEl>
                                          <p:spTgt spid="2130"/>
                                        </p:tgtEl>
                                        <p:attrNameLst>
                                          <p:attrName>style.visibility</p:attrName>
                                        </p:attrNameLst>
                                      </p:cBhvr>
                                      <p:to>
                                        <p:strVal val="visible"/>
                                      </p:to>
                                    </p:set>
                                    <p:animEffect transition="in" filter="fade">
                                      <p:cBhvr>
                                        <p:cTn id="65" dur="1000"/>
                                        <p:tgtEl>
                                          <p:spTgt spid="2130"/>
                                        </p:tgtEl>
                                      </p:cBhvr>
                                    </p:animEffect>
                                    <p:anim calcmode="lin" valueType="num">
                                      <p:cBhvr>
                                        <p:cTn id="66" dur="1000" fill="hold"/>
                                        <p:tgtEl>
                                          <p:spTgt spid="2130"/>
                                        </p:tgtEl>
                                        <p:attrNameLst>
                                          <p:attrName>ppt_x</p:attrName>
                                        </p:attrNameLst>
                                      </p:cBhvr>
                                      <p:tavLst>
                                        <p:tav tm="0">
                                          <p:val>
                                            <p:strVal val="#ppt_x"/>
                                          </p:val>
                                        </p:tav>
                                        <p:tav tm="100000">
                                          <p:val>
                                            <p:strVal val="#ppt_x"/>
                                          </p:val>
                                        </p:tav>
                                      </p:tavLst>
                                    </p:anim>
                                    <p:anim calcmode="lin" valueType="num">
                                      <p:cBhvr>
                                        <p:cTn id="67" dur="1000" fill="hold"/>
                                        <p:tgtEl>
                                          <p:spTgt spid="2130"/>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2150"/>
                                        </p:tgtEl>
                                        <p:attrNameLst>
                                          <p:attrName>style.visibility</p:attrName>
                                        </p:attrNameLst>
                                      </p:cBhvr>
                                      <p:to>
                                        <p:strVal val="visible"/>
                                      </p:to>
                                    </p:set>
                                    <p:animEffect transition="in" filter="fade">
                                      <p:cBhvr>
                                        <p:cTn id="70" dur="1000"/>
                                        <p:tgtEl>
                                          <p:spTgt spid="2150"/>
                                        </p:tgtEl>
                                      </p:cBhvr>
                                    </p:animEffect>
                                    <p:anim calcmode="lin" valueType="num">
                                      <p:cBhvr>
                                        <p:cTn id="71" dur="1000" fill="hold"/>
                                        <p:tgtEl>
                                          <p:spTgt spid="2150"/>
                                        </p:tgtEl>
                                        <p:attrNameLst>
                                          <p:attrName>ppt_x</p:attrName>
                                        </p:attrNameLst>
                                      </p:cBhvr>
                                      <p:tavLst>
                                        <p:tav tm="0">
                                          <p:val>
                                            <p:strVal val="#ppt_x"/>
                                          </p:val>
                                        </p:tav>
                                        <p:tav tm="100000">
                                          <p:val>
                                            <p:strVal val="#ppt_x"/>
                                          </p:val>
                                        </p:tav>
                                      </p:tavLst>
                                    </p:anim>
                                    <p:anim calcmode="lin" valueType="num">
                                      <p:cBhvr>
                                        <p:cTn id="72" dur="1000" fill="hold"/>
                                        <p:tgtEl>
                                          <p:spTgt spid="2150"/>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2146">
                                            <p:txEl>
                                              <p:pRg st="0" end="0"/>
                                            </p:txEl>
                                          </p:spTgt>
                                        </p:tgtEl>
                                        <p:attrNameLst>
                                          <p:attrName>style.visibility</p:attrName>
                                        </p:attrNameLst>
                                      </p:cBhvr>
                                      <p:to>
                                        <p:strVal val="visible"/>
                                      </p:to>
                                    </p:set>
                                    <p:animEffect transition="in" filter="fade">
                                      <p:cBhvr>
                                        <p:cTn id="75" dur="1000"/>
                                        <p:tgtEl>
                                          <p:spTgt spid="2146">
                                            <p:txEl>
                                              <p:pRg st="0" end="0"/>
                                            </p:txEl>
                                          </p:spTgt>
                                        </p:tgtEl>
                                      </p:cBhvr>
                                    </p:animEffect>
                                    <p:anim calcmode="lin" valueType="num">
                                      <p:cBhvr>
                                        <p:cTn id="76" dur="1000" fill="hold"/>
                                        <p:tgtEl>
                                          <p:spTgt spid="2146">
                                            <p:txEl>
                                              <p:pRg st="0" end="0"/>
                                            </p:txEl>
                                          </p:spTgt>
                                        </p:tgtEl>
                                        <p:attrNameLst>
                                          <p:attrName>ppt_x</p:attrName>
                                        </p:attrNameLst>
                                      </p:cBhvr>
                                      <p:tavLst>
                                        <p:tav tm="0">
                                          <p:val>
                                            <p:strVal val="#ppt_x"/>
                                          </p:val>
                                        </p:tav>
                                        <p:tav tm="100000">
                                          <p:val>
                                            <p:strVal val="#ppt_x"/>
                                          </p:val>
                                        </p:tav>
                                      </p:tavLst>
                                    </p:anim>
                                    <p:anim calcmode="lin" valueType="num">
                                      <p:cBhvr>
                                        <p:cTn id="77" dur="1000" fill="hold"/>
                                        <p:tgtEl>
                                          <p:spTgt spid="2146">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39" grpId="0" build="p"/>
      <p:bldP spid="2140" grpId="0" build="p"/>
      <p:bldP spid="2142" grpId="0" build="p"/>
      <p:bldP spid="2144" grpId="0" build="p"/>
      <p:bldP spid="2146" grpId="0" build="p"/>
      <p:bldP spid="2147" grpId="0"/>
      <p:bldP spid="2148" grpId="0"/>
      <p:bldP spid="2149" grpId="0"/>
      <p:bldP spid="215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154"/>
        <p:cNvGrpSpPr/>
        <p:nvPr/>
      </p:nvGrpSpPr>
      <p:grpSpPr>
        <a:xfrm>
          <a:off x="0" y="0"/>
          <a:ext cx="0" cy="0"/>
          <a:chOff x="0" y="0"/>
          <a:chExt cx="0" cy="0"/>
        </a:xfrm>
      </p:grpSpPr>
      <p:sp>
        <p:nvSpPr>
          <p:cNvPr id="2156" name="Google Shape;2156;p38"/>
          <p:cNvSpPr txBox="1">
            <a:spLocks noGrp="1"/>
          </p:cNvSpPr>
          <p:nvPr>
            <p:ph type="title" idx="2"/>
          </p:nvPr>
        </p:nvSpPr>
        <p:spPr>
          <a:xfrm>
            <a:off x="2971800" y="1161288"/>
            <a:ext cx="2967600" cy="1069800"/>
          </a:xfrm>
          <a:prstGeom prst="rect">
            <a:avLst/>
          </a:prstGeom>
        </p:spPr>
        <p:txBody>
          <a:bodyPr spcFirstLastPara="1" wrap="square" lIns="91421" tIns="91421" rIns="91421" bIns="91421" anchor="ctr" anchorCtr="0">
            <a:noAutofit/>
          </a:bodyPr>
          <a:lstStyle/>
          <a:p>
            <a:r>
              <a:rPr lang="en"/>
              <a:t>01</a:t>
            </a:r>
            <a:endParaRPr/>
          </a:p>
        </p:txBody>
      </p:sp>
      <p:sp>
        <p:nvSpPr>
          <p:cNvPr id="2157" name="Google Shape;2157;p38"/>
          <p:cNvSpPr txBox="1">
            <a:spLocks noGrp="1"/>
          </p:cNvSpPr>
          <p:nvPr>
            <p:ph type="subTitle" idx="1"/>
          </p:nvPr>
        </p:nvSpPr>
        <p:spPr>
          <a:xfrm>
            <a:off x="2973225" y="2999232"/>
            <a:ext cx="3200400" cy="685800"/>
          </a:xfrm>
          <a:prstGeom prst="rect">
            <a:avLst/>
          </a:prstGeom>
        </p:spPr>
        <p:txBody>
          <a:bodyPr spcFirstLastPara="1" wrap="square" lIns="91421" tIns="91421" rIns="91421" bIns="91421" anchor="t" anchorCtr="0">
            <a:noAutofit/>
          </a:bodyPr>
          <a:lstStyle/>
          <a:p>
            <a:r>
              <a:rPr lang="en" sz="2100" b="1" i="1"/>
              <a:t>Giới thiệu về bảng điểm thi Tiếng Anh</a:t>
            </a:r>
            <a:endParaRPr sz="2100" b="1" i="1">
              <a:sym typeface="Barlow Semi Condensed"/>
            </a:endParaRPr>
          </a:p>
        </p:txBody>
      </p:sp>
    </p:spTree>
    <p:extLst>
      <p:ext uri="{BB962C8B-B14F-4D97-AF65-F5344CB8AC3E}">
        <p14:creationId xmlns:p14="http://schemas.microsoft.com/office/powerpoint/2010/main" val="2005785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56"/>
                                        </p:tgtEl>
                                        <p:attrNameLst>
                                          <p:attrName>style.visibility</p:attrName>
                                        </p:attrNameLst>
                                      </p:cBhvr>
                                      <p:to>
                                        <p:strVal val="visible"/>
                                      </p:to>
                                    </p:set>
                                    <p:animEffect transition="in" filter="barn(inVertical)">
                                      <p:cBhvr>
                                        <p:cTn id="7" dur="500"/>
                                        <p:tgtEl>
                                          <p:spTgt spid="215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157">
                                            <p:txEl>
                                              <p:pRg st="0" end="0"/>
                                            </p:txEl>
                                          </p:spTgt>
                                        </p:tgtEl>
                                        <p:attrNameLst>
                                          <p:attrName>style.visibility</p:attrName>
                                        </p:attrNameLst>
                                      </p:cBhvr>
                                      <p:to>
                                        <p:strVal val="visible"/>
                                      </p:to>
                                    </p:set>
                                    <p:animEffect transition="in" filter="barn(inVertical)">
                                      <p:cBhvr>
                                        <p:cTn id="12" dur="500"/>
                                        <p:tgtEl>
                                          <p:spTgt spid="215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6" grpId="0"/>
      <p:bldP spid="2157"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161"/>
        <p:cNvGrpSpPr/>
        <p:nvPr/>
      </p:nvGrpSpPr>
      <p:grpSpPr>
        <a:xfrm>
          <a:off x="0" y="0"/>
          <a:ext cx="0" cy="0"/>
          <a:chOff x="0" y="0"/>
          <a:chExt cx="0" cy="0"/>
        </a:xfrm>
      </p:grpSpPr>
      <p:grpSp>
        <p:nvGrpSpPr>
          <p:cNvPr id="2162" name="Google Shape;2162;p39"/>
          <p:cNvGrpSpPr/>
          <p:nvPr/>
        </p:nvGrpSpPr>
        <p:grpSpPr>
          <a:xfrm>
            <a:off x="977947" y="1"/>
            <a:ext cx="1117115" cy="1035176"/>
            <a:chOff x="3614228" y="234880"/>
            <a:chExt cx="1915500" cy="1915500"/>
          </a:xfrm>
        </p:grpSpPr>
        <p:sp>
          <p:nvSpPr>
            <p:cNvPr id="2163" name="Google Shape;2163;p39"/>
            <p:cNvSpPr/>
            <p:nvPr/>
          </p:nvSpPr>
          <p:spPr>
            <a:xfrm>
              <a:off x="3614228" y="234880"/>
              <a:ext cx="1915500" cy="1915500"/>
            </a:xfrm>
            <a:prstGeom prst="ellipse">
              <a:avLst/>
            </a:prstGeom>
            <a:solidFill>
              <a:schemeClr val="accent1"/>
            </a:solidFill>
            <a:ln w="9525" cap="flat" cmpd="sng">
              <a:solidFill>
                <a:schemeClr val="dk2"/>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sp>
          <p:nvSpPr>
            <p:cNvPr id="2164" name="Google Shape;2164;p39"/>
            <p:cNvSpPr/>
            <p:nvPr/>
          </p:nvSpPr>
          <p:spPr>
            <a:xfrm>
              <a:off x="3869711" y="490401"/>
              <a:ext cx="1404000" cy="14040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grpSp>
      <p:grpSp>
        <p:nvGrpSpPr>
          <p:cNvPr id="2166" name="Google Shape;2166;p39"/>
          <p:cNvGrpSpPr/>
          <p:nvPr/>
        </p:nvGrpSpPr>
        <p:grpSpPr>
          <a:xfrm>
            <a:off x="1213953" y="278930"/>
            <a:ext cx="591455" cy="590639"/>
            <a:chOff x="1190625" y="238125"/>
            <a:chExt cx="5238750" cy="5231525"/>
          </a:xfrm>
        </p:grpSpPr>
        <p:sp>
          <p:nvSpPr>
            <p:cNvPr id="2167" name="Google Shape;2167;p39"/>
            <p:cNvSpPr/>
            <p:nvPr/>
          </p:nvSpPr>
          <p:spPr>
            <a:xfrm>
              <a:off x="1190625" y="259325"/>
              <a:ext cx="5238750" cy="5210325"/>
            </a:xfrm>
            <a:custGeom>
              <a:avLst/>
              <a:gdLst/>
              <a:ahLst/>
              <a:cxnLst/>
              <a:rect l="l" t="t" r="r" b="b"/>
              <a:pathLst>
                <a:path w="209550" h="208413" extrusionOk="0">
                  <a:moveTo>
                    <a:pt x="149830" y="7449"/>
                  </a:moveTo>
                  <a:lnTo>
                    <a:pt x="163530" y="9379"/>
                  </a:lnTo>
                  <a:lnTo>
                    <a:pt x="162179" y="19412"/>
                  </a:lnTo>
                  <a:cubicBezTo>
                    <a:pt x="161311" y="25105"/>
                    <a:pt x="165267" y="30411"/>
                    <a:pt x="170959" y="31279"/>
                  </a:cubicBezTo>
                  <a:cubicBezTo>
                    <a:pt x="171435" y="31345"/>
                    <a:pt x="171909" y="31377"/>
                    <a:pt x="172378" y="31377"/>
                  </a:cubicBezTo>
                  <a:cubicBezTo>
                    <a:pt x="174663" y="31377"/>
                    <a:pt x="176836" y="30614"/>
                    <a:pt x="178677" y="29253"/>
                  </a:cubicBezTo>
                  <a:lnTo>
                    <a:pt x="186878" y="23175"/>
                  </a:lnTo>
                  <a:lnTo>
                    <a:pt x="195175" y="34270"/>
                  </a:lnTo>
                  <a:lnTo>
                    <a:pt x="187071" y="40348"/>
                  </a:lnTo>
                  <a:cubicBezTo>
                    <a:pt x="182440" y="43821"/>
                    <a:pt x="181475" y="50382"/>
                    <a:pt x="184948" y="54916"/>
                  </a:cubicBezTo>
                  <a:cubicBezTo>
                    <a:pt x="186588" y="57135"/>
                    <a:pt x="189097" y="58679"/>
                    <a:pt x="191798" y="59065"/>
                  </a:cubicBezTo>
                  <a:lnTo>
                    <a:pt x="201832" y="60415"/>
                  </a:lnTo>
                  <a:lnTo>
                    <a:pt x="199902" y="74212"/>
                  </a:lnTo>
                  <a:lnTo>
                    <a:pt x="189869" y="72765"/>
                  </a:lnTo>
                  <a:cubicBezTo>
                    <a:pt x="189391" y="72700"/>
                    <a:pt x="188917" y="72668"/>
                    <a:pt x="188447" y="72668"/>
                  </a:cubicBezTo>
                  <a:cubicBezTo>
                    <a:pt x="183318" y="72668"/>
                    <a:pt x="178797" y="76426"/>
                    <a:pt x="178002" y="81641"/>
                  </a:cubicBezTo>
                  <a:cubicBezTo>
                    <a:pt x="177616" y="84342"/>
                    <a:pt x="178388" y="87140"/>
                    <a:pt x="180028" y="89359"/>
                  </a:cubicBezTo>
                  <a:lnTo>
                    <a:pt x="186106" y="97463"/>
                  </a:lnTo>
                  <a:lnTo>
                    <a:pt x="175011" y="105760"/>
                  </a:lnTo>
                  <a:lnTo>
                    <a:pt x="168933" y="97656"/>
                  </a:lnTo>
                  <a:cubicBezTo>
                    <a:pt x="166888" y="94930"/>
                    <a:pt x="163773" y="93507"/>
                    <a:pt x="160632" y="93507"/>
                  </a:cubicBezTo>
                  <a:cubicBezTo>
                    <a:pt x="158437" y="93507"/>
                    <a:pt x="156230" y="94201"/>
                    <a:pt x="154365" y="95630"/>
                  </a:cubicBezTo>
                  <a:cubicBezTo>
                    <a:pt x="152146" y="97270"/>
                    <a:pt x="150698" y="99682"/>
                    <a:pt x="150216" y="102480"/>
                  </a:cubicBezTo>
                  <a:lnTo>
                    <a:pt x="148865" y="112514"/>
                  </a:lnTo>
                  <a:lnTo>
                    <a:pt x="135069" y="110584"/>
                  </a:lnTo>
                  <a:lnTo>
                    <a:pt x="136516" y="100454"/>
                  </a:lnTo>
                  <a:cubicBezTo>
                    <a:pt x="137385" y="94762"/>
                    <a:pt x="133429" y="89552"/>
                    <a:pt x="127737" y="88683"/>
                  </a:cubicBezTo>
                  <a:cubicBezTo>
                    <a:pt x="127260" y="88618"/>
                    <a:pt x="126787" y="88586"/>
                    <a:pt x="126318" y="88586"/>
                  </a:cubicBezTo>
                  <a:cubicBezTo>
                    <a:pt x="124033" y="88586"/>
                    <a:pt x="121860" y="89349"/>
                    <a:pt x="120019" y="90710"/>
                  </a:cubicBezTo>
                  <a:lnTo>
                    <a:pt x="111818" y="96788"/>
                  </a:lnTo>
                  <a:lnTo>
                    <a:pt x="103521" y="85693"/>
                  </a:lnTo>
                  <a:lnTo>
                    <a:pt x="111625" y="79615"/>
                  </a:lnTo>
                  <a:cubicBezTo>
                    <a:pt x="116256" y="76141"/>
                    <a:pt x="117221" y="69581"/>
                    <a:pt x="113747" y="64950"/>
                  </a:cubicBezTo>
                  <a:cubicBezTo>
                    <a:pt x="112107" y="62731"/>
                    <a:pt x="109599" y="61284"/>
                    <a:pt x="106898" y="60898"/>
                  </a:cubicBezTo>
                  <a:lnTo>
                    <a:pt x="96767" y="59451"/>
                  </a:lnTo>
                  <a:lnTo>
                    <a:pt x="98793" y="45751"/>
                  </a:lnTo>
                  <a:lnTo>
                    <a:pt x="108827" y="47198"/>
                  </a:lnTo>
                  <a:cubicBezTo>
                    <a:pt x="109304" y="47263"/>
                    <a:pt x="109779" y="47294"/>
                    <a:pt x="110248" y="47294"/>
                  </a:cubicBezTo>
                  <a:cubicBezTo>
                    <a:pt x="115377" y="47294"/>
                    <a:pt x="119890" y="43537"/>
                    <a:pt x="120597" y="38322"/>
                  </a:cubicBezTo>
                  <a:cubicBezTo>
                    <a:pt x="120983" y="35621"/>
                    <a:pt x="120308" y="32823"/>
                    <a:pt x="118668" y="30604"/>
                  </a:cubicBezTo>
                  <a:lnTo>
                    <a:pt x="112493" y="22500"/>
                  </a:lnTo>
                  <a:lnTo>
                    <a:pt x="123588" y="14106"/>
                  </a:lnTo>
                  <a:lnTo>
                    <a:pt x="129763" y="22307"/>
                  </a:lnTo>
                  <a:cubicBezTo>
                    <a:pt x="131820" y="24993"/>
                    <a:pt x="134928" y="26427"/>
                    <a:pt x="138082" y="26427"/>
                  </a:cubicBezTo>
                  <a:cubicBezTo>
                    <a:pt x="140252" y="26427"/>
                    <a:pt x="142444" y="25748"/>
                    <a:pt x="144331" y="24333"/>
                  </a:cubicBezTo>
                  <a:cubicBezTo>
                    <a:pt x="146550" y="22693"/>
                    <a:pt x="147997" y="20184"/>
                    <a:pt x="148383" y="17483"/>
                  </a:cubicBezTo>
                  <a:lnTo>
                    <a:pt x="149830" y="7449"/>
                  </a:lnTo>
                  <a:close/>
                  <a:moveTo>
                    <a:pt x="45248" y="107690"/>
                  </a:moveTo>
                  <a:cubicBezTo>
                    <a:pt x="48432" y="114540"/>
                    <a:pt x="52870" y="120811"/>
                    <a:pt x="58176" y="126213"/>
                  </a:cubicBezTo>
                  <a:cubicBezTo>
                    <a:pt x="56131" y="131893"/>
                    <a:pt x="50817" y="135433"/>
                    <a:pt x="45127" y="135433"/>
                  </a:cubicBezTo>
                  <a:cubicBezTo>
                    <a:pt x="43568" y="135433"/>
                    <a:pt x="41980" y="135167"/>
                    <a:pt x="40424" y="134607"/>
                  </a:cubicBezTo>
                  <a:cubicBezTo>
                    <a:pt x="33188" y="132002"/>
                    <a:pt x="29426" y="124091"/>
                    <a:pt x="32031" y="116855"/>
                  </a:cubicBezTo>
                  <a:cubicBezTo>
                    <a:pt x="34057" y="111356"/>
                    <a:pt x="39267" y="107690"/>
                    <a:pt x="45152" y="107690"/>
                  </a:cubicBezTo>
                  <a:close/>
                  <a:moveTo>
                    <a:pt x="39845" y="89166"/>
                  </a:moveTo>
                  <a:cubicBezTo>
                    <a:pt x="40328" y="93121"/>
                    <a:pt x="41293" y="97077"/>
                    <a:pt x="42547" y="100936"/>
                  </a:cubicBezTo>
                  <a:cubicBezTo>
                    <a:pt x="31162" y="102287"/>
                    <a:pt x="22962" y="112610"/>
                    <a:pt x="24312" y="124091"/>
                  </a:cubicBezTo>
                  <a:cubicBezTo>
                    <a:pt x="25565" y="134650"/>
                    <a:pt x="34620" y="142471"/>
                    <a:pt x="45011" y="142471"/>
                  </a:cubicBezTo>
                  <a:cubicBezTo>
                    <a:pt x="45822" y="142471"/>
                    <a:pt x="46642" y="142423"/>
                    <a:pt x="47467" y="142325"/>
                  </a:cubicBezTo>
                  <a:cubicBezTo>
                    <a:pt x="54414" y="141457"/>
                    <a:pt x="60395" y="137308"/>
                    <a:pt x="63579" y="131134"/>
                  </a:cubicBezTo>
                  <a:cubicBezTo>
                    <a:pt x="65412" y="132677"/>
                    <a:pt x="67438" y="134125"/>
                    <a:pt x="69464" y="135475"/>
                  </a:cubicBezTo>
                  <a:cubicBezTo>
                    <a:pt x="72744" y="137501"/>
                    <a:pt x="75253" y="140685"/>
                    <a:pt x="76507" y="144351"/>
                  </a:cubicBezTo>
                  <a:lnTo>
                    <a:pt x="69078" y="151780"/>
                  </a:lnTo>
                  <a:lnTo>
                    <a:pt x="61842" y="146763"/>
                  </a:lnTo>
                  <a:cubicBezTo>
                    <a:pt x="60637" y="145960"/>
                    <a:pt x="59266" y="145571"/>
                    <a:pt x="57911" y="145571"/>
                  </a:cubicBezTo>
                  <a:cubicBezTo>
                    <a:pt x="55689" y="145571"/>
                    <a:pt x="53513" y="146618"/>
                    <a:pt x="52195" y="148596"/>
                  </a:cubicBezTo>
                  <a:cubicBezTo>
                    <a:pt x="51616" y="149368"/>
                    <a:pt x="51326" y="150236"/>
                    <a:pt x="51133" y="151105"/>
                  </a:cubicBezTo>
                  <a:lnTo>
                    <a:pt x="49300" y="159788"/>
                  </a:lnTo>
                  <a:lnTo>
                    <a:pt x="41003" y="159788"/>
                  </a:lnTo>
                  <a:lnTo>
                    <a:pt x="39170" y="151105"/>
                  </a:lnTo>
                  <a:cubicBezTo>
                    <a:pt x="38495" y="147815"/>
                    <a:pt x="35608" y="145558"/>
                    <a:pt x="32379" y="145558"/>
                  </a:cubicBezTo>
                  <a:cubicBezTo>
                    <a:pt x="31914" y="145558"/>
                    <a:pt x="31443" y="145605"/>
                    <a:pt x="30969" y="145702"/>
                  </a:cubicBezTo>
                  <a:cubicBezTo>
                    <a:pt x="30101" y="145895"/>
                    <a:pt x="29233" y="146281"/>
                    <a:pt x="28461" y="146860"/>
                  </a:cubicBezTo>
                  <a:lnTo>
                    <a:pt x="21225" y="151780"/>
                  </a:lnTo>
                  <a:lnTo>
                    <a:pt x="14954" y="145509"/>
                  </a:lnTo>
                  <a:lnTo>
                    <a:pt x="19874" y="138273"/>
                  </a:lnTo>
                  <a:cubicBezTo>
                    <a:pt x="22093" y="135089"/>
                    <a:pt x="21322" y="130748"/>
                    <a:pt x="18138" y="128625"/>
                  </a:cubicBezTo>
                  <a:cubicBezTo>
                    <a:pt x="17366" y="128046"/>
                    <a:pt x="16498" y="127661"/>
                    <a:pt x="15629" y="127468"/>
                  </a:cubicBezTo>
                  <a:lnTo>
                    <a:pt x="6946" y="125731"/>
                  </a:lnTo>
                  <a:lnTo>
                    <a:pt x="6946" y="117434"/>
                  </a:lnTo>
                  <a:lnTo>
                    <a:pt x="15629" y="115601"/>
                  </a:lnTo>
                  <a:cubicBezTo>
                    <a:pt x="19392" y="114829"/>
                    <a:pt x="21708" y="111163"/>
                    <a:pt x="20936" y="107400"/>
                  </a:cubicBezTo>
                  <a:cubicBezTo>
                    <a:pt x="20743" y="106532"/>
                    <a:pt x="20453" y="105664"/>
                    <a:pt x="19874" y="104892"/>
                  </a:cubicBezTo>
                  <a:lnTo>
                    <a:pt x="14954" y="97656"/>
                  </a:lnTo>
                  <a:lnTo>
                    <a:pt x="21225" y="91385"/>
                  </a:lnTo>
                  <a:lnTo>
                    <a:pt x="28461" y="96305"/>
                  </a:lnTo>
                  <a:cubicBezTo>
                    <a:pt x="29670" y="97148"/>
                    <a:pt x="31045" y="97545"/>
                    <a:pt x="32403" y="97545"/>
                  </a:cubicBezTo>
                  <a:cubicBezTo>
                    <a:pt x="34621" y="97545"/>
                    <a:pt x="36792" y="96484"/>
                    <a:pt x="38109" y="94569"/>
                  </a:cubicBezTo>
                  <a:cubicBezTo>
                    <a:pt x="38688" y="93797"/>
                    <a:pt x="38977" y="92929"/>
                    <a:pt x="39170" y="92060"/>
                  </a:cubicBezTo>
                  <a:lnTo>
                    <a:pt x="39845" y="89166"/>
                  </a:lnTo>
                  <a:close/>
                  <a:moveTo>
                    <a:pt x="118957" y="177154"/>
                  </a:moveTo>
                  <a:lnTo>
                    <a:pt x="118957" y="184100"/>
                  </a:lnTo>
                  <a:lnTo>
                    <a:pt x="91172" y="184100"/>
                  </a:lnTo>
                  <a:lnTo>
                    <a:pt x="91172" y="177154"/>
                  </a:lnTo>
                  <a:close/>
                  <a:moveTo>
                    <a:pt x="118957" y="191047"/>
                  </a:moveTo>
                  <a:lnTo>
                    <a:pt x="118957" y="194520"/>
                  </a:lnTo>
                  <a:cubicBezTo>
                    <a:pt x="118957" y="198282"/>
                    <a:pt x="115870" y="201466"/>
                    <a:pt x="112011" y="201466"/>
                  </a:cubicBezTo>
                  <a:lnTo>
                    <a:pt x="98118" y="201466"/>
                  </a:lnTo>
                  <a:cubicBezTo>
                    <a:pt x="94355" y="201466"/>
                    <a:pt x="91172" y="198282"/>
                    <a:pt x="91172" y="194520"/>
                  </a:cubicBezTo>
                  <a:lnTo>
                    <a:pt x="91172" y="191047"/>
                  </a:lnTo>
                  <a:close/>
                  <a:moveTo>
                    <a:pt x="146950" y="1"/>
                  </a:moveTo>
                  <a:cubicBezTo>
                    <a:pt x="145260" y="1"/>
                    <a:pt x="143732" y="1213"/>
                    <a:pt x="143463" y="3011"/>
                  </a:cubicBezTo>
                  <a:lnTo>
                    <a:pt x="141533" y="16518"/>
                  </a:lnTo>
                  <a:cubicBezTo>
                    <a:pt x="141272" y="18262"/>
                    <a:pt x="139828" y="19454"/>
                    <a:pt x="138129" y="19454"/>
                  </a:cubicBezTo>
                  <a:cubicBezTo>
                    <a:pt x="137948" y="19454"/>
                    <a:pt x="137763" y="19440"/>
                    <a:pt x="137577" y="19412"/>
                  </a:cubicBezTo>
                  <a:cubicBezTo>
                    <a:pt x="136709" y="19316"/>
                    <a:pt x="135841" y="18833"/>
                    <a:pt x="135262" y="18062"/>
                  </a:cubicBezTo>
                  <a:lnTo>
                    <a:pt x="127061" y="7160"/>
                  </a:lnTo>
                  <a:cubicBezTo>
                    <a:pt x="126437" y="6251"/>
                    <a:pt x="125411" y="5777"/>
                    <a:pt x="124357" y="5777"/>
                  </a:cubicBezTo>
                  <a:cubicBezTo>
                    <a:pt x="123621" y="5777"/>
                    <a:pt x="122872" y="6008"/>
                    <a:pt x="122238" y="6484"/>
                  </a:cubicBezTo>
                  <a:lnTo>
                    <a:pt x="111818" y="14299"/>
                  </a:lnTo>
                  <a:cubicBezTo>
                    <a:pt x="109454" y="14058"/>
                    <a:pt x="107090" y="13937"/>
                    <a:pt x="104727" y="13937"/>
                  </a:cubicBezTo>
                  <a:cubicBezTo>
                    <a:pt x="102363" y="13937"/>
                    <a:pt x="99999" y="14058"/>
                    <a:pt x="97636" y="14299"/>
                  </a:cubicBezTo>
                  <a:cubicBezTo>
                    <a:pt x="66666" y="17869"/>
                    <a:pt x="42450" y="42471"/>
                    <a:pt x="39459" y="73440"/>
                  </a:cubicBezTo>
                  <a:cubicBezTo>
                    <a:pt x="39363" y="74501"/>
                    <a:pt x="39267" y="75466"/>
                    <a:pt x="39267" y="76431"/>
                  </a:cubicBezTo>
                  <a:lnTo>
                    <a:pt x="38205" y="76431"/>
                  </a:lnTo>
                  <a:cubicBezTo>
                    <a:pt x="36565" y="76431"/>
                    <a:pt x="35118" y="77589"/>
                    <a:pt x="34829" y="79229"/>
                  </a:cubicBezTo>
                  <a:lnTo>
                    <a:pt x="32417" y="90613"/>
                  </a:lnTo>
                  <a:lnTo>
                    <a:pt x="22769" y="83956"/>
                  </a:lnTo>
                  <a:cubicBezTo>
                    <a:pt x="22185" y="83539"/>
                    <a:pt x="21511" y="83338"/>
                    <a:pt x="20833" y="83338"/>
                  </a:cubicBezTo>
                  <a:cubicBezTo>
                    <a:pt x="19942" y="83338"/>
                    <a:pt x="19043" y="83685"/>
                    <a:pt x="18331" y="84342"/>
                  </a:cubicBezTo>
                  <a:lnTo>
                    <a:pt x="7911" y="94762"/>
                  </a:lnTo>
                  <a:cubicBezTo>
                    <a:pt x="6753" y="96016"/>
                    <a:pt x="6560" y="97849"/>
                    <a:pt x="7525" y="99200"/>
                  </a:cubicBezTo>
                  <a:lnTo>
                    <a:pt x="14182" y="108847"/>
                  </a:lnTo>
                  <a:lnTo>
                    <a:pt x="2701" y="111259"/>
                  </a:lnTo>
                  <a:cubicBezTo>
                    <a:pt x="1158" y="111549"/>
                    <a:pt x="0" y="112996"/>
                    <a:pt x="0" y="114636"/>
                  </a:cubicBezTo>
                  <a:lnTo>
                    <a:pt x="0" y="128529"/>
                  </a:lnTo>
                  <a:cubicBezTo>
                    <a:pt x="0" y="130169"/>
                    <a:pt x="1158" y="131616"/>
                    <a:pt x="2798" y="131906"/>
                  </a:cubicBezTo>
                  <a:lnTo>
                    <a:pt x="14182" y="134318"/>
                  </a:lnTo>
                  <a:lnTo>
                    <a:pt x="7622" y="143869"/>
                  </a:lnTo>
                  <a:cubicBezTo>
                    <a:pt x="6657" y="145316"/>
                    <a:pt x="6753" y="147149"/>
                    <a:pt x="8008" y="148307"/>
                  </a:cubicBezTo>
                  <a:lnTo>
                    <a:pt x="18427" y="158726"/>
                  </a:lnTo>
                  <a:cubicBezTo>
                    <a:pt x="19085" y="159384"/>
                    <a:pt x="19960" y="159730"/>
                    <a:pt x="20858" y="159730"/>
                  </a:cubicBezTo>
                  <a:cubicBezTo>
                    <a:pt x="21542" y="159730"/>
                    <a:pt x="22240" y="159529"/>
                    <a:pt x="22865" y="159112"/>
                  </a:cubicBezTo>
                  <a:lnTo>
                    <a:pt x="32417" y="152552"/>
                  </a:lnTo>
                  <a:lnTo>
                    <a:pt x="34829" y="163936"/>
                  </a:lnTo>
                  <a:cubicBezTo>
                    <a:pt x="35118" y="165576"/>
                    <a:pt x="36565" y="166734"/>
                    <a:pt x="38205" y="166734"/>
                  </a:cubicBezTo>
                  <a:lnTo>
                    <a:pt x="52098" y="166734"/>
                  </a:lnTo>
                  <a:cubicBezTo>
                    <a:pt x="53738" y="166734"/>
                    <a:pt x="55185" y="165576"/>
                    <a:pt x="55475" y="163936"/>
                  </a:cubicBezTo>
                  <a:lnTo>
                    <a:pt x="57887" y="152552"/>
                  </a:lnTo>
                  <a:lnTo>
                    <a:pt x="67535" y="159112"/>
                  </a:lnTo>
                  <a:cubicBezTo>
                    <a:pt x="68118" y="159529"/>
                    <a:pt x="68792" y="159730"/>
                    <a:pt x="69463" y="159730"/>
                  </a:cubicBezTo>
                  <a:cubicBezTo>
                    <a:pt x="70344" y="159730"/>
                    <a:pt x="71219" y="159384"/>
                    <a:pt x="71876" y="158726"/>
                  </a:cubicBezTo>
                  <a:lnTo>
                    <a:pt x="77279" y="153324"/>
                  </a:lnTo>
                  <a:lnTo>
                    <a:pt x="77279" y="163261"/>
                  </a:lnTo>
                  <a:cubicBezTo>
                    <a:pt x="77375" y="168181"/>
                    <a:pt x="79980" y="172716"/>
                    <a:pt x="84225" y="175224"/>
                  </a:cubicBezTo>
                  <a:lnTo>
                    <a:pt x="84225" y="194520"/>
                  </a:lnTo>
                  <a:cubicBezTo>
                    <a:pt x="84225" y="202142"/>
                    <a:pt x="90496" y="208413"/>
                    <a:pt x="98118" y="208413"/>
                  </a:cubicBezTo>
                  <a:lnTo>
                    <a:pt x="112011" y="208413"/>
                  </a:lnTo>
                  <a:cubicBezTo>
                    <a:pt x="119729" y="208413"/>
                    <a:pt x="125904" y="202142"/>
                    <a:pt x="125904" y="194520"/>
                  </a:cubicBezTo>
                  <a:lnTo>
                    <a:pt x="125904" y="175224"/>
                  </a:lnTo>
                  <a:cubicBezTo>
                    <a:pt x="130245" y="172716"/>
                    <a:pt x="132850" y="168181"/>
                    <a:pt x="132850" y="163261"/>
                  </a:cubicBezTo>
                  <a:lnTo>
                    <a:pt x="132850" y="149465"/>
                  </a:lnTo>
                  <a:cubicBezTo>
                    <a:pt x="132947" y="143676"/>
                    <a:pt x="136034" y="138370"/>
                    <a:pt x="140954" y="135282"/>
                  </a:cubicBezTo>
                  <a:cubicBezTo>
                    <a:pt x="143752" y="133449"/>
                    <a:pt x="146550" y="131327"/>
                    <a:pt x="149058" y="129108"/>
                  </a:cubicBezTo>
                  <a:lnTo>
                    <a:pt x="144427" y="123898"/>
                  </a:lnTo>
                  <a:cubicBezTo>
                    <a:pt x="142208" y="125924"/>
                    <a:pt x="139700" y="127854"/>
                    <a:pt x="137095" y="129494"/>
                  </a:cubicBezTo>
                  <a:cubicBezTo>
                    <a:pt x="130245" y="133835"/>
                    <a:pt x="126000" y="141360"/>
                    <a:pt x="125904" y="149465"/>
                  </a:cubicBezTo>
                  <a:lnTo>
                    <a:pt x="125904" y="163261"/>
                  </a:lnTo>
                  <a:cubicBezTo>
                    <a:pt x="125904" y="167024"/>
                    <a:pt x="122816" y="170207"/>
                    <a:pt x="118957" y="170207"/>
                  </a:cubicBezTo>
                  <a:lnTo>
                    <a:pt x="91172" y="170207"/>
                  </a:lnTo>
                  <a:cubicBezTo>
                    <a:pt x="87409" y="170207"/>
                    <a:pt x="84225" y="167024"/>
                    <a:pt x="84225" y="163261"/>
                  </a:cubicBezTo>
                  <a:lnTo>
                    <a:pt x="84225" y="149175"/>
                  </a:lnTo>
                  <a:cubicBezTo>
                    <a:pt x="84225" y="141167"/>
                    <a:pt x="79980" y="133835"/>
                    <a:pt x="73227" y="129590"/>
                  </a:cubicBezTo>
                  <a:cubicBezTo>
                    <a:pt x="45731" y="112321"/>
                    <a:pt x="37433" y="75948"/>
                    <a:pt x="54703" y="48452"/>
                  </a:cubicBezTo>
                  <a:cubicBezTo>
                    <a:pt x="65412" y="31376"/>
                    <a:pt x="84225" y="20956"/>
                    <a:pt x="104389" y="20860"/>
                  </a:cubicBezTo>
                  <a:lnTo>
                    <a:pt x="104389" y="20860"/>
                  </a:lnTo>
                  <a:lnTo>
                    <a:pt x="104196" y="21245"/>
                  </a:lnTo>
                  <a:cubicBezTo>
                    <a:pt x="104100" y="22210"/>
                    <a:pt x="104293" y="23079"/>
                    <a:pt x="104871" y="23850"/>
                  </a:cubicBezTo>
                  <a:lnTo>
                    <a:pt x="113072" y="34752"/>
                  </a:lnTo>
                  <a:cubicBezTo>
                    <a:pt x="113940" y="35910"/>
                    <a:pt x="114037" y="37454"/>
                    <a:pt x="113265" y="38611"/>
                  </a:cubicBezTo>
                  <a:cubicBezTo>
                    <a:pt x="112694" y="39672"/>
                    <a:pt x="111572" y="40318"/>
                    <a:pt x="110423" y="40318"/>
                  </a:cubicBezTo>
                  <a:cubicBezTo>
                    <a:pt x="110212" y="40318"/>
                    <a:pt x="110001" y="40296"/>
                    <a:pt x="109792" y="40252"/>
                  </a:cubicBezTo>
                  <a:lnTo>
                    <a:pt x="96285" y="38322"/>
                  </a:lnTo>
                  <a:cubicBezTo>
                    <a:pt x="96154" y="38309"/>
                    <a:pt x="96024" y="38302"/>
                    <a:pt x="95895" y="38302"/>
                  </a:cubicBezTo>
                  <a:cubicBezTo>
                    <a:pt x="94126" y="38302"/>
                    <a:pt x="92599" y="39514"/>
                    <a:pt x="92329" y="41313"/>
                  </a:cubicBezTo>
                  <a:lnTo>
                    <a:pt x="89435" y="61959"/>
                  </a:lnTo>
                  <a:cubicBezTo>
                    <a:pt x="89146" y="63792"/>
                    <a:pt x="90496" y="65625"/>
                    <a:pt x="92329" y="65915"/>
                  </a:cubicBezTo>
                  <a:lnTo>
                    <a:pt x="105836" y="67844"/>
                  </a:lnTo>
                  <a:cubicBezTo>
                    <a:pt x="107766" y="68037"/>
                    <a:pt x="109117" y="69870"/>
                    <a:pt x="108827" y="71703"/>
                  </a:cubicBezTo>
                  <a:cubicBezTo>
                    <a:pt x="108731" y="72668"/>
                    <a:pt x="108248" y="73440"/>
                    <a:pt x="107476" y="74019"/>
                  </a:cubicBezTo>
                  <a:lnTo>
                    <a:pt x="96574" y="82219"/>
                  </a:lnTo>
                  <a:cubicBezTo>
                    <a:pt x="95031" y="83377"/>
                    <a:pt x="94741" y="85500"/>
                    <a:pt x="95899" y="87043"/>
                  </a:cubicBezTo>
                  <a:lnTo>
                    <a:pt x="108345" y="103734"/>
                  </a:lnTo>
                  <a:cubicBezTo>
                    <a:pt x="109026" y="104643"/>
                    <a:pt x="110076" y="105117"/>
                    <a:pt x="111139" y="105117"/>
                  </a:cubicBezTo>
                  <a:cubicBezTo>
                    <a:pt x="111881" y="105117"/>
                    <a:pt x="112630" y="104886"/>
                    <a:pt x="113265" y="104409"/>
                  </a:cubicBezTo>
                  <a:lnTo>
                    <a:pt x="124167" y="96209"/>
                  </a:lnTo>
                  <a:cubicBezTo>
                    <a:pt x="124776" y="95752"/>
                    <a:pt x="125475" y="95536"/>
                    <a:pt x="126169" y="95536"/>
                  </a:cubicBezTo>
                  <a:cubicBezTo>
                    <a:pt x="127235" y="95536"/>
                    <a:pt x="128290" y="96046"/>
                    <a:pt x="128991" y="96981"/>
                  </a:cubicBezTo>
                  <a:cubicBezTo>
                    <a:pt x="129570" y="97656"/>
                    <a:pt x="129763" y="98621"/>
                    <a:pt x="129666" y="99489"/>
                  </a:cubicBezTo>
                  <a:lnTo>
                    <a:pt x="127737" y="112996"/>
                  </a:lnTo>
                  <a:cubicBezTo>
                    <a:pt x="127447" y="114925"/>
                    <a:pt x="128798" y="116662"/>
                    <a:pt x="130631" y="116952"/>
                  </a:cubicBezTo>
                  <a:lnTo>
                    <a:pt x="151277" y="119942"/>
                  </a:lnTo>
                  <a:lnTo>
                    <a:pt x="151760" y="119942"/>
                  </a:lnTo>
                  <a:cubicBezTo>
                    <a:pt x="153496" y="119942"/>
                    <a:pt x="154944" y="118688"/>
                    <a:pt x="155233" y="116952"/>
                  </a:cubicBezTo>
                  <a:lnTo>
                    <a:pt x="157163" y="103445"/>
                  </a:lnTo>
                  <a:cubicBezTo>
                    <a:pt x="157432" y="101646"/>
                    <a:pt x="158959" y="100434"/>
                    <a:pt x="160728" y="100434"/>
                  </a:cubicBezTo>
                  <a:cubicBezTo>
                    <a:pt x="160857" y="100434"/>
                    <a:pt x="160987" y="100441"/>
                    <a:pt x="161118" y="100454"/>
                  </a:cubicBezTo>
                  <a:cubicBezTo>
                    <a:pt x="161986" y="100647"/>
                    <a:pt x="162855" y="101129"/>
                    <a:pt x="163337" y="101804"/>
                  </a:cubicBezTo>
                  <a:lnTo>
                    <a:pt x="171538" y="112803"/>
                  </a:lnTo>
                  <a:cubicBezTo>
                    <a:pt x="172232" y="113671"/>
                    <a:pt x="173309" y="114158"/>
                    <a:pt x="174393" y="114158"/>
                  </a:cubicBezTo>
                  <a:cubicBezTo>
                    <a:pt x="175115" y="114158"/>
                    <a:pt x="175841" y="113941"/>
                    <a:pt x="176458" y="113478"/>
                  </a:cubicBezTo>
                  <a:lnTo>
                    <a:pt x="193052" y="100936"/>
                  </a:lnTo>
                  <a:cubicBezTo>
                    <a:pt x="194596" y="99778"/>
                    <a:pt x="194982" y="97656"/>
                    <a:pt x="193824" y="96112"/>
                  </a:cubicBezTo>
                  <a:lnTo>
                    <a:pt x="185623" y="85210"/>
                  </a:lnTo>
                  <a:cubicBezTo>
                    <a:pt x="184755" y="84053"/>
                    <a:pt x="184659" y="82509"/>
                    <a:pt x="185431" y="81351"/>
                  </a:cubicBezTo>
                  <a:cubicBezTo>
                    <a:pt x="186029" y="80239"/>
                    <a:pt x="187159" y="79582"/>
                    <a:pt x="188417" y="79582"/>
                  </a:cubicBezTo>
                  <a:cubicBezTo>
                    <a:pt x="188577" y="79582"/>
                    <a:pt x="188740" y="79593"/>
                    <a:pt x="188904" y="79615"/>
                  </a:cubicBezTo>
                  <a:lnTo>
                    <a:pt x="202411" y="81544"/>
                  </a:lnTo>
                  <a:cubicBezTo>
                    <a:pt x="202587" y="81572"/>
                    <a:pt x="202764" y="81586"/>
                    <a:pt x="202939" y="81586"/>
                  </a:cubicBezTo>
                  <a:cubicBezTo>
                    <a:pt x="204582" y="81586"/>
                    <a:pt x="206095" y="80393"/>
                    <a:pt x="206270" y="78650"/>
                  </a:cubicBezTo>
                  <a:lnTo>
                    <a:pt x="209261" y="58004"/>
                  </a:lnTo>
                  <a:cubicBezTo>
                    <a:pt x="209550" y="56074"/>
                    <a:pt x="208199" y="54337"/>
                    <a:pt x="206270" y="54048"/>
                  </a:cubicBezTo>
                  <a:lnTo>
                    <a:pt x="192763" y="52118"/>
                  </a:lnTo>
                  <a:cubicBezTo>
                    <a:pt x="190930" y="51829"/>
                    <a:pt x="189579" y="50092"/>
                    <a:pt x="189869" y="48259"/>
                  </a:cubicBezTo>
                  <a:cubicBezTo>
                    <a:pt x="189965" y="47294"/>
                    <a:pt x="190447" y="46523"/>
                    <a:pt x="191219" y="45944"/>
                  </a:cubicBezTo>
                  <a:lnTo>
                    <a:pt x="202121" y="37743"/>
                  </a:lnTo>
                  <a:cubicBezTo>
                    <a:pt x="203665" y="36585"/>
                    <a:pt x="203954" y="34366"/>
                    <a:pt x="202797" y="32919"/>
                  </a:cubicBezTo>
                  <a:lnTo>
                    <a:pt x="190351" y="16229"/>
                  </a:lnTo>
                  <a:cubicBezTo>
                    <a:pt x="189669" y="15320"/>
                    <a:pt x="188620" y="14846"/>
                    <a:pt x="187557" y="14846"/>
                  </a:cubicBezTo>
                  <a:cubicBezTo>
                    <a:pt x="186814" y="14846"/>
                    <a:pt x="186065" y="15077"/>
                    <a:pt x="185431" y="15553"/>
                  </a:cubicBezTo>
                  <a:lnTo>
                    <a:pt x="174529" y="23657"/>
                  </a:lnTo>
                  <a:cubicBezTo>
                    <a:pt x="173892" y="24175"/>
                    <a:pt x="173157" y="24413"/>
                    <a:pt x="172432" y="24413"/>
                  </a:cubicBezTo>
                  <a:cubicBezTo>
                    <a:pt x="171398" y="24413"/>
                    <a:pt x="170385" y="23929"/>
                    <a:pt x="169705" y="23079"/>
                  </a:cubicBezTo>
                  <a:cubicBezTo>
                    <a:pt x="169126" y="22307"/>
                    <a:pt x="168836" y="21342"/>
                    <a:pt x="169029" y="20474"/>
                  </a:cubicBezTo>
                  <a:lnTo>
                    <a:pt x="170959" y="6967"/>
                  </a:lnTo>
                  <a:cubicBezTo>
                    <a:pt x="171152" y="5037"/>
                    <a:pt x="169898" y="3301"/>
                    <a:pt x="167968" y="3011"/>
                  </a:cubicBezTo>
                  <a:lnTo>
                    <a:pt x="147322" y="20"/>
                  </a:lnTo>
                  <a:cubicBezTo>
                    <a:pt x="147197" y="7"/>
                    <a:pt x="147073" y="1"/>
                    <a:pt x="146950" y="1"/>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68" name="Google Shape;2168;p39"/>
            <p:cNvSpPr/>
            <p:nvPr/>
          </p:nvSpPr>
          <p:spPr>
            <a:xfrm>
              <a:off x="4202861" y="1284806"/>
              <a:ext cx="1389300" cy="1389300"/>
            </a:xfrm>
            <a:custGeom>
              <a:avLst/>
              <a:gdLst/>
              <a:ahLst/>
              <a:cxnLst/>
              <a:rect l="l" t="t" r="r" b="b"/>
              <a:pathLst>
                <a:path w="55572" h="55572" extrusionOk="0">
                  <a:moveTo>
                    <a:pt x="27786" y="6947"/>
                  </a:moveTo>
                  <a:cubicBezTo>
                    <a:pt x="39267" y="6947"/>
                    <a:pt x="48625" y="16305"/>
                    <a:pt x="48625" y="27786"/>
                  </a:cubicBezTo>
                  <a:cubicBezTo>
                    <a:pt x="48625" y="39363"/>
                    <a:pt x="39267" y="48625"/>
                    <a:pt x="27786" y="48625"/>
                  </a:cubicBezTo>
                  <a:cubicBezTo>
                    <a:pt x="16305" y="48625"/>
                    <a:pt x="6947" y="39363"/>
                    <a:pt x="6947" y="27786"/>
                  </a:cubicBezTo>
                  <a:cubicBezTo>
                    <a:pt x="6947" y="16305"/>
                    <a:pt x="16305" y="6947"/>
                    <a:pt x="27786" y="6947"/>
                  </a:cubicBezTo>
                  <a:close/>
                  <a:moveTo>
                    <a:pt x="27786" y="0"/>
                  </a:moveTo>
                  <a:cubicBezTo>
                    <a:pt x="12446" y="0"/>
                    <a:pt x="0" y="12446"/>
                    <a:pt x="0" y="27786"/>
                  </a:cubicBezTo>
                  <a:cubicBezTo>
                    <a:pt x="0" y="43126"/>
                    <a:pt x="12446" y="55572"/>
                    <a:pt x="27786" y="55572"/>
                  </a:cubicBezTo>
                  <a:cubicBezTo>
                    <a:pt x="43126" y="55572"/>
                    <a:pt x="55571" y="43126"/>
                    <a:pt x="55571" y="27786"/>
                  </a:cubicBezTo>
                  <a:cubicBezTo>
                    <a:pt x="55571" y="12446"/>
                    <a:pt x="43126" y="97"/>
                    <a:pt x="27786" y="0"/>
                  </a:cubicBez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69" name="Google Shape;2169;p39"/>
            <p:cNvSpPr/>
            <p:nvPr/>
          </p:nvSpPr>
          <p:spPr>
            <a:xfrm>
              <a:off x="3730400" y="4080350"/>
              <a:ext cx="173675" cy="260500"/>
            </a:xfrm>
            <a:custGeom>
              <a:avLst/>
              <a:gdLst/>
              <a:ahLst/>
              <a:cxnLst/>
              <a:rect l="l" t="t" r="r" b="b"/>
              <a:pathLst>
                <a:path w="6947" h="10420" extrusionOk="0">
                  <a:moveTo>
                    <a:pt x="0" y="0"/>
                  </a:moveTo>
                  <a:lnTo>
                    <a:pt x="0" y="10420"/>
                  </a:lnTo>
                  <a:lnTo>
                    <a:pt x="6947" y="10420"/>
                  </a:lnTo>
                  <a:lnTo>
                    <a:pt x="6947" y="0"/>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70" name="Google Shape;2170;p39"/>
            <p:cNvSpPr/>
            <p:nvPr/>
          </p:nvSpPr>
          <p:spPr>
            <a:xfrm>
              <a:off x="2430350" y="1227000"/>
              <a:ext cx="1473725" cy="2679700"/>
            </a:xfrm>
            <a:custGeom>
              <a:avLst/>
              <a:gdLst/>
              <a:ahLst/>
              <a:cxnLst/>
              <a:rect l="l" t="t" r="r" b="b"/>
              <a:pathLst>
                <a:path w="58949" h="107188" extrusionOk="0">
                  <a:moveTo>
                    <a:pt x="29619" y="1"/>
                  </a:moveTo>
                  <a:cubicBezTo>
                    <a:pt x="6851" y="14376"/>
                    <a:pt x="1" y="44381"/>
                    <a:pt x="14376" y="67053"/>
                  </a:cubicBezTo>
                  <a:cubicBezTo>
                    <a:pt x="19875" y="75929"/>
                    <a:pt x="28076" y="82683"/>
                    <a:pt x="37820" y="86445"/>
                  </a:cubicBezTo>
                  <a:cubicBezTo>
                    <a:pt x="46407" y="89725"/>
                    <a:pt x="52002" y="98022"/>
                    <a:pt x="52002" y="107188"/>
                  </a:cubicBezTo>
                  <a:lnTo>
                    <a:pt x="58949" y="107188"/>
                  </a:lnTo>
                  <a:cubicBezTo>
                    <a:pt x="58949" y="95128"/>
                    <a:pt x="51616" y="84323"/>
                    <a:pt x="40328" y="79981"/>
                  </a:cubicBezTo>
                  <a:cubicBezTo>
                    <a:pt x="18910" y="71588"/>
                    <a:pt x="8298" y="47468"/>
                    <a:pt x="16691" y="26050"/>
                  </a:cubicBezTo>
                  <a:cubicBezTo>
                    <a:pt x="19875" y="17753"/>
                    <a:pt x="25760" y="10710"/>
                    <a:pt x="33286" y="5886"/>
                  </a:cubicBezTo>
                  <a:lnTo>
                    <a:pt x="29619"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71" name="Google Shape;2171;p39"/>
            <p:cNvSpPr/>
            <p:nvPr/>
          </p:nvSpPr>
          <p:spPr>
            <a:xfrm>
              <a:off x="5467000" y="3472525"/>
              <a:ext cx="607825" cy="173700"/>
            </a:xfrm>
            <a:custGeom>
              <a:avLst/>
              <a:gdLst/>
              <a:ahLst/>
              <a:cxnLst/>
              <a:rect l="l" t="t" r="r" b="b"/>
              <a:pathLst>
                <a:path w="24313" h="6948" extrusionOk="0">
                  <a:moveTo>
                    <a:pt x="0" y="1"/>
                  </a:moveTo>
                  <a:lnTo>
                    <a:pt x="0" y="6947"/>
                  </a:lnTo>
                  <a:lnTo>
                    <a:pt x="24313" y="6947"/>
                  </a:lnTo>
                  <a:lnTo>
                    <a:pt x="24313"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72" name="Google Shape;2172;p39"/>
            <p:cNvSpPr/>
            <p:nvPr/>
          </p:nvSpPr>
          <p:spPr>
            <a:xfrm>
              <a:off x="5324700" y="3925975"/>
              <a:ext cx="631950" cy="566850"/>
            </a:xfrm>
            <a:custGeom>
              <a:avLst/>
              <a:gdLst/>
              <a:ahLst/>
              <a:cxnLst/>
              <a:rect l="l" t="t" r="r" b="b"/>
              <a:pathLst>
                <a:path w="25278" h="22674" extrusionOk="0">
                  <a:moveTo>
                    <a:pt x="4438" y="1"/>
                  </a:moveTo>
                  <a:lnTo>
                    <a:pt x="0" y="5307"/>
                  </a:lnTo>
                  <a:lnTo>
                    <a:pt x="20839" y="22673"/>
                  </a:lnTo>
                  <a:lnTo>
                    <a:pt x="25277" y="17367"/>
                  </a:lnTo>
                  <a:lnTo>
                    <a:pt x="4438"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73" name="Google Shape;2173;p39"/>
            <p:cNvSpPr/>
            <p:nvPr/>
          </p:nvSpPr>
          <p:spPr>
            <a:xfrm>
              <a:off x="4946025" y="4167175"/>
              <a:ext cx="173675" cy="607825"/>
            </a:xfrm>
            <a:custGeom>
              <a:avLst/>
              <a:gdLst/>
              <a:ahLst/>
              <a:cxnLst/>
              <a:rect l="l" t="t" r="r" b="b"/>
              <a:pathLst>
                <a:path w="6947" h="24313" extrusionOk="0">
                  <a:moveTo>
                    <a:pt x="0" y="1"/>
                  </a:moveTo>
                  <a:lnTo>
                    <a:pt x="0" y="24313"/>
                  </a:lnTo>
                  <a:lnTo>
                    <a:pt x="6947" y="24313"/>
                  </a:lnTo>
                  <a:lnTo>
                    <a:pt x="6947"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74" name="Google Shape;2174;p39"/>
            <p:cNvSpPr/>
            <p:nvPr/>
          </p:nvSpPr>
          <p:spPr>
            <a:xfrm>
              <a:off x="1279850" y="1564675"/>
              <a:ext cx="735675" cy="342525"/>
            </a:xfrm>
            <a:custGeom>
              <a:avLst/>
              <a:gdLst/>
              <a:ahLst/>
              <a:cxnLst/>
              <a:rect l="l" t="t" r="r" b="b"/>
              <a:pathLst>
                <a:path w="29427" h="13701" extrusionOk="0">
                  <a:moveTo>
                    <a:pt x="27786" y="1"/>
                  </a:moveTo>
                  <a:lnTo>
                    <a:pt x="1" y="6947"/>
                  </a:lnTo>
                  <a:lnTo>
                    <a:pt x="1641" y="13701"/>
                  </a:lnTo>
                  <a:lnTo>
                    <a:pt x="29426" y="6754"/>
                  </a:lnTo>
                  <a:lnTo>
                    <a:pt x="27786"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75" name="Google Shape;2175;p39"/>
            <p:cNvSpPr/>
            <p:nvPr/>
          </p:nvSpPr>
          <p:spPr>
            <a:xfrm>
              <a:off x="1424575" y="710850"/>
              <a:ext cx="706725" cy="574075"/>
            </a:xfrm>
            <a:custGeom>
              <a:avLst/>
              <a:gdLst/>
              <a:ahLst/>
              <a:cxnLst/>
              <a:rect l="l" t="t" r="r" b="b"/>
              <a:pathLst>
                <a:path w="28269" h="22963" extrusionOk="0">
                  <a:moveTo>
                    <a:pt x="3956" y="1"/>
                  </a:moveTo>
                  <a:lnTo>
                    <a:pt x="0" y="5596"/>
                  </a:lnTo>
                  <a:lnTo>
                    <a:pt x="24313" y="22962"/>
                  </a:lnTo>
                  <a:lnTo>
                    <a:pt x="28268" y="17367"/>
                  </a:lnTo>
                  <a:lnTo>
                    <a:pt x="3956" y="1"/>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76" name="Google Shape;2176;p39"/>
            <p:cNvSpPr/>
            <p:nvPr/>
          </p:nvSpPr>
          <p:spPr>
            <a:xfrm>
              <a:off x="2167450" y="238125"/>
              <a:ext cx="344925" cy="738075"/>
            </a:xfrm>
            <a:custGeom>
              <a:avLst/>
              <a:gdLst/>
              <a:ahLst/>
              <a:cxnLst/>
              <a:rect l="l" t="t" r="r" b="b"/>
              <a:pathLst>
                <a:path w="13797" h="29523" extrusionOk="0">
                  <a:moveTo>
                    <a:pt x="6754" y="0"/>
                  </a:moveTo>
                  <a:lnTo>
                    <a:pt x="1" y="1737"/>
                  </a:lnTo>
                  <a:lnTo>
                    <a:pt x="7140" y="29522"/>
                  </a:lnTo>
                  <a:lnTo>
                    <a:pt x="13797" y="27786"/>
                  </a:lnTo>
                  <a:lnTo>
                    <a:pt x="6754" y="0"/>
                  </a:lnTo>
                  <a:close/>
                </a:path>
              </a:pathLst>
            </a:cu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grpSp>
      <p:graphicFrame>
        <p:nvGraphicFramePr>
          <p:cNvPr id="3" name="Table 2"/>
          <p:cNvGraphicFramePr>
            <a:graphicFrameLocks noGrp="1"/>
          </p:cNvGraphicFramePr>
          <p:nvPr>
            <p:extLst/>
          </p:nvPr>
        </p:nvGraphicFramePr>
        <p:xfrm>
          <a:off x="2217215" y="397113"/>
          <a:ext cx="6766272" cy="4404360"/>
        </p:xfrm>
        <a:graphic>
          <a:graphicData uri="http://schemas.openxmlformats.org/drawingml/2006/table">
            <a:tbl>
              <a:tblPr firstRow="1" bandRow="1"/>
              <a:tblGrid>
                <a:gridCol w="1016000">
                  <a:extLst>
                    <a:ext uri="{9D8B030D-6E8A-4147-A177-3AD203B41FA5}">
                      <a16:colId xmlns:a16="http://schemas.microsoft.com/office/drawing/2014/main" val="20000"/>
                    </a:ext>
                  </a:extLst>
                </a:gridCol>
                <a:gridCol w="1506381">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508132">
                  <a:extLst>
                    <a:ext uri="{9D8B030D-6E8A-4147-A177-3AD203B41FA5}">
                      <a16:colId xmlns:a16="http://schemas.microsoft.com/office/drawing/2014/main" val="20003"/>
                    </a:ext>
                  </a:extLst>
                </a:gridCol>
                <a:gridCol w="800100">
                  <a:extLst>
                    <a:ext uri="{9D8B030D-6E8A-4147-A177-3AD203B41FA5}">
                      <a16:colId xmlns:a16="http://schemas.microsoft.com/office/drawing/2014/main" val="20004"/>
                    </a:ext>
                  </a:extLst>
                </a:gridCol>
                <a:gridCol w="1071563">
                  <a:extLst>
                    <a:ext uri="{9D8B030D-6E8A-4147-A177-3AD203B41FA5}">
                      <a16:colId xmlns:a16="http://schemas.microsoft.com/office/drawing/2014/main" val="20005"/>
                    </a:ext>
                  </a:extLst>
                </a:gridCol>
              </a:tblGrid>
              <a:tr h="670560">
                <a:tc>
                  <a:txBody>
                    <a:bodyPr/>
                    <a:lstStyle/>
                    <a:p>
                      <a:pPr algn="ctr"/>
                      <a:r>
                        <a:rPr lang="en-US" sz="1900" smtClean="0"/>
                        <a:t>SBD</a:t>
                      </a:r>
                      <a:endParaRPr lang="en-US" sz="1900"/>
                    </a:p>
                  </a:txBody>
                  <a:tcPr>
                    <a:solidFill>
                      <a:srgbClr val="FFFF00"/>
                    </a:solidFill>
                  </a:tcPr>
                </a:tc>
                <a:tc>
                  <a:txBody>
                    <a:bodyPr/>
                    <a:lstStyle/>
                    <a:p>
                      <a:pPr algn="ctr"/>
                      <a:r>
                        <a:rPr lang="en-US" sz="1900" smtClean="0"/>
                        <a:t>HỌ</a:t>
                      </a:r>
                      <a:r>
                        <a:rPr lang="en-US" sz="1900" baseline="0" smtClean="0"/>
                        <a:t> VÀ TÊN</a:t>
                      </a:r>
                      <a:endParaRPr lang="en-US" sz="1900"/>
                    </a:p>
                  </a:txBody>
                  <a:tcPr>
                    <a:solidFill>
                      <a:srgbClr val="FFFF00"/>
                    </a:solidFill>
                  </a:tcPr>
                </a:tc>
                <a:tc>
                  <a:txBody>
                    <a:bodyPr/>
                    <a:lstStyle/>
                    <a:p>
                      <a:pPr algn="ctr"/>
                      <a:r>
                        <a:rPr lang="en-US" sz="1900" smtClean="0"/>
                        <a:t>GIỚI</a:t>
                      </a:r>
                      <a:r>
                        <a:rPr lang="en-US" sz="1900" baseline="0" smtClean="0"/>
                        <a:t> TÍNH</a:t>
                      </a:r>
                      <a:endParaRPr lang="en-US" sz="1900"/>
                    </a:p>
                  </a:txBody>
                  <a:tcPr>
                    <a:solidFill>
                      <a:srgbClr val="FFFF00"/>
                    </a:solidFill>
                  </a:tcPr>
                </a:tc>
                <a:tc>
                  <a:txBody>
                    <a:bodyPr/>
                    <a:lstStyle/>
                    <a:p>
                      <a:pPr algn="ctr"/>
                      <a:r>
                        <a:rPr lang="en-US" sz="1900" smtClean="0"/>
                        <a:t>NGÀY</a:t>
                      </a:r>
                      <a:r>
                        <a:rPr lang="en-US" sz="1900" baseline="0" smtClean="0"/>
                        <a:t> SINH</a:t>
                      </a:r>
                      <a:endParaRPr lang="en-US" sz="1900"/>
                    </a:p>
                  </a:txBody>
                  <a:tcPr>
                    <a:solidFill>
                      <a:srgbClr val="FFFF00"/>
                    </a:solidFill>
                  </a:tcPr>
                </a:tc>
                <a:tc>
                  <a:txBody>
                    <a:bodyPr/>
                    <a:lstStyle/>
                    <a:p>
                      <a:pPr algn="ctr"/>
                      <a:r>
                        <a:rPr lang="en-US" sz="1900" smtClean="0"/>
                        <a:t>ĐIỂM</a:t>
                      </a:r>
                      <a:endParaRPr lang="en-US" sz="1900"/>
                    </a:p>
                  </a:txBody>
                  <a:tcPr>
                    <a:solidFill>
                      <a:srgbClr val="FFFF00"/>
                    </a:solidFill>
                  </a:tcPr>
                </a:tc>
                <a:tc>
                  <a:txBody>
                    <a:bodyPr/>
                    <a:lstStyle/>
                    <a:p>
                      <a:pPr algn="ctr"/>
                      <a:r>
                        <a:rPr lang="en-US" sz="1900" smtClean="0"/>
                        <a:t>MÃ</a:t>
                      </a:r>
                      <a:r>
                        <a:rPr lang="en-US" sz="1900" baseline="0" smtClean="0"/>
                        <a:t> KÌ THI</a:t>
                      </a:r>
                      <a:endParaRPr lang="en-US" sz="1900"/>
                    </a:p>
                  </a:txBody>
                  <a:tcPr>
                    <a:solidFill>
                      <a:srgbClr val="FFFF00"/>
                    </a:solidFill>
                  </a:tcPr>
                </a:tc>
                <a:extLst>
                  <a:ext uri="{0D108BD9-81ED-4DB2-BD59-A6C34878D82A}">
                    <a16:rowId xmlns:a16="http://schemas.microsoft.com/office/drawing/2014/main" val="10000"/>
                  </a:ext>
                </a:extLst>
              </a:tr>
              <a:tr h="670560">
                <a:tc>
                  <a:txBody>
                    <a:bodyPr/>
                    <a:lstStyle/>
                    <a:p>
                      <a:pPr algn="ctr"/>
                      <a:r>
                        <a:rPr lang="en-US" sz="1900" smtClean="0"/>
                        <a:t>1</a:t>
                      </a:r>
                      <a:endParaRPr lang="en-US" sz="1900"/>
                    </a:p>
                  </a:txBody>
                  <a:tcPr/>
                </a:tc>
                <a:tc>
                  <a:txBody>
                    <a:bodyPr/>
                    <a:lstStyle/>
                    <a:p>
                      <a:pPr algn="ctr"/>
                      <a:r>
                        <a:rPr lang="en-US" sz="1900" smtClean="0"/>
                        <a:t>Phan Việt</a:t>
                      </a:r>
                      <a:r>
                        <a:rPr lang="en-US" sz="1900" baseline="0" smtClean="0"/>
                        <a:t> An</a:t>
                      </a:r>
                      <a:endParaRPr lang="en-US" sz="1900"/>
                    </a:p>
                  </a:txBody>
                  <a:tcPr/>
                </a:tc>
                <a:tc>
                  <a:txBody>
                    <a:bodyPr/>
                    <a:lstStyle/>
                    <a:p>
                      <a:pPr algn="ctr"/>
                      <a:r>
                        <a:rPr lang="en-US" sz="1900" smtClean="0"/>
                        <a:t>Nam</a:t>
                      </a:r>
                      <a:endParaRPr lang="en-US" sz="1900"/>
                    </a:p>
                  </a:txBody>
                  <a:tcPr/>
                </a:tc>
                <a:tc>
                  <a:txBody>
                    <a:bodyPr/>
                    <a:lstStyle/>
                    <a:p>
                      <a:pPr algn="ctr"/>
                      <a:r>
                        <a:rPr lang="en-US" sz="1900" smtClean="0"/>
                        <a:t>17/10/2005</a:t>
                      </a:r>
                      <a:endParaRPr lang="en-US" sz="1900"/>
                    </a:p>
                  </a:txBody>
                  <a:tcPr/>
                </a:tc>
                <a:tc>
                  <a:txBody>
                    <a:bodyPr/>
                    <a:lstStyle/>
                    <a:p>
                      <a:pPr algn="ctr"/>
                      <a:r>
                        <a:rPr lang="en-US" sz="1900" smtClean="0"/>
                        <a:t>6,25</a:t>
                      </a:r>
                      <a:endParaRPr lang="en-US" sz="1900"/>
                    </a:p>
                  </a:txBody>
                  <a:tcPr/>
                </a:tc>
                <a:tc>
                  <a:txBody>
                    <a:bodyPr/>
                    <a:lstStyle/>
                    <a:p>
                      <a:pPr algn="ctr"/>
                      <a:r>
                        <a:rPr lang="en-US" sz="1900" smtClean="0"/>
                        <a:t>A1001</a:t>
                      </a:r>
                      <a:endParaRPr lang="en-US" sz="1900"/>
                    </a:p>
                  </a:txBody>
                  <a:tcPr/>
                </a:tc>
                <a:extLst>
                  <a:ext uri="{0D108BD9-81ED-4DB2-BD59-A6C34878D82A}">
                    <a16:rowId xmlns:a16="http://schemas.microsoft.com/office/drawing/2014/main" val="10001"/>
                  </a:ext>
                </a:extLst>
              </a:tr>
              <a:tr h="670560">
                <a:tc>
                  <a:txBody>
                    <a:bodyPr/>
                    <a:lstStyle/>
                    <a:p>
                      <a:pPr algn="ctr"/>
                      <a:r>
                        <a:rPr lang="en-US" sz="1900" smtClean="0"/>
                        <a:t>2</a:t>
                      </a:r>
                      <a:endParaRPr lang="en-US" sz="1900"/>
                    </a:p>
                  </a:txBody>
                  <a:tcPr/>
                </a:tc>
                <a:tc>
                  <a:txBody>
                    <a:bodyPr/>
                    <a:lstStyle/>
                    <a:p>
                      <a:pPr algn="ctr"/>
                      <a:r>
                        <a:rPr lang="en-US" sz="1900" smtClean="0"/>
                        <a:t>Trần</a:t>
                      </a:r>
                      <a:r>
                        <a:rPr lang="en-US" sz="1900" baseline="0" smtClean="0"/>
                        <a:t> Duy Anh</a:t>
                      </a:r>
                      <a:endParaRPr lang="en-US" sz="1900"/>
                    </a:p>
                  </a:txBody>
                  <a:tcPr/>
                </a:tc>
                <a:tc>
                  <a:txBody>
                    <a:bodyPr/>
                    <a:lstStyle/>
                    <a:p>
                      <a:pPr algn="ctr"/>
                      <a:r>
                        <a:rPr lang="en-US" sz="1900" smtClean="0"/>
                        <a:t>Nam</a:t>
                      </a:r>
                      <a:endParaRPr lang="en-US" sz="1900"/>
                    </a:p>
                  </a:txBody>
                  <a:tcPr/>
                </a:tc>
                <a:tc>
                  <a:txBody>
                    <a:bodyPr/>
                    <a:lstStyle/>
                    <a:p>
                      <a:pPr algn="ctr"/>
                      <a:r>
                        <a:rPr lang="en-US" sz="1900" smtClean="0"/>
                        <a:t>11/09/2004</a:t>
                      </a:r>
                      <a:endParaRPr lang="en-US" sz="1900"/>
                    </a:p>
                  </a:txBody>
                  <a:tcPr/>
                </a:tc>
                <a:tc>
                  <a:txBody>
                    <a:bodyPr/>
                    <a:lstStyle/>
                    <a:p>
                      <a:pPr algn="ctr"/>
                      <a:r>
                        <a:rPr lang="en-US" sz="1900" smtClean="0"/>
                        <a:t>8,00</a:t>
                      </a:r>
                      <a:endParaRPr lang="en-US" sz="1900"/>
                    </a:p>
                  </a:txBody>
                  <a:tcPr/>
                </a:tc>
                <a:tc>
                  <a:txBody>
                    <a:bodyPr/>
                    <a:lstStyle/>
                    <a:p>
                      <a:pPr algn="ctr"/>
                      <a:r>
                        <a:rPr lang="en-US" sz="1900" smtClean="0"/>
                        <a:t>A1001</a:t>
                      </a:r>
                      <a:endParaRPr lang="en-US" sz="1900"/>
                    </a:p>
                  </a:txBody>
                  <a:tcPr/>
                </a:tc>
                <a:extLst>
                  <a:ext uri="{0D108BD9-81ED-4DB2-BD59-A6C34878D82A}">
                    <a16:rowId xmlns:a16="http://schemas.microsoft.com/office/drawing/2014/main" val="10002"/>
                  </a:ext>
                </a:extLst>
              </a:tr>
              <a:tr h="670560">
                <a:tc>
                  <a:txBody>
                    <a:bodyPr/>
                    <a:lstStyle/>
                    <a:p>
                      <a:pPr algn="ctr"/>
                      <a:r>
                        <a:rPr lang="en-US" sz="1900" smtClean="0"/>
                        <a:t>3</a:t>
                      </a:r>
                      <a:endParaRPr lang="en-US" sz="1900"/>
                    </a:p>
                  </a:txBody>
                  <a:tcPr/>
                </a:tc>
                <a:tc>
                  <a:txBody>
                    <a:bodyPr/>
                    <a:lstStyle/>
                    <a:p>
                      <a:pPr algn="ctr"/>
                      <a:r>
                        <a:rPr lang="en-US" sz="1900" smtClean="0"/>
                        <a:t>Bùi</a:t>
                      </a:r>
                      <a:r>
                        <a:rPr lang="en-US" sz="1900" baseline="0" smtClean="0"/>
                        <a:t> Thị Hương</a:t>
                      </a:r>
                      <a:endParaRPr lang="en-US" sz="1900"/>
                    </a:p>
                  </a:txBody>
                  <a:tcPr/>
                </a:tc>
                <a:tc>
                  <a:txBody>
                    <a:bodyPr/>
                    <a:lstStyle/>
                    <a:p>
                      <a:pPr algn="ctr"/>
                      <a:r>
                        <a:rPr lang="en-US" sz="1900" smtClean="0"/>
                        <a:t>Nữ</a:t>
                      </a:r>
                      <a:endParaRPr lang="en-US" sz="1900"/>
                    </a:p>
                  </a:txBody>
                  <a:tcPr/>
                </a:tc>
                <a:tc>
                  <a:txBody>
                    <a:bodyPr/>
                    <a:lstStyle/>
                    <a:p>
                      <a:pPr algn="ctr"/>
                      <a:r>
                        <a:rPr lang="en-US" sz="1900" smtClean="0"/>
                        <a:t>20/03/2006</a:t>
                      </a:r>
                      <a:endParaRPr lang="en-US" sz="1900"/>
                    </a:p>
                  </a:txBody>
                  <a:tcPr/>
                </a:tc>
                <a:tc>
                  <a:txBody>
                    <a:bodyPr/>
                    <a:lstStyle/>
                    <a:p>
                      <a:pPr algn="ctr"/>
                      <a:r>
                        <a:rPr lang="en-US" sz="1900" smtClean="0"/>
                        <a:t>9.50</a:t>
                      </a:r>
                      <a:endParaRPr lang="en-US" sz="1900"/>
                    </a:p>
                  </a:txBody>
                  <a:tcPr/>
                </a:tc>
                <a:tc>
                  <a:txBody>
                    <a:bodyPr/>
                    <a:lstStyle/>
                    <a:p>
                      <a:pPr algn="ctr"/>
                      <a:r>
                        <a:rPr lang="en-US" sz="1900" smtClean="0"/>
                        <a:t>A1001</a:t>
                      </a:r>
                      <a:endParaRPr lang="en-US" sz="1900"/>
                    </a:p>
                  </a:txBody>
                  <a:tcPr/>
                </a:tc>
                <a:extLst>
                  <a:ext uri="{0D108BD9-81ED-4DB2-BD59-A6C34878D82A}">
                    <a16:rowId xmlns:a16="http://schemas.microsoft.com/office/drawing/2014/main" val="10003"/>
                  </a:ext>
                </a:extLst>
              </a:tr>
              <a:tr h="670560">
                <a:tc>
                  <a:txBody>
                    <a:bodyPr/>
                    <a:lstStyle/>
                    <a:p>
                      <a:pPr algn="ctr"/>
                      <a:r>
                        <a:rPr lang="en-US" sz="1900" smtClean="0"/>
                        <a:t>4</a:t>
                      </a:r>
                      <a:endParaRPr lang="en-US" sz="1900"/>
                    </a:p>
                  </a:txBody>
                  <a:tcPr/>
                </a:tc>
                <a:tc>
                  <a:txBody>
                    <a:bodyPr/>
                    <a:lstStyle/>
                    <a:p>
                      <a:pPr algn="ctr"/>
                      <a:r>
                        <a:rPr lang="en-US" sz="1900" smtClean="0"/>
                        <a:t>Đỗ</a:t>
                      </a:r>
                      <a:r>
                        <a:rPr lang="en-US" sz="1900" baseline="0" smtClean="0"/>
                        <a:t> Hồng Hoa</a:t>
                      </a:r>
                      <a:endParaRPr lang="en-US" sz="1900"/>
                    </a:p>
                  </a:txBody>
                  <a:tcPr/>
                </a:tc>
                <a:tc>
                  <a:txBody>
                    <a:bodyPr/>
                    <a:lstStyle/>
                    <a:p>
                      <a:pPr algn="ctr"/>
                      <a:r>
                        <a:rPr lang="en-US" sz="1900" smtClean="0"/>
                        <a:t>Nữ</a:t>
                      </a:r>
                      <a:endParaRPr lang="en-US" sz="1900"/>
                    </a:p>
                  </a:txBody>
                  <a:tcPr/>
                </a:tc>
                <a:tc>
                  <a:txBody>
                    <a:bodyPr/>
                    <a:lstStyle/>
                    <a:p>
                      <a:pPr algn="ctr"/>
                      <a:r>
                        <a:rPr lang="en-US" sz="1900" smtClean="0"/>
                        <a:t>15/09/2005</a:t>
                      </a:r>
                      <a:endParaRPr lang="en-US" sz="1900"/>
                    </a:p>
                  </a:txBody>
                  <a:tcPr/>
                </a:tc>
                <a:tc>
                  <a:txBody>
                    <a:bodyPr/>
                    <a:lstStyle/>
                    <a:p>
                      <a:pPr algn="ctr"/>
                      <a:r>
                        <a:rPr lang="en-US" sz="1900" smtClean="0"/>
                        <a:t>7,75</a:t>
                      </a:r>
                      <a:endParaRPr lang="en-US" sz="1900"/>
                    </a:p>
                  </a:txBody>
                  <a:tcPr/>
                </a:tc>
                <a:tc>
                  <a:txBody>
                    <a:bodyPr/>
                    <a:lstStyle/>
                    <a:p>
                      <a:pPr algn="ctr"/>
                      <a:r>
                        <a:rPr lang="en-US" sz="1900" smtClean="0"/>
                        <a:t>A1001</a:t>
                      </a:r>
                      <a:endParaRPr lang="en-US" sz="1900"/>
                    </a:p>
                  </a:txBody>
                  <a:tcPr/>
                </a:tc>
                <a:extLst>
                  <a:ext uri="{0D108BD9-81ED-4DB2-BD59-A6C34878D82A}">
                    <a16:rowId xmlns:a16="http://schemas.microsoft.com/office/drawing/2014/main" val="10004"/>
                  </a:ext>
                </a:extLst>
              </a:tr>
              <a:tr h="670560">
                <a:tc>
                  <a:txBody>
                    <a:bodyPr/>
                    <a:lstStyle/>
                    <a:p>
                      <a:pPr algn="ctr"/>
                      <a:r>
                        <a:rPr lang="en-US" sz="1900" smtClean="0"/>
                        <a:t>5</a:t>
                      </a:r>
                      <a:endParaRPr lang="en-US" sz="1900"/>
                    </a:p>
                  </a:txBody>
                  <a:tcPr/>
                </a:tc>
                <a:tc>
                  <a:txBody>
                    <a:bodyPr/>
                    <a:lstStyle/>
                    <a:p>
                      <a:pPr algn="ctr"/>
                      <a:r>
                        <a:rPr lang="en-US" sz="1900" smtClean="0"/>
                        <a:t>Nguyễn</a:t>
                      </a:r>
                      <a:r>
                        <a:rPr lang="en-US" sz="1900" baseline="0" smtClean="0"/>
                        <a:t> Văn Khoa</a:t>
                      </a:r>
                      <a:endParaRPr lang="en-US" sz="1900"/>
                    </a:p>
                  </a:txBody>
                  <a:tcPr/>
                </a:tc>
                <a:tc>
                  <a:txBody>
                    <a:bodyPr/>
                    <a:lstStyle/>
                    <a:p>
                      <a:pPr algn="ctr"/>
                      <a:r>
                        <a:rPr lang="en-US" sz="1900" smtClean="0"/>
                        <a:t>Nam</a:t>
                      </a:r>
                      <a:endParaRPr lang="en-US" sz="1900"/>
                    </a:p>
                  </a:txBody>
                  <a:tcPr/>
                </a:tc>
                <a:tc>
                  <a:txBody>
                    <a:bodyPr/>
                    <a:lstStyle/>
                    <a:p>
                      <a:pPr algn="ctr"/>
                      <a:r>
                        <a:rPr lang="en-US" sz="1900" smtClean="0"/>
                        <a:t>22/11/2003</a:t>
                      </a:r>
                      <a:endParaRPr lang="en-US" sz="1900"/>
                    </a:p>
                  </a:txBody>
                  <a:tcPr/>
                </a:tc>
                <a:tc>
                  <a:txBody>
                    <a:bodyPr/>
                    <a:lstStyle/>
                    <a:p>
                      <a:pPr algn="ctr"/>
                      <a:r>
                        <a:rPr lang="en-US" sz="1900" smtClean="0"/>
                        <a:t>7,25</a:t>
                      </a:r>
                      <a:endParaRPr lang="en-US" sz="1900"/>
                    </a:p>
                  </a:txBody>
                  <a:tcPr/>
                </a:tc>
                <a:tc>
                  <a:txBody>
                    <a:bodyPr/>
                    <a:lstStyle/>
                    <a:p>
                      <a:pPr algn="ctr"/>
                      <a:r>
                        <a:rPr lang="en-US" sz="1900" smtClean="0"/>
                        <a:t>A1001</a:t>
                      </a:r>
                      <a:endParaRPr lang="en-US" sz="1900"/>
                    </a:p>
                  </a:txBody>
                  <a:tcPr/>
                </a:tc>
                <a:extLst>
                  <a:ext uri="{0D108BD9-81ED-4DB2-BD59-A6C34878D82A}">
                    <a16:rowId xmlns:a16="http://schemas.microsoft.com/office/drawing/2014/main" val="10005"/>
                  </a:ext>
                </a:extLst>
              </a:tr>
              <a:tr h="381000">
                <a:tc>
                  <a:txBody>
                    <a:bodyPr/>
                    <a:lstStyle/>
                    <a:p>
                      <a:pPr algn="ctr"/>
                      <a:endParaRPr lang="en-US" sz="1900"/>
                    </a:p>
                  </a:txBody>
                  <a:tcPr/>
                </a:tc>
                <a:tc>
                  <a:txBody>
                    <a:bodyPr/>
                    <a:lstStyle/>
                    <a:p>
                      <a:pPr algn="ctr"/>
                      <a:r>
                        <a:rPr lang="en-US" sz="1900" smtClean="0"/>
                        <a:t>....</a:t>
                      </a:r>
                      <a:endParaRPr lang="en-US" sz="1900"/>
                    </a:p>
                  </a:txBody>
                  <a:tcPr/>
                </a:tc>
                <a:tc>
                  <a:txBody>
                    <a:bodyPr/>
                    <a:lstStyle/>
                    <a:p>
                      <a:pPr algn="ctr"/>
                      <a:endParaRPr lang="en-US" sz="1900"/>
                    </a:p>
                  </a:txBody>
                  <a:tcPr/>
                </a:tc>
                <a:tc>
                  <a:txBody>
                    <a:bodyPr/>
                    <a:lstStyle/>
                    <a:p>
                      <a:pPr algn="ctr"/>
                      <a:endParaRPr lang="en-US" sz="1900"/>
                    </a:p>
                  </a:txBody>
                  <a:tcPr/>
                </a:tc>
                <a:tc>
                  <a:txBody>
                    <a:bodyPr/>
                    <a:lstStyle/>
                    <a:p>
                      <a:pPr algn="ctr"/>
                      <a:endParaRPr lang="en-US" sz="1900"/>
                    </a:p>
                  </a:txBody>
                  <a:tcPr/>
                </a:tc>
                <a:tc>
                  <a:txBody>
                    <a:bodyPr/>
                    <a:lstStyle/>
                    <a:p>
                      <a:pPr algn="ctr"/>
                      <a:endParaRPr lang="en-US" sz="1900"/>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10938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154"/>
        <p:cNvGrpSpPr/>
        <p:nvPr/>
      </p:nvGrpSpPr>
      <p:grpSpPr>
        <a:xfrm>
          <a:off x="0" y="0"/>
          <a:ext cx="0" cy="0"/>
          <a:chOff x="0" y="0"/>
          <a:chExt cx="0" cy="0"/>
        </a:xfrm>
      </p:grpSpPr>
      <p:sp>
        <p:nvSpPr>
          <p:cNvPr id="2156" name="Google Shape;2156;p38"/>
          <p:cNvSpPr txBox="1">
            <a:spLocks noGrp="1"/>
          </p:cNvSpPr>
          <p:nvPr>
            <p:ph type="title" idx="2"/>
          </p:nvPr>
        </p:nvSpPr>
        <p:spPr>
          <a:xfrm>
            <a:off x="623454" y="2106861"/>
            <a:ext cx="2967600" cy="1069800"/>
          </a:xfrm>
          <a:prstGeom prst="rect">
            <a:avLst/>
          </a:prstGeom>
        </p:spPr>
        <p:txBody>
          <a:bodyPr spcFirstLastPara="1" wrap="square" lIns="91421" tIns="91421" rIns="91421" bIns="91421" anchor="ctr" anchorCtr="0">
            <a:noAutofit/>
          </a:bodyPr>
          <a:lstStyle/>
          <a:p>
            <a:r>
              <a:rPr lang="en" dirty="0" smtClean="0"/>
              <a:t>02</a:t>
            </a:r>
            <a:endParaRPr dirty="0"/>
          </a:p>
        </p:txBody>
      </p:sp>
      <p:sp>
        <p:nvSpPr>
          <p:cNvPr id="4" name="Google Shape;2142;p37"/>
          <p:cNvSpPr txBox="1">
            <a:spLocks noGrp="1"/>
          </p:cNvSpPr>
          <p:nvPr>
            <p:ph type="subTitle" idx="1"/>
          </p:nvPr>
        </p:nvSpPr>
        <p:spPr>
          <a:xfrm>
            <a:off x="2915816" y="2715766"/>
            <a:ext cx="3200400" cy="685800"/>
          </a:xfrm>
          <a:prstGeom prst="rect">
            <a:avLst/>
          </a:prstGeom>
        </p:spPr>
        <p:txBody>
          <a:bodyPr spcFirstLastPara="1" wrap="square" lIns="91421" tIns="91421" rIns="91421" bIns="91421" anchor="t" anchorCtr="0">
            <a:noAutofit/>
          </a:bodyPr>
          <a:lstStyle/>
          <a:p>
            <a:pPr>
              <a:buClr>
                <a:schemeClr val="dk1"/>
              </a:buClr>
              <a:buSzPts val="1100"/>
            </a:pPr>
            <a:r>
              <a:rPr lang="en" sz="2925" b="1" i="1"/>
              <a:t>Tên của trường và giá trị </a:t>
            </a:r>
            <a:endParaRPr sz="2925" b="1" i="1"/>
          </a:p>
        </p:txBody>
      </p:sp>
    </p:spTree>
    <p:extLst>
      <p:ext uri="{BB962C8B-B14F-4D97-AF65-F5344CB8AC3E}">
        <p14:creationId xmlns:p14="http://schemas.microsoft.com/office/powerpoint/2010/main" val="1509401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56"/>
                                        </p:tgtEl>
                                        <p:attrNameLst>
                                          <p:attrName>style.visibility</p:attrName>
                                        </p:attrNameLst>
                                      </p:cBhvr>
                                      <p:to>
                                        <p:strVal val="visible"/>
                                      </p:to>
                                    </p:set>
                                    <p:animEffect transition="in" filter="fade">
                                      <p:cBhvr>
                                        <p:cTn id="7" dur="1000"/>
                                        <p:tgtEl>
                                          <p:spTgt spid="2156"/>
                                        </p:tgtEl>
                                      </p:cBhvr>
                                    </p:animEffect>
                                    <p:anim calcmode="lin" valueType="num">
                                      <p:cBhvr>
                                        <p:cTn id="8" dur="1000" fill="hold"/>
                                        <p:tgtEl>
                                          <p:spTgt spid="2156"/>
                                        </p:tgtEl>
                                        <p:attrNameLst>
                                          <p:attrName>ppt_x</p:attrName>
                                        </p:attrNameLst>
                                      </p:cBhvr>
                                      <p:tavLst>
                                        <p:tav tm="0">
                                          <p:val>
                                            <p:strVal val="#ppt_x"/>
                                          </p:val>
                                        </p:tav>
                                        <p:tav tm="100000">
                                          <p:val>
                                            <p:strVal val="#ppt_x"/>
                                          </p:val>
                                        </p:tav>
                                      </p:tavLst>
                                    </p:anim>
                                    <p:anim calcmode="lin" valueType="num">
                                      <p:cBhvr>
                                        <p:cTn id="9" dur="1000" fill="hold"/>
                                        <p:tgtEl>
                                          <p:spTgt spid="215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xEl>
                                              <p:pRg st="0" end="0"/>
                                            </p:txEl>
                                          </p:spTgt>
                                        </p:tgtEl>
                                        <p:attrNameLst>
                                          <p:attrName>style.visibility</p:attrName>
                                        </p:attrNameLst>
                                      </p:cBhvr>
                                      <p:to>
                                        <p:strVal val="visible"/>
                                      </p:to>
                                    </p:set>
                                    <p:animEffect transition="in" filter="fade">
                                      <p:cBhvr>
                                        <p:cTn id="14" dur="1000"/>
                                        <p:tgtEl>
                                          <p:spTgt spid="4">
                                            <p:txEl>
                                              <p:pRg st="0" end="0"/>
                                            </p:txEl>
                                          </p:spTgt>
                                        </p:tgtEl>
                                      </p:cBhvr>
                                    </p:animEffect>
                                    <p:anim calcmode="lin" valueType="num">
                                      <p:cBhvr>
                                        <p:cTn id="15"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6" grpId="0"/>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57"/>
        <p:cNvGrpSpPr/>
        <p:nvPr/>
      </p:nvGrpSpPr>
      <p:grpSpPr>
        <a:xfrm>
          <a:off x="0" y="0"/>
          <a:ext cx="0" cy="0"/>
          <a:chOff x="0" y="0"/>
          <a:chExt cx="0" cy="0"/>
        </a:xfrm>
      </p:grpSpPr>
      <p:sp>
        <p:nvSpPr>
          <p:cNvPr id="7" name="TextBox 6">
            <a:extLst>
              <a:ext uri="{FF2B5EF4-FFF2-40B4-BE49-F238E27FC236}">
                <a16:creationId xmlns:a16="http://schemas.microsoft.com/office/drawing/2014/main" id="{B6803CA1-6075-44C9-6D0B-652A5884DB8C}"/>
              </a:ext>
            </a:extLst>
          </p:cNvPr>
          <p:cNvSpPr txBox="1"/>
          <p:nvPr/>
        </p:nvSpPr>
        <p:spPr>
          <a:xfrm>
            <a:off x="910868" y="200722"/>
            <a:ext cx="8017541" cy="707886"/>
          </a:xfrm>
          <a:prstGeom prst="rect">
            <a:avLst/>
          </a:prstGeom>
          <a:noFill/>
        </p:spPr>
        <p:txBody>
          <a:bodyPr wrap="square" rtlCol="0">
            <a:spAutoFit/>
          </a:bodyPr>
          <a:lstStyle/>
          <a:p>
            <a:r>
              <a:rPr lang="en-US" sz="4000" b="1" dirty="0">
                <a:solidFill>
                  <a:schemeClr val="tx1">
                    <a:lumMod val="75000"/>
                    <a:lumOff val="25000"/>
                  </a:schemeClr>
                </a:solidFill>
                <a:latin typeface="Times New Roman" panose="02020603050405020304" pitchFamily="18" charset="0"/>
                <a:cs typeface="Times New Roman" panose="02020603050405020304" pitchFamily="18" charset="0"/>
              </a:rPr>
              <a:t>1.Khái </a:t>
            </a:r>
            <a:r>
              <a:rPr lang="en-US" sz="4000" b="1" dirty="0" err="1">
                <a:solidFill>
                  <a:schemeClr val="tx1">
                    <a:lumMod val="75000"/>
                    <a:lumOff val="25000"/>
                  </a:schemeClr>
                </a:solidFill>
                <a:latin typeface="Times New Roman" panose="02020603050405020304" pitchFamily="18" charset="0"/>
                <a:cs typeface="Times New Roman" panose="02020603050405020304" pitchFamily="18" charset="0"/>
              </a:rPr>
              <a:t>niệm</a:t>
            </a:r>
            <a:r>
              <a:rPr lang="en-US" sz="40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sz="4000" b="1" dirty="0" err="1">
                <a:solidFill>
                  <a:schemeClr val="tx1">
                    <a:lumMod val="75000"/>
                    <a:lumOff val="25000"/>
                  </a:schemeClr>
                </a:solidFill>
                <a:latin typeface="Times New Roman" panose="02020603050405020304" pitchFamily="18" charset="0"/>
                <a:cs typeface="Times New Roman" panose="02020603050405020304" pitchFamily="18" charset="0"/>
              </a:rPr>
              <a:t>cơ</a:t>
            </a:r>
            <a:r>
              <a:rPr lang="en-US" sz="40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sz="4000" b="1" dirty="0" err="1">
                <a:solidFill>
                  <a:schemeClr val="tx1">
                    <a:lumMod val="75000"/>
                    <a:lumOff val="25000"/>
                  </a:schemeClr>
                </a:solidFill>
                <a:latin typeface="Times New Roman" panose="02020603050405020304" pitchFamily="18" charset="0"/>
                <a:cs typeface="Times New Roman" panose="02020603050405020304" pitchFamily="18" charset="0"/>
              </a:rPr>
              <a:t>sở</a:t>
            </a:r>
            <a:r>
              <a:rPr lang="en-US" sz="40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sz="4000" b="1" dirty="0" err="1">
                <a:solidFill>
                  <a:schemeClr val="tx1">
                    <a:lumMod val="75000"/>
                    <a:lumOff val="25000"/>
                  </a:schemeClr>
                </a:solidFill>
                <a:latin typeface="Times New Roman" panose="02020603050405020304" pitchFamily="18" charset="0"/>
                <a:cs typeface="Times New Roman" panose="02020603050405020304" pitchFamily="18" charset="0"/>
              </a:rPr>
              <a:t>dữ</a:t>
            </a:r>
            <a:r>
              <a:rPr lang="en-US" sz="40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sz="4000" b="1" dirty="0" err="1">
                <a:solidFill>
                  <a:schemeClr val="tx1">
                    <a:lumMod val="75000"/>
                    <a:lumOff val="25000"/>
                  </a:schemeClr>
                </a:solidFill>
                <a:latin typeface="Times New Roman" panose="02020603050405020304" pitchFamily="18" charset="0"/>
                <a:cs typeface="Times New Roman" panose="02020603050405020304" pitchFamily="18" charset="0"/>
              </a:rPr>
              <a:t>liệu</a:t>
            </a:r>
            <a:r>
              <a:rPr lang="en-US" sz="40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sz="4000" b="1" dirty="0" err="1">
                <a:solidFill>
                  <a:schemeClr val="tx1">
                    <a:lumMod val="75000"/>
                    <a:lumOff val="25000"/>
                  </a:schemeClr>
                </a:solidFill>
                <a:latin typeface="Times New Roman" panose="02020603050405020304" pitchFamily="18" charset="0"/>
                <a:cs typeface="Times New Roman" panose="02020603050405020304" pitchFamily="18" charset="0"/>
              </a:rPr>
              <a:t>quan</a:t>
            </a:r>
            <a:r>
              <a:rPr lang="en-US" sz="40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sz="4000" b="1" dirty="0" err="1">
                <a:solidFill>
                  <a:schemeClr val="tx1">
                    <a:lumMod val="75000"/>
                    <a:lumOff val="25000"/>
                  </a:schemeClr>
                </a:solidFill>
                <a:latin typeface="Times New Roman" panose="02020603050405020304" pitchFamily="18" charset="0"/>
                <a:cs typeface="Times New Roman" panose="02020603050405020304" pitchFamily="18" charset="0"/>
              </a:rPr>
              <a:t>hệ</a:t>
            </a:r>
            <a:endParaRPr lang="en-US" sz="4000" b="1" dirty="0">
              <a:solidFill>
                <a:schemeClr val="tx1">
                  <a:lumMod val="75000"/>
                  <a:lumOff val="25000"/>
                </a:schemeClr>
              </a:solidFill>
              <a:latin typeface="Times New Roman" panose="02020603050405020304" pitchFamily="18" charset="0"/>
              <a:cs typeface="Times New Roman" panose="02020603050405020304" pitchFamily="18" charset="0"/>
            </a:endParaRPr>
          </a:p>
        </p:txBody>
      </p:sp>
      <p:sp>
        <p:nvSpPr>
          <p:cNvPr id="8" name="TextBox 7">
            <a:extLst>
              <a:ext uri="{FF2B5EF4-FFF2-40B4-BE49-F238E27FC236}">
                <a16:creationId xmlns:a16="http://schemas.microsoft.com/office/drawing/2014/main" id="{31E922EE-39C9-A11B-6109-74531DD67BFB}"/>
              </a:ext>
            </a:extLst>
          </p:cNvPr>
          <p:cNvSpPr txBox="1"/>
          <p:nvPr/>
        </p:nvSpPr>
        <p:spPr>
          <a:xfrm>
            <a:off x="1092819" y="771849"/>
            <a:ext cx="4839629" cy="523220"/>
          </a:xfrm>
          <a:prstGeom prst="rect">
            <a:avLst/>
          </a:prstGeom>
          <a:noFill/>
        </p:spPr>
        <p:txBody>
          <a:bodyPr wrap="square" rtlCol="0">
            <a:spAutoFit/>
          </a:bodyPr>
          <a:lstStyle/>
          <a:p>
            <a:r>
              <a:rPr lang="en-US" sz="2800" dirty="0" err="1">
                <a:latin typeface="Times New Roman" panose="02020603050405020304" pitchFamily="18" charset="0"/>
                <a:cs typeface="Times New Roman" panose="02020603050405020304" pitchFamily="18" charset="0"/>
              </a:rPr>
              <a:t>Ví</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dụ</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về</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cơ</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sở</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dữ</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liệu</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âm</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nhạc</a:t>
            </a:r>
            <a:r>
              <a:rPr lang="en-US" sz="2800" dirty="0">
                <a:latin typeface="Times New Roman" panose="02020603050405020304" pitchFamily="18" charset="0"/>
                <a:cs typeface="Times New Roman" panose="02020603050405020304" pitchFamily="18" charset="0"/>
              </a:rPr>
              <a:t>:</a:t>
            </a:r>
          </a:p>
        </p:txBody>
      </p:sp>
      <p:pic>
        <p:nvPicPr>
          <p:cNvPr id="10" name="Picture 9">
            <a:extLst>
              <a:ext uri="{FF2B5EF4-FFF2-40B4-BE49-F238E27FC236}">
                <a16:creationId xmlns:a16="http://schemas.microsoft.com/office/drawing/2014/main" id="{C9541BB2-890C-6799-E9CD-F86DF0021ADE}"/>
              </a:ext>
            </a:extLst>
          </p:cNvPr>
          <p:cNvPicPr>
            <a:picLocks noChangeAspect="1"/>
          </p:cNvPicPr>
          <p:nvPr/>
        </p:nvPicPr>
        <p:blipFill>
          <a:blip r:embed="rId3"/>
          <a:stretch>
            <a:fillRect/>
          </a:stretch>
        </p:blipFill>
        <p:spPr>
          <a:xfrm>
            <a:off x="708931" y="1404936"/>
            <a:ext cx="1983994" cy="2516616"/>
          </a:xfrm>
          <a:prstGeom prst="rect">
            <a:avLst/>
          </a:prstGeom>
        </p:spPr>
      </p:pic>
      <p:pic>
        <p:nvPicPr>
          <p:cNvPr id="12" name="Picture 11">
            <a:extLst>
              <a:ext uri="{FF2B5EF4-FFF2-40B4-BE49-F238E27FC236}">
                <a16:creationId xmlns:a16="http://schemas.microsoft.com/office/drawing/2014/main" id="{F13D7754-DD7D-F7E8-EABF-449F2052AE40}"/>
              </a:ext>
            </a:extLst>
          </p:cNvPr>
          <p:cNvPicPr>
            <a:picLocks noChangeAspect="1"/>
          </p:cNvPicPr>
          <p:nvPr/>
        </p:nvPicPr>
        <p:blipFill>
          <a:blip r:embed="rId4"/>
          <a:stretch>
            <a:fillRect/>
          </a:stretch>
        </p:blipFill>
        <p:spPr>
          <a:xfrm>
            <a:off x="2772938" y="1404936"/>
            <a:ext cx="2060990" cy="2524133"/>
          </a:xfrm>
          <a:prstGeom prst="rect">
            <a:avLst/>
          </a:prstGeom>
        </p:spPr>
      </p:pic>
      <p:pic>
        <p:nvPicPr>
          <p:cNvPr id="16" name="Picture 15">
            <a:extLst>
              <a:ext uri="{FF2B5EF4-FFF2-40B4-BE49-F238E27FC236}">
                <a16:creationId xmlns:a16="http://schemas.microsoft.com/office/drawing/2014/main" id="{45561A24-56B4-2DD8-AEBB-E1C2C86055CA}"/>
              </a:ext>
            </a:extLst>
          </p:cNvPr>
          <p:cNvPicPr>
            <a:picLocks noChangeAspect="1"/>
          </p:cNvPicPr>
          <p:nvPr/>
        </p:nvPicPr>
        <p:blipFill>
          <a:blip r:embed="rId5"/>
          <a:stretch>
            <a:fillRect/>
          </a:stretch>
        </p:blipFill>
        <p:spPr>
          <a:xfrm>
            <a:off x="4919638" y="1427039"/>
            <a:ext cx="2248095" cy="2524132"/>
          </a:xfrm>
          <a:prstGeom prst="rect">
            <a:avLst/>
          </a:prstGeom>
        </p:spPr>
      </p:pic>
      <p:pic>
        <p:nvPicPr>
          <p:cNvPr id="2" name="Picture 1">
            <a:extLst>
              <a:ext uri="{FF2B5EF4-FFF2-40B4-BE49-F238E27FC236}">
                <a16:creationId xmlns:a16="http://schemas.microsoft.com/office/drawing/2014/main" id="{B4968876-16FD-BDCE-3170-A380A1677F4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53443" y="1404936"/>
            <a:ext cx="1058545" cy="252413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ppt_x"/>
                                          </p:val>
                                        </p:tav>
                                        <p:tav tm="100000">
                                          <p:val>
                                            <p:strVal val="#ppt_x"/>
                                          </p:val>
                                        </p:tav>
                                      </p:tavLst>
                                    </p:anim>
                                    <p:anim calcmode="lin" valueType="num">
                                      <p:cBhvr additive="base">
                                        <p:cTn id="2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ppt_x"/>
                                          </p:val>
                                        </p:tav>
                                        <p:tav tm="100000">
                                          <p:val>
                                            <p:strVal val="#ppt_x"/>
                                          </p:val>
                                        </p:tav>
                                      </p:tavLst>
                                    </p:anim>
                                    <p:anim calcmode="lin" valueType="num">
                                      <p:cBhvr additive="base">
                                        <p:cTn id="2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ppt_x"/>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2"/>
                                        </p:tgtEl>
                                        <p:attrNameLst>
                                          <p:attrName>style.visibility</p:attrName>
                                        </p:attrNameLst>
                                      </p:cBhvr>
                                      <p:to>
                                        <p:strVal val="visible"/>
                                      </p:to>
                                    </p:set>
                                    <p:anim calcmode="lin" valueType="num">
                                      <p:cBhvr additive="base">
                                        <p:cTn id="39" dur="500" fill="hold"/>
                                        <p:tgtEl>
                                          <p:spTgt spid="2"/>
                                        </p:tgtEl>
                                        <p:attrNameLst>
                                          <p:attrName>ppt_x</p:attrName>
                                        </p:attrNameLst>
                                      </p:cBhvr>
                                      <p:tavLst>
                                        <p:tav tm="0">
                                          <p:val>
                                            <p:strVal val="#ppt_x"/>
                                          </p:val>
                                        </p:tav>
                                        <p:tav tm="100000">
                                          <p:val>
                                            <p:strVal val="#ppt_x"/>
                                          </p:val>
                                        </p:tav>
                                      </p:tavLst>
                                    </p:anim>
                                    <p:anim calcmode="lin" valueType="num">
                                      <p:cBhvr additive="base">
                                        <p:cTn id="4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182"/>
        <p:cNvGrpSpPr/>
        <p:nvPr/>
      </p:nvGrpSpPr>
      <p:grpSpPr>
        <a:xfrm>
          <a:off x="0" y="0"/>
          <a:ext cx="0" cy="0"/>
          <a:chOff x="0" y="0"/>
          <a:chExt cx="0" cy="0"/>
        </a:xfrm>
      </p:grpSpPr>
      <p:grpSp>
        <p:nvGrpSpPr>
          <p:cNvPr id="2183" name="Google Shape;2183;p40"/>
          <p:cNvGrpSpPr/>
          <p:nvPr/>
        </p:nvGrpSpPr>
        <p:grpSpPr>
          <a:xfrm>
            <a:off x="1819026" y="3893816"/>
            <a:ext cx="175013" cy="27000"/>
            <a:chOff x="5662375" y="212375"/>
            <a:chExt cx="175013" cy="27000"/>
          </a:xfrm>
        </p:grpSpPr>
        <p:sp>
          <p:nvSpPr>
            <p:cNvPr id="2184" name="Google Shape;2184;p40"/>
            <p:cNvSpPr/>
            <p:nvPr/>
          </p:nvSpPr>
          <p:spPr>
            <a:xfrm>
              <a:off x="5662375" y="212375"/>
              <a:ext cx="27000" cy="27000"/>
            </a:xfrm>
            <a:prstGeom prst="ellipse">
              <a:avLst/>
            </a:pr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85" name="Google Shape;2185;p40"/>
            <p:cNvSpPr/>
            <p:nvPr/>
          </p:nvSpPr>
          <p:spPr>
            <a:xfrm>
              <a:off x="5736381" y="212375"/>
              <a:ext cx="27000" cy="27000"/>
            </a:xfrm>
            <a:prstGeom prst="ellipse">
              <a:avLst/>
            </a:pr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86" name="Google Shape;2186;p40"/>
            <p:cNvSpPr/>
            <p:nvPr/>
          </p:nvSpPr>
          <p:spPr>
            <a:xfrm>
              <a:off x="5810388" y="212375"/>
              <a:ext cx="27000" cy="27000"/>
            </a:xfrm>
            <a:prstGeom prst="ellipse">
              <a:avLst/>
            </a:pr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grpSp>
      <p:grpSp>
        <p:nvGrpSpPr>
          <p:cNvPr id="2187" name="Google Shape;2187;p40"/>
          <p:cNvGrpSpPr/>
          <p:nvPr/>
        </p:nvGrpSpPr>
        <p:grpSpPr>
          <a:xfrm>
            <a:off x="4484496" y="3893828"/>
            <a:ext cx="175013" cy="27000"/>
            <a:chOff x="5662375" y="212375"/>
            <a:chExt cx="175013" cy="27000"/>
          </a:xfrm>
        </p:grpSpPr>
        <p:sp>
          <p:nvSpPr>
            <p:cNvPr id="2188" name="Google Shape;2188;p40"/>
            <p:cNvSpPr/>
            <p:nvPr/>
          </p:nvSpPr>
          <p:spPr>
            <a:xfrm>
              <a:off x="5662375" y="212375"/>
              <a:ext cx="27000" cy="27000"/>
            </a:xfrm>
            <a:prstGeom prst="ellipse">
              <a:avLst/>
            </a:pr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89" name="Google Shape;2189;p40"/>
            <p:cNvSpPr/>
            <p:nvPr/>
          </p:nvSpPr>
          <p:spPr>
            <a:xfrm>
              <a:off x="5736381" y="212375"/>
              <a:ext cx="27000" cy="27000"/>
            </a:xfrm>
            <a:prstGeom prst="ellipse">
              <a:avLst/>
            </a:pr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90" name="Google Shape;2190;p40"/>
            <p:cNvSpPr/>
            <p:nvPr/>
          </p:nvSpPr>
          <p:spPr>
            <a:xfrm>
              <a:off x="5810388" y="212375"/>
              <a:ext cx="27000" cy="27000"/>
            </a:xfrm>
            <a:prstGeom prst="ellipse">
              <a:avLst/>
            </a:pr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grpSp>
      <p:grpSp>
        <p:nvGrpSpPr>
          <p:cNvPr id="2191" name="Google Shape;2191;p40"/>
          <p:cNvGrpSpPr/>
          <p:nvPr/>
        </p:nvGrpSpPr>
        <p:grpSpPr>
          <a:xfrm>
            <a:off x="7149966" y="3893816"/>
            <a:ext cx="175013" cy="27000"/>
            <a:chOff x="5662375" y="212375"/>
            <a:chExt cx="175013" cy="27000"/>
          </a:xfrm>
        </p:grpSpPr>
        <p:sp>
          <p:nvSpPr>
            <p:cNvPr id="2192" name="Google Shape;2192;p40"/>
            <p:cNvSpPr/>
            <p:nvPr/>
          </p:nvSpPr>
          <p:spPr>
            <a:xfrm>
              <a:off x="5662375" y="212375"/>
              <a:ext cx="27000" cy="27000"/>
            </a:xfrm>
            <a:prstGeom prst="ellipse">
              <a:avLst/>
            </a:pr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93" name="Google Shape;2193;p40"/>
            <p:cNvSpPr/>
            <p:nvPr/>
          </p:nvSpPr>
          <p:spPr>
            <a:xfrm>
              <a:off x="5736381" y="212375"/>
              <a:ext cx="27000" cy="27000"/>
            </a:xfrm>
            <a:prstGeom prst="ellipse">
              <a:avLst/>
            </a:pr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sp>
          <p:nvSpPr>
            <p:cNvPr id="2194" name="Google Shape;2194;p40"/>
            <p:cNvSpPr/>
            <p:nvPr/>
          </p:nvSpPr>
          <p:spPr>
            <a:xfrm>
              <a:off x="5810388" y="212375"/>
              <a:ext cx="27000" cy="27000"/>
            </a:xfrm>
            <a:prstGeom prst="ellipse">
              <a:avLst/>
            </a:prstGeom>
            <a:solidFill>
              <a:schemeClr val="dk2"/>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595959"/>
                </a:solidFill>
              </a:endParaRPr>
            </a:p>
          </p:txBody>
        </p:sp>
      </p:grpSp>
      <p:sp>
        <p:nvSpPr>
          <p:cNvPr id="2200" name="Google Shape;2200;p40"/>
          <p:cNvSpPr txBox="1">
            <a:spLocks noGrp="1"/>
          </p:cNvSpPr>
          <p:nvPr>
            <p:ph type="subTitle" idx="5"/>
          </p:nvPr>
        </p:nvSpPr>
        <p:spPr>
          <a:xfrm>
            <a:off x="647056" y="1707654"/>
            <a:ext cx="8496944" cy="1079100"/>
          </a:xfrm>
          <a:prstGeom prst="rect">
            <a:avLst/>
          </a:prstGeom>
        </p:spPr>
        <p:txBody>
          <a:bodyPr spcFirstLastPara="1" wrap="square" lIns="91421" tIns="91421" rIns="91421" bIns="91421" anchor="t" anchorCtr="0">
            <a:noAutofit/>
          </a:bodyPr>
          <a:lstStyle/>
          <a:p>
            <a:pPr marL="342884" indent="-342884" algn="l">
              <a:buFont typeface="Arial" pitchFamily="34" charset="0"/>
              <a:buChar char="•"/>
            </a:pPr>
            <a:r>
              <a:rPr lang="vi-VN" sz="2400">
                <a:solidFill>
                  <a:srgbClr val="0070C0"/>
                </a:solidFill>
              </a:rPr>
              <a:t>Trường sbd có các giá trị là các số nguyên.</a:t>
            </a:r>
            <a:endParaRPr lang="en-US" sz="2400">
              <a:solidFill>
                <a:srgbClr val="0070C0"/>
              </a:solidFill>
            </a:endParaRPr>
          </a:p>
          <a:p>
            <a:pPr marL="342884" indent="-342884" algn="l">
              <a:buFont typeface="Arial" pitchFamily="34" charset="0"/>
              <a:buChar char="•"/>
            </a:pPr>
            <a:r>
              <a:rPr lang="vi-VN" sz="2400">
                <a:solidFill>
                  <a:srgbClr val="0070C0"/>
                </a:solidFill>
              </a:rPr>
              <a:t>Trường hoten có các giá trị là xâu kí tự, độ dài giới hạn, ví dụ không quá 64 kí tự.</a:t>
            </a:r>
            <a:endParaRPr lang="en-US" sz="2400">
              <a:solidFill>
                <a:srgbClr val="0070C0"/>
              </a:solidFill>
            </a:endParaRPr>
          </a:p>
          <a:p>
            <a:pPr marL="342884" indent="-342884" algn="l">
              <a:buFont typeface="Arial" pitchFamily="34" charset="0"/>
              <a:buChar char="•"/>
            </a:pPr>
            <a:r>
              <a:rPr lang="vi-VN" sz="2400">
                <a:solidFill>
                  <a:srgbClr val="0070C0"/>
                </a:solidFill>
              </a:rPr>
              <a:t>Trường gt chỉ có hai giá trị là Nữ hoặc Nam.</a:t>
            </a:r>
            <a:endParaRPr lang="en-US" sz="2400">
              <a:solidFill>
                <a:srgbClr val="0070C0"/>
              </a:solidFill>
            </a:endParaRPr>
          </a:p>
          <a:p>
            <a:pPr marL="342884" indent="-342884" algn="l">
              <a:buFont typeface="Arial" pitchFamily="34" charset="0"/>
              <a:buChar char="•"/>
            </a:pPr>
            <a:r>
              <a:rPr lang="vi-VN" sz="2400">
                <a:solidFill>
                  <a:srgbClr val="0070C0"/>
                </a:solidFill>
              </a:rPr>
              <a:t>Trường ngaysinh có các giá trị là ngày / tháng / năm.</a:t>
            </a:r>
            <a:endParaRPr lang="en-US" sz="2400">
              <a:solidFill>
                <a:srgbClr val="0070C0"/>
              </a:solidFill>
            </a:endParaRPr>
          </a:p>
          <a:p>
            <a:pPr marL="342884" indent="-342884" algn="l">
              <a:buFont typeface="Arial" pitchFamily="34" charset="0"/>
              <a:buChar char="•"/>
            </a:pPr>
            <a:r>
              <a:rPr lang="vi-VN" sz="2400">
                <a:solidFill>
                  <a:srgbClr val="0070C0"/>
                </a:solidFill>
              </a:rPr>
              <a:t> Trường diem có các giá trị kiểu số thập phân có tối đa 5 chữ số với 2 chữ số sau dấu phẩy thập phân.</a:t>
            </a:r>
            <a:endParaRPr lang="en-US" sz="2400">
              <a:solidFill>
                <a:srgbClr val="0070C0"/>
              </a:solidFill>
            </a:endParaRPr>
          </a:p>
          <a:p>
            <a:pPr marL="342884" indent="-342884" algn="l">
              <a:buFont typeface="Arial" pitchFamily="34" charset="0"/>
              <a:buChar char="•"/>
            </a:pPr>
            <a:r>
              <a:rPr lang="vi-VN" sz="2400">
                <a:solidFill>
                  <a:srgbClr val="0070C0"/>
                </a:solidFill>
              </a:rPr>
              <a:t> Trường makithi có các giá trị kiểu xâu với độ dài 5 kí tự</a:t>
            </a:r>
            <a:endParaRPr sz="2400">
              <a:solidFill>
                <a:srgbClr val="0070C0"/>
              </a:solidFill>
            </a:endParaRPr>
          </a:p>
        </p:txBody>
      </p:sp>
      <p:grpSp>
        <p:nvGrpSpPr>
          <p:cNvPr id="2202" name="Google Shape;2202;p40"/>
          <p:cNvGrpSpPr/>
          <p:nvPr/>
        </p:nvGrpSpPr>
        <p:grpSpPr>
          <a:xfrm>
            <a:off x="755577" y="1203600"/>
            <a:ext cx="420796" cy="370732"/>
            <a:chOff x="-3137650" y="2067900"/>
            <a:chExt cx="291450" cy="256775"/>
          </a:xfrm>
        </p:grpSpPr>
        <p:sp>
          <p:nvSpPr>
            <p:cNvPr id="2203" name="Google Shape;2203;p40"/>
            <p:cNvSpPr/>
            <p:nvPr/>
          </p:nvSpPr>
          <p:spPr>
            <a:xfrm>
              <a:off x="-3137650" y="2067900"/>
              <a:ext cx="291450" cy="187475"/>
            </a:xfrm>
            <a:custGeom>
              <a:avLst/>
              <a:gdLst/>
              <a:ahLst/>
              <a:cxnLst/>
              <a:rect l="l" t="t" r="r" b="b"/>
              <a:pathLst>
                <a:path w="11658" h="7499" extrusionOk="0">
                  <a:moveTo>
                    <a:pt x="10618" y="694"/>
                  </a:moveTo>
                  <a:cubicBezTo>
                    <a:pt x="10838" y="694"/>
                    <a:pt x="10964" y="851"/>
                    <a:pt x="10964" y="1040"/>
                  </a:cubicBezTo>
                  <a:lnTo>
                    <a:pt x="10964" y="6522"/>
                  </a:lnTo>
                  <a:cubicBezTo>
                    <a:pt x="10964" y="6711"/>
                    <a:pt x="10838" y="6868"/>
                    <a:pt x="10618" y="6868"/>
                  </a:cubicBezTo>
                  <a:lnTo>
                    <a:pt x="1009" y="6868"/>
                  </a:lnTo>
                  <a:cubicBezTo>
                    <a:pt x="820" y="6868"/>
                    <a:pt x="662" y="6711"/>
                    <a:pt x="662" y="6522"/>
                  </a:cubicBezTo>
                  <a:lnTo>
                    <a:pt x="662" y="1040"/>
                  </a:lnTo>
                  <a:cubicBezTo>
                    <a:pt x="662" y="851"/>
                    <a:pt x="820" y="694"/>
                    <a:pt x="1009" y="694"/>
                  </a:cubicBezTo>
                  <a:close/>
                  <a:moveTo>
                    <a:pt x="1009" y="0"/>
                  </a:moveTo>
                  <a:cubicBezTo>
                    <a:pt x="473" y="0"/>
                    <a:pt x="1" y="473"/>
                    <a:pt x="1" y="1009"/>
                  </a:cubicBezTo>
                  <a:lnTo>
                    <a:pt x="1" y="6490"/>
                  </a:lnTo>
                  <a:cubicBezTo>
                    <a:pt x="1" y="7026"/>
                    <a:pt x="473" y="7499"/>
                    <a:pt x="1009" y="7499"/>
                  </a:cubicBezTo>
                  <a:lnTo>
                    <a:pt x="10618" y="7499"/>
                  </a:lnTo>
                  <a:cubicBezTo>
                    <a:pt x="11185" y="7499"/>
                    <a:pt x="11658" y="7026"/>
                    <a:pt x="11658" y="6490"/>
                  </a:cubicBezTo>
                  <a:lnTo>
                    <a:pt x="11658" y="1009"/>
                  </a:lnTo>
                  <a:cubicBezTo>
                    <a:pt x="11658" y="473"/>
                    <a:pt x="11217" y="0"/>
                    <a:pt x="10618" y="0"/>
                  </a:cubicBezTo>
                  <a:close/>
                </a:path>
              </a:pathLst>
            </a:custGeom>
            <a:solidFill>
              <a:schemeClr val="accent5"/>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494949"/>
                </a:solidFill>
              </a:endParaRPr>
            </a:p>
          </p:txBody>
        </p:sp>
        <p:sp>
          <p:nvSpPr>
            <p:cNvPr id="2204" name="Google Shape;2204;p40"/>
            <p:cNvSpPr/>
            <p:nvPr/>
          </p:nvSpPr>
          <p:spPr>
            <a:xfrm>
              <a:off x="-3137650" y="2273475"/>
              <a:ext cx="291450" cy="51200"/>
            </a:xfrm>
            <a:custGeom>
              <a:avLst/>
              <a:gdLst/>
              <a:ahLst/>
              <a:cxnLst/>
              <a:rect l="l" t="t" r="r" b="b"/>
              <a:pathLst>
                <a:path w="11658" h="2048" extrusionOk="0">
                  <a:moveTo>
                    <a:pt x="10618" y="662"/>
                  </a:moveTo>
                  <a:cubicBezTo>
                    <a:pt x="10838" y="662"/>
                    <a:pt x="10964" y="819"/>
                    <a:pt x="10964" y="1008"/>
                  </a:cubicBezTo>
                  <a:cubicBezTo>
                    <a:pt x="10964" y="1197"/>
                    <a:pt x="10838" y="1355"/>
                    <a:pt x="10618" y="1355"/>
                  </a:cubicBezTo>
                  <a:lnTo>
                    <a:pt x="6050" y="1355"/>
                  </a:lnTo>
                  <a:cubicBezTo>
                    <a:pt x="6113" y="1260"/>
                    <a:pt x="6113" y="1134"/>
                    <a:pt x="6113" y="1008"/>
                  </a:cubicBezTo>
                  <a:cubicBezTo>
                    <a:pt x="6113" y="882"/>
                    <a:pt x="6050" y="788"/>
                    <a:pt x="6050" y="662"/>
                  </a:cubicBezTo>
                  <a:close/>
                  <a:moveTo>
                    <a:pt x="5105" y="662"/>
                  </a:moveTo>
                  <a:cubicBezTo>
                    <a:pt x="5294" y="662"/>
                    <a:pt x="5451" y="819"/>
                    <a:pt x="5451" y="1008"/>
                  </a:cubicBezTo>
                  <a:cubicBezTo>
                    <a:pt x="5451" y="1229"/>
                    <a:pt x="5294" y="1386"/>
                    <a:pt x="5105" y="1386"/>
                  </a:cubicBezTo>
                  <a:lnTo>
                    <a:pt x="1009" y="1386"/>
                  </a:lnTo>
                  <a:cubicBezTo>
                    <a:pt x="820" y="1355"/>
                    <a:pt x="662" y="1229"/>
                    <a:pt x="662" y="1008"/>
                  </a:cubicBezTo>
                  <a:cubicBezTo>
                    <a:pt x="662" y="819"/>
                    <a:pt x="820" y="662"/>
                    <a:pt x="1009" y="662"/>
                  </a:cubicBezTo>
                  <a:close/>
                  <a:moveTo>
                    <a:pt x="1009" y="0"/>
                  </a:moveTo>
                  <a:cubicBezTo>
                    <a:pt x="473" y="0"/>
                    <a:pt x="1" y="473"/>
                    <a:pt x="1" y="1008"/>
                  </a:cubicBezTo>
                  <a:cubicBezTo>
                    <a:pt x="1" y="1575"/>
                    <a:pt x="473" y="2048"/>
                    <a:pt x="1009" y="2048"/>
                  </a:cubicBezTo>
                  <a:lnTo>
                    <a:pt x="10618" y="2048"/>
                  </a:lnTo>
                  <a:cubicBezTo>
                    <a:pt x="11185" y="2048"/>
                    <a:pt x="11658" y="1575"/>
                    <a:pt x="11658" y="1008"/>
                  </a:cubicBezTo>
                  <a:cubicBezTo>
                    <a:pt x="11658" y="473"/>
                    <a:pt x="11217" y="0"/>
                    <a:pt x="10618" y="0"/>
                  </a:cubicBezTo>
                  <a:close/>
                </a:path>
              </a:pathLst>
            </a:custGeom>
            <a:solidFill>
              <a:schemeClr val="accent5"/>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494949"/>
                </a:solidFill>
              </a:endParaRPr>
            </a:p>
          </p:txBody>
        </p:sp>
        <p:sp>
          <p:nvSpPr>
            <p:cNvPr id="2205" name="Google Shape;2205;p40"/>
            <p:cNvSpPr/>
            <p:nvPr/>
          </p:nvSpPr>
          <p:spPr>
            <a:xfrm>
              <a:off x="-3035250" y="2103000"/>
              <a:ext cx="104000" cy="118500"/>
            </a:xfrm>
            <a:custGeom>
              <a:avLst/>
              <a:gdLst/>
              <a:ahLst/>
              <a:cxnLst/>
              <a:rect l="l" t="t" r="r" b="b"/>
              <a:pathLst>
                <a:path w="4160" h="4740" extrusionOk="0">
                  <a:moveTo>
                    <a:pt x="662" y="896"/>
                  </a:moveTo>
                  <a:lnTo>
                    <a:pt x="3056" y="2346"/>
                  </a:lnTo>
                  <a:lnTo>
                    <a:pt x="662" y="3826"/>
                  </a:lnTo>
                  <a:lnTo>
                    <a:pt x="662" y="896"/>
                  </a:lnTo>
                  <a:close/>
                  <a:moveTo>
                    <a:pt x="322" y="1"/>
                  </a:moveTo>
                  <a:cubicBezTo>
                    <a:pt x="144" y="1"/>
                    <a:pt x="0" y="131"/>
                    <a:pt x="0" y="298"/>
                  </a:cubicBezTo>
                  <a:lnTo>
                    <a:pt x="0" y="4425"/>
                  </a:lnTo>
                  <a:cubicBezTo>
                    <a:pt x="0" y="4607"/>
                    <a:pt x="132" y="4740"/>
                    <a:pt x="301" y="4740"/>
                  </a:cubicBezTo>
                  <a:cubicBezTo>
                    <a:pt x="365" y="4740"/>
                    <a:pt x="435" y="4720"/>
                    <a:pt x="504" y="4677"/>
                  </a:cubicBezTo>
                  <a:lnTo>
                    <a:pt x="3939" y="2629"/>
                  </a:lnTo>
                  <a:cubicBezTo>
                    <a:pt x="4159" y="2535"/>
                    <a:pt x="4159" y="2219"/>
                    <a:pt x="3939" y="2093"/>
                  </a:cubicBezTo>
                  <a:lnTo>
                    <a:pt x="504" y="46"/>
                  </a:lnTo>
                  <a:cubicBezTo>
                    <a:pt x="443" y="15"/>
                    <a:pt x="381" y="1"/>
                    <a:pt x="322" y="1"/>
                  </a:cubicBezTo>
                  <a:close/>
                </a:path>
              </a:pathLst>
            </a:custGeom>
            <a:solidFill>
              <a:schemeClr val="accent5"/>
            </a:solidFill>
            <a:ln>
              <a:noFill/>
            </a:ln>
          </p:spPr>
          <p:txBody>
            <a:bodyPr spcFirstLastPara="1" wrap="square" lIns="68569" tIns="68569" rIns="68569" bIns="68569" anchor="ctr" anchorCtr="0">
              <a:noAutofit/>
            </a:bodyPr>
            <a:lstStyle/>
            <a:p>
              <a:pPr>
                <a:buClr>
                  <a:srgbClr val="000000"/>
                </a:buClr>
                <a:buFont typeface="Arial"/>
                <a:buNone/>
              </a:pPr>
              <a:endParaRPr sz="1425">
                <a:solidFill>
                  <a:srgbClr val="494949"/>
                </a:solidFill>
              </a:endParaRPr>
            </a:p>
          </p:txBody>
        </p:sp>
      </p:grpSp>
    </p:spTree>
    <p:extLst>
      <p:ext uri="{BB962C8B-B14F-4D97-AF65-F5344CB8AC3E}">
        <p14:creationId xmlns:p14="http://schemas.microsoft.com/office/powerpoint/2010/main" val="1850770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200">
                                            <p:txEl>
                                              <p:pRg st="0" end="0"/>
                                            </p:txEl>
                                          </p:spTgt>
                                        </p:tgtEl>
                                        <p:attrNameLst>
                                          <p:attrName>style.visibility</p:attrName>
                                        </p:attrNameLst>
                                      </p:cBhvr>
                                      <p:to>
                                        <p:strVal val="visible"/>
                                      </p:to>
                                    </p:set>
                                    <p:animEffect transition="in" filter="wipe(down)">
                                      <p:cBhvr>
                                        <p:cTn id="7" dur="500"/>
                                        <p:tgtEl>
                                          <p:spTgt spid="220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200">
                                            <p:txEl>
                                              <p:pRg st="1" end="1"/>
                                            </p:txEl>
                                          </p:spTgt>
                                        </p:tgtEl>
                                        <p:attrNameLst>
                                          <p:attrName>style.visibility</p:attrName>
                                        </p:attrNameLst>
                                      </p:cBhvr>
                                      <p:to>
                                        <p:strVal val="visible"/>
                                      </p:to>
                                    </p:set>
                                    <p:animEffect transition="in" filter="wipe(down)">
                                      <p:cBhvr>
                                        <p:cTn id="12" dur="500"/>
                                        <p:tgtEl>
                                          <p:spTgt spid="220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2200">
                                            <p:txEl>
                                              <p:pRg st="2" end="2"/>
                                            </p:txEl>
                                          </p:spTgt>
                                        </p:tgtEl>
                                        <p:attrNameLst>
                                          <p:attrName>style.visibility</p:attrName>
                                        </p:attrNameLst>
                                      </p:cBhvr>
                                      <p:to>
                                        <p:strVal val="visible"/>
                                      </p:to>
                                    </p:set>
                                    <p:animEffect transition="in" filter="wipe(down)">
                                      <p:cBhvr>
                                        <p:cTn id="17" dur="500"/>
                                        <p:tgtEl>
                                          <p:spTgt spid="220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2200">
                                            <p:txEl>
                                              <p:pRg st="3" end="3"/>
                                            </p:txEl>
                                          </p:spTgt>
                                        </p:tgtEl>
                                        <p:attrNameLst>
                                          <p:attrName>style.visibility</p:attrName>
                                        </p:attrNameLst>
                                      </p:cBhvr>
                                      <p:to>
                                        <p:strVal val="visible"/>
                                      </p:to>
                                    </p:set>
                                    <p:animEffect transition="in" filter="wipe(down)">
                                      <p:cBhvr>
                                        <p:cTn id="22" dur="500"/>
                                        <p:tgtEl>
                                          <p:spTgt spid="220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2200">
                                            <p:txEl>
                                              <p:pRg st="4" end="4"/>
                                            </p:txEl>
                                          </p:spTgt>
                                        </p:tgtEl>
                                        <p:attrNameLst>
                                          <p:attrName>style.visibility</p:attrName>
                                        </p:attrNameLst>
                                      </p:cBhvr>
                                      <p:to>
                                        <p:strVal val="visible"/>
                                      </p:to>
                                    </p:set>
                                    <p:animEffect transition="in" filter="wipe(down)">
                                      <p:cBhvr>
                                        <p:cTn id="27" dur="500"/>
                                        <p:tgtEl>
                                          <p:spTgt spid="220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2200">
                                            <p:txEl>
                                              <p:pRg st="5" end="5"/>
                                            </p:txEl>
                                          </p:spTgt>
                                        </p:tgtEl>
                                        <p:attrNameLst>
                                          <p:attrName>style.visibility</p:attrName>
                                        </p:attrNameLst>
                                      </p:cBhvr>
                                      <p:to>
                                        <p:strVal val="visible"/>
                                      </p:to>
                                    </p:set>
                                    <p:animEffect transition="in" filter="wipe(down)">
                                      <p:cBhvr>
                                        <p:cTn id="32" dur="500"/>
                                        <p:tgtEl>
                                          <p:spTgt spid="220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00"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154"/>
        <p:cNvGrpSpPr/>
        <p:nvPr/>
      </p:nvGrpSpPr>
      <p:grpSpPr>
        <a:xfrm>
          <a:off x="0" y="0"/>
          <a:ext cx="0" cy="0"/>
          <a:chOff x="0" y="0"/>
          <a:chExt cx="0" cy="0"/>
        </a:xfrm>
      </p:grpSpPr>
      <p:sp>
        <p:nvSpPr>
          <p:cNvPr id="2156" name="Google Shape;2156;p38"/>
          <p:cNvSpPr txBox="1">
            <a:spLocks noGrp="1"/>
          </p:cNvSpPr>
          <p:nvPr>
            <p:ph type="title" idx="2"/>
          </p:nvPr>
        </p:nvSpPr>
        <p:spPr>
          <a:xfrm>
            <a:off x="4696691" y="870343"/>
            <a:ext cx="2967600" cy="1069800"/>
          </a:xfrm>
          <a:prstGeom prst="rect">
            <a:avLst/>
          </a:prstGeom>
        </p:spPr>
        <p:txBody>
          <a:bodyPr spcFirstLastPara="1" wrap="square" lIns="91421" tIns="91421" rIns="91421" bIns="91421" anchor="ctr" anchorCtr="0">
            <a:noAutofit/>
          </a:bodyPr>
          <a:lstStyle/>
          <a:p>
            <a:r>
              <a:rPr lang="en" dirty="0" smtClean="0"/>
              <a:t>03</a:t>
            </a:r>
            <a:endParaRPr dirty="0"/>
          </a:p>
        </p:txBody>
      </p:sp>
      <p:sp>
        <p:nvSpPr>
          <p:cNvPr id="4" name="Google Shape;2142;p37"/>
          <p:cNvSpPr txBox="1">
            <a:spLocks noGrp="1"/>
          </p:cNvSpPr>
          <p:nvPr>
            <p:ph type="subTitle" idx="1"/>
          </p:nvPr>
        </p:nvSpPr>
        <p:spPr>
          <a:xfrm>
            <a:off x="3692537" y="2409234"/>
            <a:ext cx="3200400" cy="685800"/>
          </a:xfrm>
          <a:prstGeom prst="rect">
            <a:avLst/>
          </a:prstGeom>
        </p:spPr>
        <p:txBody>
          <a:bodyPr spcFirstLastPara="1" wrap="square" lIns="91421" tIns="91421" rIns="91421" bIns="91421" anchor="t" anchorCtr="0">
            <a:noAutofit/>
          </a:bodyPr>
          <a:lstStyle/>
          <a:p>
            <a:pPr>
              <a:buClr>
                <a:schemeClr val="dk1"/>
              </a:buClr>
              <a:buSzPts val="1100"/>
            </a:pPr>
            <a:r>
              <a:rPr lang="vi-VN" sz="3225" dirty="0"/>
              <a:t>Mục đích của việc xác định dữ liệu</a:t>
            </a:r>
          </a:p>
          <a:p>
            <a:pPr>
              <a:buClr>
                <a:schemeClr val="dk1"/>
              </a:buClr>
              <a:buSzPts val="1100"/>
            </a:pPr>
            <a:endParaRPr sz="2925" b="1" i="1" dirty="0"/>
          </a:p>
        </p:txBody>
      </p:sp>
    </p:spTree>
    <p:extLst>
      <p:ext uri="{BB962C8B-B14F-4D97-AF65-F5344CB8AC3E}">
        <p14:creationId xmlns:p14="http://schemas.microsoft.com/office/powerpoint/2010/main" val="143670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56"/>
                                        </p:tgtEl>
                                        <p:attrNameLst>
                                          <p:attrName>style.visibility</p:attrName>
                                        </p:attrNameLst>
                                      </p:cBhvr>
                                      <p:to>
                                        <p:strVal val="visible"/>
                                      </p:to>
                                    </p:set>
                                    <p:animEffect transition="in" filter="barn(inVertical)">
                                      <p:cBhvr>
                                        <p:cTn id="7" dur="500"/>
                                        <p:tgtEl>
                                          <p:spTgt spid="215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barn(inVertical)">
                                      <p:cBhvr>
                                        <p:cTn id="12"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6" grpId="0"/>
      <p:bldP spid="4"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223"/>
        <p:cNvGrpSpPr/>
        <p:nvPr/>
      </p:nvGrpSpPr>
      <p:grpSpPr>
        <a:xfrm>
          <a:off x="0" y="0"/>
          <a:ext cx="0" cy="0"/>
          <a:chOff x="0" y="0"/>
          <a:chExt cx="0" cy="0"/>
        </a:xfrm>
      </p:grpSpPr>
      <p:sp>
        <p:nvSpPr>
          <p:cNvPr id="2226" name="Google Shape;2226;p41"/>
          <p:cNvSpPr txBox="1">
            <a:spLocks noGrp="1"/>
          </p:cNvSpPr>
          <p:nvPr>
            <p:ph type="subTitle" idx="2"/>
          </p:nvPr>
        </p:nvSpPr>
        <p:spPr>
          <a:xfrm>
            <a:off x="1763689" y="1700784"/>
            <a:ext cx="6336704" cy="759000"/>
          </a:xfrm>
          <a:prstGeom prst="rect">
            <a:avLst/>
          </a:prstGeom>
        </p:spPr>
        <p:txBody>
          <a:bodyPr spcFirstLastPara="1" wrap="square" lIns="91421" tIns="91421" rIns="91421" bIns="91421" anchor="t" anchorCtr="0">
            <a:noAutofit/>
          </a:bodyPr>
          <a:lstStyle/>
          <a:p>
            <a:pPr lvl="0"/>
            <a:r>
              <a:rPr lang="vi-VN" sz="2175"/>
              <a:t>• Hạn chế việc lãng phí dung lượng lưu trữ dữ liệu. </a:t>
            </a:r>
            <a:br>
              <a:rPr lang="vi-VN" sz="2175"/>
            </a:br>
            <a:endParaRPr sz="2175"/>
          </a:p>
        </p:txBody>
      </p:sp>
      <p:sp>
        <p:nvSpPr>
          <p:cNvPr id="2230" name="Google Shape;2230;p41"/>
          <p:cNvSpPr txBox="1">
            <a:spLocks noGrp="1"/>
          </p:cNvSpPr>
          <p:nvPr>
            <p:ph type="subTitle" idx="6"/>
          </p:nvPr>
        </p:nvSpPr>
        <p:spPr>
          <a:xfrm>
            <a:off x="1763688" y="3147814"/>
            <a:ext cx="6840760" cy="759000"/>
          </a:xfrm>
          <a:prstGeom prst="rect">
            <a:avLst/>
          </a:prstGeom>
        </p:spPr>
        <p:txBody>
          <a:bodyPr spcFirstLastPara="1" wrap="square" lIns="91421" tIns="91421" rIns="91421" bIns="91421" anchor="t" anchorCtr="0">
            <a:noAutofit/>
          </a:bodyPr>
          <a:lstStyle/>
          <a:p>
            <a:r>
              <a:rPr lang="vi-VN" sz="2175"/>
              <a:t>• Kiểm soát tính đúng đắn về lôgic của dữ liệu được nhập vào bảng. Chẳng hạn sẽ không thể nhập các kí tự dạng chữ vào trường sbd, không thể nhập giá trị số vào trường ngaysinh....</a:t>
            </a:r>
          </a:p>
          <a:p>
            <a:r>
              <a:rPr lang="vi-VN" sz="2175"/>
              <a:t/>
            </a:r>
            <a:br>
              <a:rPr lang="vi-VN" sz="2175"/>
            </a:br>
            <a:endParaRPr sz="2175"/>
          </a:p>
        </p:txBody>
      </p:sp>
      <p:sp>
        <p:nvSpPr>
          <p:cNvPr id="2233" name="Google Shape;2233;p41"/>
          <p:cNvSpPr txBox="1"/>
          <p:nvPr/>
        </p:nvSpPr>
        <p:spPr>
          <a:xfrm>
            <a:off x="154877" y="1700784"/>
            <a:ext cx="2088261" cy="1079100"/>
          </a:xfrm>
          <a:prstGeom prst="rect">
            <a:avLst/>
          </a:prstGeom>
          <a:noFill/>
          <a:ln>
            <a:noFill/>
          </a:ln>
        </p:spPr>
        <p:txBody>
          <a:bodyPr spcFirstLastPara="1" wrap="square" lIns="91421" tIns="91421" rIns="91421" bIns="91421" anchor="b" anchorCtr="0">
            <a:noAutofit/>
          </a:bodyPr>
          <a:lstStyle/>
          <a:p>
            <a:pPr algn="ctr">
              <a:buClr>
                <a:srgbClr val="000000"/>
              </a:buClr>
              <a:buFont typeface="Arial"/>
              <a:buNone/>
            </a:pPr>
            <a:r>
              <a:rPr lang="en" sz="7200">
                <a:solidFill>
                  <a:srgbClr val="77C6FC"/>
                </a:solidFill>
                <a:latin typeface="Fjalla One"/>
                <a:ea typeface="Fjalla One"/>
                <a:cs typeface="Fjalla One"/>
                <a:sym typeface="Fjalla One"/>
              </a:rPr>
              <a:t>01</a:t>
            </a:r>
            <a:endParaRPr sz="7200">
              <a:solidFill>
                <a:srgbClr val="77C6FC"/>
              </a:solidFill>
              <a:latin typeface="Fjalla One"/>
              <a:ea typeface="Fjalla One"/>
              <a:cs typeface="Fjalla One"/>
              <a:sym typeface="Fjalla One"/>
            </a:endParaRPr>
          </a:p>
        </p:txBody>
      </p:sp>
      <p:sp>
        <p:nvSpPr>
          <p:cNvPr id="2234" name="Google Shape;2234;p41"/>
          <p:cNvSpPr txBox="1"/>
          <p:nvPr/>
        </p:nvSpPr>
        <p:spPr>
          <a:xfrm>
            <a:off x="-202311" y="3209528"/>
            <a:ext cx="2802636" cy="1074900"/>
          </a:xfrm>
          <a:prstGeom prst="rect">
            <a:avLst/>
          </a:prstGeom>
          <a:noFill/>
          <a:ln>
            <a:noFill/>
          </a:ln>
        </p:spPr>
        <p:txBody>
          <a:bodyPr spcFirstLastPara="1" wrap="square" lIns="91421" tIns="91421" rIns="91421" bIns="91421" anchor="b" anchorCtr="0">
            <a:noAutofit/>
          </a:bodyPr>
          <a:lstStyle/>
          <a:p>
            <a:pPr algn="ctr">
              <a:buClr>
                <a:srgbClr val="000000"/>
              </a:buClr>
              <a:buFont typeface="Arial"/>
              <a:buNone/>
            </a:pPr>
            <a:r>
              <a:rPr lang="en" sz="7200">
                <a:solidFill>
                  <a:srgbClr val="77C6FC"/>
                </a:solidFill>
                <a:latin typeface="Fjalla One"/>
                <a:ea typeface="Fjalla One"/>
                <a:cs typeface="Fjalla One"/>
                <a:sym typeface="Fjalla One"/>
              </a:rPr>
              <a:t>02</a:t>
            </a:r>
            <a:endParaRPr sz="7200">
              <a:solidFill>
                <a:srgbClr val="77C6FC"/>
              </a:solidFill>
              <a:latin typeface="Fjalla One"/>
              <a:ea typeface="Fjalla One"/>
              <a:cs typeface="Fjalla One"/>
              <a:sym typeface="Fjalla One"/>
            </a:endParaRPr>
          </a:p>
        </p:txBody>
      </p:sp>
    </p:spTree>
    <p:extLst>
      <p:ext uri="{BB962C8B-B14F-4D97-AF65-F5344CB8AC3E}">
        <p14:creationId xmlns:p14="http://schemas.microsoft.com/office/powerpoint/2010/main" val="2234397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233"/>
                                        </p:tgtEl>
                                        <p:attrNameLst>
                                          <p:attrName>style.visibility</p:attrName>
                                        </p:attrNameLst>
                                      </p:cBhvr>
                                      <p:to>
                                        <p:strVal val="visible"/>
                                      </p:to>
                                    </p:set>
                                    <p:animEffect transition="in" filter="barn(inVertical)">
                                      <p:cBhvr>
                                        <p:cTn id="7" dur="500"/>
                                        <p:tgtEl>
                                          <p:spTgt spid="223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226">
                                            <p:txEl>
                                              <p:pRg st="0" end="0"/>
                                            </p:txEl>
                                          </p:spTgt>
                                        </p:tgtEl>
                                        <p:attrNameLst>
                                          <p:attrName>style.visibility</p:attrName>
                                        </p:attrNameLst>
                                      </p:cBhvr>
                                      <p:to>
                                        <p:strVal val="visible"/>
                                      </p:to>
                                    </p:set>
                                    <p:animEffect transition="in" filter="barn(inVertical)">
                                      <p:cBhvr>
                                        <p:cTn id="10" dur="500"/>
                                        <p:tgtEl>
                                          <p:spTgt spid="222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2234"/>
                                        </p:tgtEl>
                                        <p:attrNameLst>
                                          <p:attrName>style.visibility</p:attrName>
                                        </p:attrNameLst>
                                      </p:cBhvr>
                                      <p:to>
                                        <p:strVal val="visible"/>
                                      </p:to>
                                    </p:set>
                                    <p:animEffect transition="in" filter="barn(inVertical)">
                                      <p:cBhvr>
                                        <p:cTn id="15" dur="500"/>
                                        <p:tgtEl>
                                          <p:spTgt spid="2234"/>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2230">
                                            <p:txEl>
                                              <p:pRg st="0" end="0"/>
                                            </p:txEl>
                                          </p:spTgt>
                                        </p:tgtEl>
                                        <p:attrNameLst>
                                          <p:attrName>style.visibility</p:attrName>
                                        </p:attrNameLst>
                                      </p:cBhvr>
                                      <p:to>
                                        <p:strVal val="visible"/>
                                      </p:to>
                                    </p:set>
                                    <p:animEffect transition="in" filter="barn(inVertical)">
                                      <p:cBhvr>
                                        <p:cTn id="18" dur="500"/>
                                        <p:tgtEl>
                                          <p:spTgt spid="2230">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2230">
                                            <p:txEl>
                                              <p:pRg st="1" end="1"/>
                                            </p:txEl>
                                          </p:spTgt>
                                        </p:tgtEl>
                                        <p:attrNameLst>
                                          <p:attrName>style.visibility</p:attrName>
                                        </p:attrNameLst>
                                      </p:cBhvr>
                                      <p:to>
                                        <p:strVal val="visible"/>
                                      </p:to>
                                    </p:set>
                                    <p:animEffect transition="in" filter="barn(inVertical)">
                                      <p:cBhvr>
                                        <p:cTn id="23" dur="500"/>
                                        <p:tgtEl>
                                          <p:spTgt spid="223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26" grpId="0" build="p"/>
      <p:bldP spid="2230" grpId="0" build="p"/>
      <p:bldP spid="2233" grpId="0"/>
      <p:bldP spid="223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154"/>
        <p:cNvGrpSpPr/>
        <p:nvPr/>
      </p:nvGrpSpPr>
      <p:grpSpPr>
        <a:xfrm>
          <a:off x="0" y="0"/>
          <a:ext cx="0" cy="0"/>
          <a:chOff x="0" y="0"/>
          <a:chExt cx="0" cy="0"/>
        </a:xfrm>
      </p:grpSpPr>
      <p:sp>
        <p:nvSpPr>
          <p:cNvPr id="2156" name="Google Shape;2156;p38"/>
          <p:cNvSpPr txBox="1">
            <a:spLocks noGrp="1"/>
          </p:cNvSpPr>
          <p:nvPr>
            <p:ph type="title" idx="2"/>
          </p:nvPr>
        </p:nvSpPr>
        <p:spPr>
          <a:xfrm>
            <a:off x="623454" y="1586532"/>
            <a:ext cx="2967600" cy="1069800"/>
          </a:xfrm>
          <a:prstGeom prst="rect">
            <a:avLst/>
          </a:prstGeom>
        </p:spPr>
        <p:txBody>
          <a:bodyPr spcFirstLastPara="1" wrap="square" lIns="91421" tIns="91421" rIns="91421" bIns="91421" anchor="ctr" anchorCtr="0">
            <a:noAutofit/>
          </a:bodyPr>
          <a:lstStyle/>
          <a:p>
            <a:r>
              <a:rPr lang="en" dirty="0" smtClean="0"/>
              <a:t>04</a:t>
            </a:r>
            <a:endParaRPr dirty="0"/>
          </a:p>
        </p:txBody>
      </p:sp>
      <p:sp>
        <p:nvSpPr>
          <p:cNvPr id="5" name="Google Shape;2146;p37"/>
          <p:cNvSpPr txBox="1">
            <a:spLocks noGrp="1"/>
          </p:cNvSpPr>
          <p:nvPr>
            <p:ph type="subTitle" idx="1"/>
          </p:nvPr>
        </p:nvSpPr>
        <p:spPr>
          <a:xfrm>
            <a:off x="4246112" y="1056132"/>
            <a:ext cx="3200400" cy="685800"/>
          </a:xfrm>
          <a:prstGeom prst="rect">
            <a:avLst/>
          </a:prstGeom>
        </p:spPr>
        <p:txBody>
          <a:bodyPr spcFirstLastPara="1" wrap="square" lIns="91421" tIns="91421" rIns="91421" bIns="91421" anchor="t" anchorCtr="0">
            <a:noAutofit/>
          </a:bodyPr>
          <a:lstStyle/>
          <a:p>
            <a:pPr>
              <a:buClr>
                <a:schemeClr val="dk1"/>
              </a:buClr>
              <a:buSzPts val="1100"/>
            </a:pPr>
            <a:r>
              <a:rPr lang="en" sz="2775" b="1" i="1" dirty="0"/>
              <a:t>ví dụ và kiểu dữ liệu tương ứng</a:t>
            </a:r>
            <a:endParaRPr sz="2775" b="1" i="1" dirty="0"/>
          </a:p>
        </p:txBody>
      </p:sp>
    </p:spTree>
    <p:extLst>
      <p:ext uri="{BB962C8B-B14F-4D97-AF65-F5344CB8AC3E}">
        <p14:creationId xmlns:p14="http://schemas.microsoft.com/office/powerpoint/2010/main" val="3899394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56"/>
                                        </p:tgtEl>
                                        <p:attrNameLst>
                                          <p:attrName>style.visibility</p:attrName>
                                        </p:attrNameLst>
                                      </p:cBhvr>
                                      <p:to>
                                        <p:strVal val="visible"/>
                                      </p:to>
                                    </p:set>
                                    <p:animEffect transition="in" filter="barn(inVertical)">
                                      <p:cBhvr>
                                        <p:cTn id="7" dur="500"/>
                                        <p:tgtEl>
                                          <p:spTgt spid="215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barn(inVertical)">
                                      <p:cBhvr>
                                        <p:cTn id="12"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6" grpId="0"/>
      <p:bldP spid="5"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240"/>
        <p:cNvGrpSpPr/>
        <p:nvPr/>
      </p:nvGrpSpPr>
      <p:grpSpPr>
        <a:xfrm>
          <a:off x="0" y="0"/>
          <a:ext cx="0" cy="0"/>
          <a:chOff x="0" y="0"/>
          <a:chExt cx="0" cy="0"/>
        </a:xfrm>
      </p:grpSpPr>
      <p:sp>
        <p:nvSpPr>
          <p:cNvPr id="2241" name="Google Shape;2241;p42"/>
          <p:cNvSpPr txBox="1">
            <a:spLocks noGrp="1"/>
          </p:cNvSpPr>
          <p:nvPr>
            <p:ph type="title"/>
          </p:nvPr>
        </p:nvSpPr>
        <p:spPr>
          <a:xfrm>
            <a:off x="1823475" y="338328"/>
            <a:ext cx="5496900" cy="572700"/>
          </a:xfrm>
          <a:prstGeom prst="rect">
            <a:avLst/>
          </a:prstGeom>
        </p:spPr>
        <p:txBody>
          <a:bodyPr spcFirstLastPara="1" wrap="square" lIns="91421" tIns="91421" rIns="91421" bIns="91421" anchor="t" anchorCtr="0">
            <a:noAutofit/>
          </a:bodyPr>
          <a:lstStyle/>
          <a:p>
            <a:r>
              <a:rPr lang="en" smtClean="0"/>
              <a:t>THÔNG TIN CỦA MỘT NHÓM SINH VIÊN</a:t>
            </a:r>
            <a:endParaRPr/>
          </a:p>
        </p:txBody>
      </p:sp>
      <p:graphicFrame>
        <p:nvGraphicFramePr>
          <p:cNvPr id="2242" name="Google Shape;2242;p42"/>
          <p:cNvGraphicFramePr/>
          <p:nvPr>
            <p:extLst/>
          </p:nvPr>
        </p:nvGraphicFramePr>
        <p:xfrm>
          <a:off x="1843877" y="1493260"/>
          <a:ext cx="4403295" cy="2689530"/>
        </p:xfrm>
        <a:graphic>
          <a:graphicData uri="http://schemas.openxmlformats.org/drawingml/2006/table">
            <a:tbl>
              <a:tblPr>
                <a:tableStyleId>{08FB837D-C827-4EFA-A057-4D05807E0F7C}</a:tableStyleId>
              </a:tblPr>
              <a:tblGrid>
                <a:gridCol w="765066">
                  <a:extLst>
                    <a:ext uri="{9D8B030D-6E8A-4147-A177-3AD203B41FA5}">
                      <a16:colId xmlns:a16="http://schemas.microsoft.com/office/drawing/2014/main" val="20000"/>
                    </a:ext>
                  </a:extLst>
                </a:gridCol>
                <a:gridCol w="1254575">
                  <a:extLst>
                    <a:ext uri="{9D8B030D-6E8A-4147-A177-3AD203B41FA5}">
                      <a16:colId xmlns:a16="http://schemas.microsoft.com/office/drawing/2014/main" val="20001"/>
                    </a:ext>
                  </a:extLst>
                </a:gridCol>
                <a:gridCol w="1091250">
                  <a:extLst>
                    <a:ext uri="{9D8B030D-6E8A-4147-A177-3AD203B41FA5}">
                      <a16:colId xmlns:a16="http://schemas.microsoft.com/office/drawing/2014/main" val="20002"/>
                    </a:ext>
                  </a:extLst>
                </a:gridCol>
                <a:gridCol w="1084154">
                  <a:extLst>
                    <a:ext uri="{9D8B030D-6E8A-4147-A177-3AD203B41FA5}">
                      <a16:colId xmlns:a16="http://schemas.microsoft.com/office/drawing/2014/main" val="20003"/>
                    </a:ext>
                  </a:extLst>
                </a:gridCol>
                <a:gridCol w="208250">
                  <a:extLst>
                    <a:ext uri="{9D8B030D-6E8A-4147-A177-3AD203B41FA5}">
                      <a16:colId xmlns:a16="http://schemas.microsoft.com/office/drawing/2014/main" val="20004"/>
                    </a:ext>
                  </a:extLst>
                </a:gridCol>
              </a:tblGrid>
              <a:tr h="670530">
                <a:tc>
                  <a:txBody>
                    <a:bodyPr/>
                    <a:lstStyle/>
                    <a:p>
                      <a:pPr marL="0" lvl="0" indent="0" algn="ctr" rtl="0">
                        <a:spcBef>
                          <a:spcPts val="0"/>
                        </a:spcBef>
                        <a:spcAft>
                          <a:spcPts val="0"/>
                        </a:spcAft>
                        <a:buNone/>
                      </a:pPr>
                      <a:r>
                        <a:rPr lang="en-US" sz="1900" smtClean="0">
                          <a:sym typeface="Barlow Semi Condensed Medium"/>
                        </a:rPr>
                        <a:t>TÊN</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ctr" rtl="0">
                        <a:spcBef>
                          <a:spcPts val="0"/>
                        </a:spcBef>
                        <a:spcAft>
                          <a:spcPts val="0"/>
                        </a:spcAft>
                        <a:buNone/>
                      </a:pPr>
                      <a:r>
                        <a:rPr lang="en" sz="1600" smtClean="0">
                          <a:sym typeface="Barlow Semi Condensed Medium"/>
                        </a:rPr>
                        <a:t>TUỔI</a:t>
                      </a:r>
                      <a:endParaRPr sz="1600">
                        <a:solidFill>
                          <a:schemeClr val="dk2"/>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ctr" rtl="0">
                        <a:spcBef>
                          <a:spcPts val="0"/>
                        </a:spcBef>
                        <a:spcAft>
                          <a:spcPts val="0"/>
                        </a:spcAft>
                        <a:buNone/>
                      </a:pPr>
                      <a:r>
                        <a:rPr lang="en" sz="1600" smtClean="0">
                          <a:sym typeface="Barlow Semi Condensed Medium"/>
                        </a:rPr>
                        <a:t>GIỚI</a:t>
                      </a:r>
                      <a:r>
                        <a:rPr lang="en" sz="1600" baseline="0" smtClean="0">
                          <a:sym typeface="Barlow Semi Condensed Medium"/>
                        </a:rPr>
                        <a:t> TÍNH</a:t>
                      </a:r>
                      <a:endParaRPr sz="1600">
                        <a:solidFill>
                          <a:schemeClr val="dk2"/>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ctr" rtl="0">
                        <a:spcBef>
                          <a:spcPts val="0"/>
                        </a:spcBef>
                        <a:spcAft>
                          <a:spcPts val="0"/>
                        </a:spcAft>
                        <a:buNone/>
                      </a:pPr>
                      <a:r>
                        <a:rPr lang="en" sz="1600" smtClean="0">
                          <a:sym typeface="Barlow Semi Condensed Medium"/>
                        </a:rPr>
                        <a:t>ĐIỂM</a:t>
                      </a:r>
                      <a:r>
                        <a:rPr lang="en" sz="1600" baseline="0" smtClean="0">
                          <a:sym typeface="Barlow Semi Condensed Medium"/>
                        </a:rPr>
                        <a:t> SỐ</a:t>
                      </a:r>
                      <a:endParaRPr sz="1600">
                        <a:solidFill>
                          <a:schemeClr val="dk2"/>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ctr" rtl="0">
                        <a:spcBef>
                          <a:spcPts val="0"/>
                        </a:spcBef>
                        <a:spcAft>
                          <a:spcPts val="0"/>
                        </a:spcAft>
                        <a:buNone/>
                      </a:pPr>
                      <a:endParaRPr sz="1600">
                        <a:solidFill>
                          <a:schemeClr val="dk2"/>
                        </a:solidFill>
                        <a:latin typeface="Barlow Semi Condensed Medium"/>
                        <a:ea typeface="Barlow Semi Condensed Medium"/>
                        <a:cs typeface="Barlow Semi Condensed Medium"/>
                        <a:sym typeface="Barlow Semi Condensed Medium"/>
                      </a:endParaRPr>
                    </a:p>
                  </a:txBody>
                  <a:tcPr marL="91425" marR="91425" marT="91425" marB="91425" anchor="ctr"/>
                </a:tc>
                <a:extLst>
                  <a:ext uri="{0D108BD9-81ED-4DB2-BD59-A6C34878D82A}">
                    <a16:rowId xmlns:a16="http://schemas.microsoft.com/office/drawing/2014/main" val="10000"/>
                  </a:ext>
                </a:extLst>
              </a:tr>
              <a:tr h="504750">
                <a:tc>
                  <a:txBody>
                    <a:bodyPr/>
                    <a:lstStyle/>
                    <a:p>
                      <a:pPr marL="0" lvl="0" indent="0" algn="l" rtl="0">
                        <a:spcBef>
                          <a:spcPts val="0"/>
                        </a:spcBef>
                        <a:spcAft>
                          <a:spcPts val="0"/>
                        </a:spcAft>
                        <a:buNone/>
                      </a:pPr>
                      <a:r>
                        <a:rPr lang="en-US" sz="1900" smtClean="0">
                          <a:sym typeface="Barlow Semi Condensed Medium"/>
                        </a:rPr>
                        <a:t>Minh</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20</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Nam</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8.5</a:t>
                      </a:r>
                      <a:endParaRPr lang="en-US" sz="1900" smtClean="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extLst>
                  <a:ext uri="{0D108BD9-81ED-4DB2-BD59-A6C34878D82A}">
                    <a16:rowId xmlns:a16="http://schemas.microsoft.com/office/drawing/2014/main" val="10001"/>
                  </a:ext>
                </a:extLst>
              </a:tr>
              <a:tr h="504750">
                <a:tc>
                  <a:txBody>
                    <a:bodyPr/>
                    <a:lstStyle/>
                    <a:p>
                      <a:pPr marL="0" lvl="0" indent="0" algn="l" rtl="0">
                        <a:spcBef>
                          <a:spcPts val="0"/>
                        </a:spcBef>
                        <a:spcAft>
                          <a:spcPts val="0"/>
                        </a:spcAft>
                        <a:buNone/>
                      </a:pPr>
                      <a:r>
                        <a:rPr lang="en-US" sz="1900" smtClean="0">
                          <a:sym typeface="Barlow Semi Condensed Medium"/>
                        </a:rPr>
                        <a:t>Lan</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22</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Nữ</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7,9</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extLst>
                  <a:ext uri="{0D108BD9-81ED-4DB2-BD59-A6C34878D82A}">
                    <a16:rowId xmlns:a16="http://schemas.microsoft.com/office/drawing/2014/main" val="10002"/>
                  </a:ext>
                </a:extLst>
              </a:tr>
              <a:tr h="504750">
                <a:tc>
                  <a:txBody>
                    <a:bodyPr/>
                    <a:lstStyle/>
                    <a:p>
                      <a:pPr marL="0" lvl="0" indent="0" algn="l" rtl="0">
                        <a:spcBef>
                          <a:spcPts val="0"/>
                        </a:spcBef>
                        <a:spcAft>
                          <a:spcPts val="0"/>
                        </a:spcAft>
                        <a:buNone/>
                      </a:pPr>
                      <a:r>
                        <a:rPr lang="en-US" sz="1900" smtClean="0">
                          <a:sym typeface="Barlow Semi Condensed Medium"/>
                        </a:rPr>
                        <a:t>Hải</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19</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Nam</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9,2</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extLst>
                  <a:ext uri="{0D108BD9-81ED-4DB2-BD59-A6C34878D82A}">
                    <a16:rowId xmlns:a16="http://schemas.microsoft.com/office/drawing/2014/main" val="10003"/>
                  </a:ext>
                </a:extLst>
              </a:tr>
              <a:tr h="504750">
                <a:tc>
                  <a:txBody>
                    <a:bodyPr/>
                    <a:lstStyle/>
                    <a:p>
                      <a:pPr marL="0" lvl="0" indent="0" algn="l" rtl="0">
                        <a:spcBef>
                          <a:spcPts val="0"/>
                        </a:spcBef>
                        <a:spcAft>
                          <a:spcPts val="0"/>
                        </a:spcAft>
                        <a:buNone/>
                      </a:pPr>
                      <a:r>
                        <a:rPr lang="en-US" sz="1900" smtClean="0">
                          <a:sym typeface="Barlow Semi Condensed Medium"/>
                        </a:rPr>
                        <a:t>Linh</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21</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Nữ</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r>
                        <a:rPr lang="en-US" sz="1900" smtClean="0">
                          <a:sym typeface="Barlow Semi Condensed Medium"/>
                        </a:rPr>
                        <a:t>6,7</a:t>
                      </a: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tc>
                  <a:txBody>
                    <a:bodyPr/>
                    <a:lstStyle/>
                    <a:p>
                      <a:pPr marL="0" lvl="0" indent="0" algn="l" rtl="0">
                        <a:spcBef>
                          <a:spcPts val="0"/>
                        </a:spcBef>
                        <a:spcAft>
                          <a:spcPts val="0"/>
                        </a:spcAft>
                        <a:buNone/>
                      </a:pPr>
                      <a:endParaRPr sz="1900">
                        <a:solidFill>
                          <a:srgbClr val="595959"/>
                        </a:solidFill>
                        <a:latin typeface="Barlow Semi Condensed Medium"/>
                        <a:ea typeface="Barlow Semi Condensed Medium"/>
                        <a:cs typeface="Barlow Semi Condensed Medium"/>
                        <a:sym typeface="Barlow Semi Condensed Medium"/>
                      </a:endParaRPr>
                    </a:p>
                  </a:txBody>
                  <a:tcPr marL="91425" marR="91425" marT="91425" marB="91425"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66888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241"/>
                                        </p:tgtEl>
                                        <p:attrNameLst>
                                          <p:attrName>style.visibility</p:attrName>
                                        </p:attrNameLst>
                                      </p:cBhvr>
                                      <p:to>
                                        <p:strVal val="visible"/>
                                      </p:to>
                                    </p:set>
                                    <p:animEffect transition="in" filter="barn(inVertical)">
                                      <p:cBhvr>
                                        <p:cTn id="7" dur="500"/>
                                        <p:tgtEl>
                                          <p:spTgt spid="2241"/>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2242"/>
                                        </p:tgtEl>
                                        <p:attrNameLst>
                                          <p:attrName>style.visibility</p:attrName>
                                        </p:attrNameLst>
                                      </p:cBhvr>
                                      <p:to>
                                        <p:strVal val="visible"/>
                                      </p:to>
                                    </p:set>
                                    <p:animEffect transition="in" filter="barn(inVertical)">
                                      <p:cBhvr>
                                        <p:cTn id="12" dur="500"/>
                                        <p:tgtEl>
                                          <p:spTgt spid="2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4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619"/>
        <p:cNvGrpSpPr/>
        <p:nvPr/>
      </p:nvGrpSpPr>
      <p:grpSpPr>
        <a:xfrm>
          <a:off x="0" y="0"/>
          <a:ext cx="0" cy="0"/>
          <a:chOff x="0" y="0"/>
          <a:chExt cx="0" cy="0"/>
        </a:xfrm>
      </p:grpSpPr>
      <p:grpSp>
        <p:nvGrpSpPr>
          <p:cNvPr id="2626" name="Google Shape;2626;p47"/>
          <p:cNvGrpSpPr/>
          <p:nvPr/>
        </p:nvGrpSpPr>
        <p:grpSpPr>
          <a:xfrm>
            <a:off x="1837067" y="108072"/>
            <a:ext cx="5983065" cy="4943476"/>
            <a:chOff x="2771600" y="526920"/>
            <a:chExt cx="3480300" cy="1145100"/>
          </a:xfrm>
        </p:grpSpPr>
        <p:sp>
          <p:nvSpPr>
            <p:cNvPr id="2627" name="Google Shape;2627;p47"/>
            <p:cNvSpPr/>
            <p:nvPr/>
          </p:nvSpPr>
          <p:spPr>
            <a:xfrm>
              <a:off x="2771600" y="526920"/>
              <a:ext cx="3480300" cy="1145100"/>
            </a:xfrm>
            <a:prstGeom prst="roundRect">
              <a:avLst>
                <a:gd name="adj" fmla="val 16667"/>
              </a:avLst>
            </a:prstGeom>
            <a:solidFill>
              <a:schemeClr val="accent1"/>
            </a:solidFill>
            <a:ln w="9525" cap="flat" cmpd="sng">
              <a:solidFill>
                <a:schemeClr val="dk1"/>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sp>
          <p:nvSpPr>
            <p:cNvPr id="2628" name="Google Shape;2628;p47"/>
            <p:cNvSpPr/>
            <p:nvPr/>
          </p:nvSpPr>
          <p:spPr>
            <a:xfrm>
              <a:off x="2849650" y="606775"/>
              <a:ext cx="3324000" cy="985500"/>
            </a:xfrm>
            <a:prstGeom prst="roundRect">
              <a:avLst>
                <a:gd name="adj" fmla="val 16667"/>
              </a:avLst>
            </a:prstGeom>
            <a:solidFill>
              <a:srgbClr val="FFFFFF"/>
            </a:solidFill>
            <a:ln w="9525" cap="flat" cmpd="sng">
              <a:solidFill>
                <a:schemeClr val="dk1"/>
              </a:solidFill>
              <a:prstDash val="solid"/>
              <a:round/>
              <a:headEnd type="none" w="sm" len="sm"/>
              <a:tailEnd type="none" w="sm" len="sm"/>
            </a:ln>
          </p:spPr>
          <p:txBody>
            <a:bodyPr spcFirstLastPara="1" wrap="square" lIns="68569" tIns="68569" rIns="68569" bIns="68569" anchor="ctr" anchorCtr="0">
              <a:noAutofit/>
            </a:bodyPr>
            <a:lstStyle/>
            <a:p>
              <a:pPr>
                <a:buClr>
                  <a:srgbClr val="000000"/>
                </a:buClr>
                <a:buFont typeface="Arial"/>
                <a:buNone/>
              </a:pPr>
              <a:endParaRPr sz="1425"/>
            </a:p>
          </p:txBody>
        </p:sp>
      </p:grpSp>
      <p:sp>
        <p:nvSpPr>
          <p:cNvPr id="2629" name="Google Shape;2629;p47"/>
          <p:cNvSpPr txBox="1">
            <a:spLocks noGrp="1"/>
          </p:cNvSpPr>
          <p:nvPr>
            <p:ph type="subTitle" idx="3"/>
          </p:nvPr>
        </p:nvSpPr>
        <p:spPr>
          <a:xfrm>
            <a:off x="1972960" y="2579810"/>
            <a:ext cx="5711280" cy="183906"/>
          </a:xfrm>
          <a:prstGeom prst="rect">
            <a:avLst/>
          </a:prstGeom>
        </p:spPr>
        <p:txBody>
          <a:bodyPr spcFirstLastPara="1" wrap="square" lIns="91421" tIns="91421" rIns="91421" bIns="91421" anchor="ctr" anchorCtr="0">
            <a:noAutofit/>
          </a:bodyPr>
          <a:lstStyle/>
          <a:p>
            <a:pPr lvl="0"/>
            <a:r>
              <a:rPr lang="vi-VN" sz="2400" dirty="0"/>
              <a:t>Với ví dụ trên, chúng ta có thể xác định kiểu dữ liệu tương ứng cho mỗi trường như sau:</a:t>
            </a:r>
            <a:endParaRPr lang="en-US" sz="2400" dirty="0"/>
          </a:p>
          <a:p>
            <a:pPr lvl="0"/>
            <a:r>
              <a:rPr lang="vi-VN" sz="2400" dirty="0"/>
              <a:t> 1. Trường ten có kiểu dữ liệu là chuỗi (string). </a:t>
            </a:r>
            <a:endParaRPr lang="en-US" sz="2400" dirty="0"/>
          </a:p>
          <a:p>
            <a:pPr lvl="0"/>
            <a:r>
              <a:rPr lang="vi-VN" sz="2400" dirty="0"/>
              <a:t>2. Trường tuoi có kiểu dữ liệu là số nguyên (integer). </a:t>
            </a:r>
            <a:endParaRPr lang="en-US" sz="2400" dirty="0"/>
          </a:p>
          <a:p>
            <a:pPr lvl="0"/>
            <a:r>
              <a:rPr lang="vi-VN" sz="2400" dirty="0"/>
              <a:t>3. Trường gioitinh có kiểu dữ liệu là chuỗi (string).</a:t>
            </a:r>
            <a:endParaRPr lang="en-US" sz="2400" dirty="0"/>
          </a:p>
          <a:p>
            <a:pPr lvl="0"/>
            <a:r>
              <a:rPr lang="vi-VN" sz="2400" dirty="0"/>
              <a:t> 4. Trường diemso có kiểu dữ liệu là số thực (float).</a:t>
            </a:r>
            <a:endParaRPr sz="2400" dirty="0"/>
          </a:p>
        </p:txBody>
      </p:sp>
    </p:spTree>
    <p:extLst>
      <p:ext uri="{BB962C8B-B14F-4D97-AF65-F5344CB8AC3E}">
        <p14:creationId xmlns:p14="http://schemas.microsoft.com/office/powerpoint/2010/main" val="3784065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629">
                                            <p:txEl>
                                              <p:pRg st="0" end="0"/>
                                            </p:txEl>
                                          </p:spTgt>
                                        </p:tgtEl>
                                        <p:attrNameLst>
                                          <p:attrName>style.visibility</p:attrName>
                                        </p:attrNameLst>
                                      </p:cBhvr>
                                      <p:to>
                                        <p:strVal val="visible"/>
                                      </p:to>
                                    </p:set>
                                    <p:animEffect transition="in" filter="barn(inVertical)">
                                      <p:cBhvr>
                                        <p:cTn id="7" dur="500"/>
                                        <p:tgtEl>
                                          <p:spTgt spid="262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629">
                                            <p:txEl>
                                              <p:pRg st="1" end="1"/>
                                            </p:txEl>
                                          </p:spTgt>
                                        </p:tgtEl>
                                        <p:attrNameLst>
                                          <p:attrName>style.visibility</p:attrName>
                                        </p:attrNameLst>
                                      </p:cBhvr>
                                      <p:to>
                                        <p:strVal val="visible"/>
                                      </p:to>
                                    </p:set>
                                    <p:animEffect transition="in" filter="barn(inVertical)">
                                      <p:cBhvr>
                                        <p:cTn id="12" dur="500"/>
                                        <p:tgtEl>
                                          <p:spTgt spid="262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2629">
                                            <p:txEl>
                                              <p:pRg st="2" end="2"/>
                                            </p:txEl>
                                          </p:spTgt>
                                        </p:tgtEl>
                                        <p:attrNameLst>
                                          <p:attrName>style.visibility</p:attrName>
                                        </p:attrNameLst>
                                      </p:cBhvr>
                                      <p:to>
                                        <p:strVal val="visible"/>
                                      </p:to>
                                    </p:set>
                                    <p:animEffect transition="in" filter="barn(inVertical)">
                                      <p:cBhvr>
                                        <p:cTn id="17" dur="500"/>
                                        <p:tgtEl>
                                          <p:spTgt spid="262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2629">
                                            <p:txEl>
                                              <p:pRg st="3" end="3"/>
                                            </p:txEl>
                                          </p:spTgt>
                                        </p:tgtEl>
                                        <p:attrNameLst>
                                          <p:attrName>style.visibility</p:attrName>
                                        </p:attrNameLst>
                                      </p:cBhvr>
                                      <p:to>
                                        <p:strVal val="visible"/>
                                      </p:to>
                                    </p:set>
                                    <p:animEffect transition="in" filter="barn(inVertical)">
                                      <p:cBhvr>
                                        <p:cTn id="22" dur="500"/>
                                        <p:tgtEl>
                                          <p:spTgt spid="262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2629">
                                            <p:txEl>
                                              <p:pRg st="4" end="4"/>
                                            </p:txEl>
                                          </p:spTgt>
                                        </p:tgtEl>
                                        <p:attrNameLst>
                                          <p:attrName>style.visibility</p:attrName>
                                        </p:attrNameLst>
                                      </p:cBhvr>
                                      <p:to>
                                        <p:strVal val="visible"/>
                                      </p:to>
                                    </p:set>
                                    <p:animEffect transition="in" filter="barn(inVertical)">
                                      <p:cBhvr>
                                        <p:cTn id="27" dur="500"/>
                                        <p:tgtEl>
                                          <p:spTgt spid="262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29"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37ECCBC8-831A-4D98-ACB0-C8653B1F46D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 y="1398"/>
            <a:ext cx="9151502" cy="6535951"/>
          </a:xfrm>
          <a:prstGeom prst="rect">
            <a:avLst/>
          </a:prstGeom>
        </p:spPr>
      </p:pic>
      <p:pic>
        <p:nvPicPr>
          <p:cNvPr id="7" name="Picture 6">
            <a:extLst>
              <a:ext uri="{FF2B5EF4-FFF2-40B4-BE49-F238E27FC236}">
                <a16:creationId xmlns:a16="http://schemas.microsoft.com/office/drawing/2014/main" id="{C7593E1B-5FC0-44F6-9131-81F89692E7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2353" y="590875"/>
            <a:ext cx="2890299" cy="3976568"/>
          </a:xfrm>
          <a:prstGeom prst="rect">
            <a:avLst/>
          </a:prstGeom>
        </p:spPr>
      </p:pic>
      <p:pic>
        <p:nvPicPr>
          <p:cNvPr id="9" name="Picture 8">
            <a:extLst>
              <a:ext uri="{FF2B5EF4-FFF2-40B4-BE49-F238E27FC236}">
                <a16:creationId xmlns:a16="http://schemas.microsoft.com/office/drawing/2014/main" id="{94301D85-EE01-4ABC-A0A4-A0ECC6332D7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57975" y="444639"/>
            <a:ext cx="5315000" cy="1749283"/>
          </a:xfrm>
          <a:prstGeom prst="rect">
            <a:avLst/>
          </a:prstGeom>
        </p:spPr>
      </p:pic>
      <p:pic>
        <p:nvPicPr>
          <p:cNvPr id="11" name="Picture 10">
            <a:hlinkClick r:id="" action="ppaction://hlinkshowjump?jump=nextslide"/>
            <a:extLst>
              <a:ext uri="{FF2B5EF4-FFF2-40B4-BE49-F238E27FC236}">
                <a16:creationId xmlns:a16="http://schemas.microsoft.com/office/drawing/2014/main" id="{A152F28D-03D3-4D6D-AC5E-DF195FFC531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26743" y="2375046"/>
            <a:ext cx="1470605" cy="557390"/>
          </a:xfrm>
          <a:prstGeom prst="rect">
            <a:avLst/>
          </a:prstGeom>
        </p:spPr>
      </p:pic>
      <p:pic>
        <p:nvPicPr>
          <p:cNvPr id="15" name="Picture 14">
            <a:extLst>
              <a:ext uri="{FF2B5EF4-FFF2-40B4-BE49-F238E27FC236}">
                <a16:creationId xmlns:a16="http://schemas.microsoft.com/office/drawing/2014/main" id="{FC07CF22-6672-4498-8851-81F6565186E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77217" y="3070578"/>
            <a:ext cx="1046315" cy="717153"/>
          </a:xfrm>
          <a:prstGeom prst="rect">
            <a:avLst/>
          </a:prstGeom>
        </p:spPr>
      </p:pic>
      <p:pic>
        <p:nvPicPr>
          <p:cNvPr id="13" name="Picture 12">
            <a:extLst>
              <a:ext uri="{FF2B5EF4-FFF2-40B4-BE49-F238E27FC236}">
                <a16:creationId xmlns:a16="http://schemas.microsoft.com/office/drawing/2014/main" id="{9832F191-A93B-4162-A1C5-2871D89441C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385018" y="3622012"/>
            <a:ext cx="1470605" cy="440545"/>
          </a:xfrm>
          <a:prstGeom prst="rect">
            <a:avLst/>
          </a:prstGeom>
        </p:spPr>
      </p:pic>
      <p:pic>
        <p:nvPicPr>
          <p:cNvPr id="30" name="Picture 29">
            <a:extLst>
              <a:ext uri="{FF2B5EF4-FFF2-40B4-BE49-F238E27FC236}">
                <a16:creationId xmlns:a16="http://schemas.microsoft.com/office/drawing/2014/main" id="{8A7D66EB-DE69-450F-AACE-76724516B5C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64433" y="3070578"/>
            <a:ext cx="1046315" cy="717153"/>
          </a:xfrm>
          <a:prstGeom prst="rect">
            <a:avLst/>
          </a:prstGeom>
        </p:spPr>
      </p:pic>
      <p:pic>
        <p:nvPicPr>
          <p:cNvPr id="31" name="Picture 30">
            <a:extLst>
              <a:ext uri="{FF2B5EF4-FFF2-40B4-BE49-F238E27FC236}">
                <a16:creationId xmlns:a16="http://schemas.microsoft.com/office/drawing/2014/main" id="{6C5084A8-4F6A-44D2-8A63-8D472DE3060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72235" y="3622012"/>
            <a:ext cx="1470605" cy="440545"/>
          </a:xfrm>
          <a:prstGeom prst="rect">
            <a:avLst/>
          </a:prstGeom>
        </p:spPr>
      </p:pic>
      <p:pic>
        <p:nvPicPr>
          <p:cNvPr id="33" name="Picture 32">
            <a:extLst>
              <a:ext uri="{FF2B5EF4-FFF2-40B4-BE49-F238E27FC236}">
                <a16:creationId xmlns:a16="http://schemas.microsoft.com/office/drawing/2014/main" id="{F113C126-8C84-41DD-A5FB-ACFD79D63DC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46778" y="3795737"/>
            <a:ext cx="1046315" cy="717153"/>
          </a:xfrm>
          <a:prstGeom prst="rect">
            <a:avLst/>
          </a:prstGeom>
        </p:spPr>
      </p:pic>
      <p:pic>
        <p:nvPicPr>
          <p:cNvPr id="34" name="Picture 33">
            <a:extLst>
              <a:ext uri="{FF2B5EF4-FFF2-40B4-BE49-F238E27FC236}">
                <a16:creationId xmlns:a16="http://schemas.microsoft.com/office/drawing/2014/main" id="{1FBE6653-2FF3-47CF-BB70-826F504B55E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54580" y="4347171"/>
            <a:ext cx="1470605" cy="440545"/>
          </a:xfrm>
          <a:prstGeom prst="rect">
            <a:avLst/>
          </a:prstGeom>
        </p:spPr>
      </p:pic>
      <p:pic>
        <p:nvPicPr>
          <p:cNvPr id="2" name="Nhac nen">
            <a:hlinkClick r:id="" action="ppaction://media"/>
            <a:extLst>
              <a:ext uri="{FF2B5EF4-FFF2-40B4-BE49-F238E27FC236}">
                <a16:creationId xmlns:a16="http://schemas.microsoft.com/office/drawing/2014/main" id="{C23B07A0-9676-4F48-8D2E-FD04E7F8BFD4}"/>
              </a:ext>
            </a:extLst>
          </p:cNvPr>
          <p:cNvPicPr>
            <a:picLocks noChangeAspect="1"/>
          </p:cNvPicPr>
          <p:nvPr>
            <a:audioFile r:link="rId1"/>
            <p:extLst>
              <p:ext uri="{DAA4B4D4-6D71-4841-9C94-3DE7FCFB9230}">
                <p14:media xmlns:p14="http://schemas.microsoft.com/office/powerpoint/2010/main" r:embed="rId2">
                  <p14:trim st="33751" end="29864.3125"/>
                </p14:media>
              </p:ext>
            </p:extLst>
          </p:nvPr>
        </p:nvPicPr>
        <p:blipFill>
          <a:blip r:embed="rId11"/>
          <a:stretch>
            <a:fillRect/>
          </a:stretch>
        </p:blipFill>
        <p:spPr>
          <a:xfrm>
            <a:off x="-950254" y="3952447"/>
            <a:ext cx="365522" cy="365522"/>
          </a:xfrm>
          <a:prstGeom prst="rect">
            <a:avLst/>
          </a:prstGeom>
        </p:spPr>
      </p:pic>
      <p:pic>
        <p:nvPicPr>
          <p:cNvPr id="16" name="Picture 15">
            <a:extLst>
              <a:ext uri="{FF2B5EF4-FFF2-40B4-BE49-F238E27FC236}">
                <a16:creationId xmlns:a16="http://schemas.microsoft.com/office/drawing/2014/main" id="{5928C8E1-4AB8-4A41-87EE-B146A8D27DE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52362" y="4436755"/>
            <a:ext cx="571962" cy="574752"/>
          </a:xfrm>
          <a:prstGeom prst="rect">
            <a:avLst/>
          </a:prstGeom>
        </p:spPr>
      </p:pic>
      <p:pic>
        <p:nvPicPr>
          <p:cNvPr id="27" name="Picture 26">
            <a:extLst>
              <a:ext uri="{FF2B5EF4-FFF2-40B4-BE49-F238E27FC236}">
                <a16:creationId xmlns:a16="http://schemas.microsoft.com/office/drawing/2014/main" id="{E266C20F-5BAD-4302-936E-2319683704D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06791" y="3776631"/>
            <a:ext cx="1046315" cy="717153"/>
          </a:xfrm>
          <a:prstGeom prst="rect">
            <a:avLst/>
          </a:prstGeom>
        </p:spPr>
      </p:pic>
      <p:pic>
        <p:nvPicPr>
          <p:cNvPr id="28" name="Picture 27">
            <a:extLst>
              <a:ext uri="{FF2B5EF4-FFF2-40B4-BE49-F238E27FC236}">
                <a16:creationId xmlns:a16="http://schemas.microsoft.com/office/drawing/2014/main" id="{2E4DF13A-C76E-440A-8FA3-A4407A442A9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14593" y="4328065"/>
            <a:ext cx="1470605" cy="440545"/>
          </a:xfrm>
          <a:prstGeom prst="rect">
            <a:avLst/>
          </a:prstGeom>
        </p:spPr>
      </p:pic>
      <p:pic>
        <p:nvPicPr>
          <p:cNvPr id="10" name="Picture 9">
            <a:extLst>
              <a:ext uri="{FF2B5EF4-FFF2-40B4-BE49-F238E27FC236}">
                <a16:creationId xmlns:a16="http://schemas.microsoft.com/office/drawing/2014/main" id="{FF3F3338-918A-4A02-A719-5D95465F4A39}"/>
              </a:ext>
            </a:extLst>
          </p:cNvPr>
          <p:cNvPicPr>
            <a:picLocks noChangeAspect="1"/>
          </p:cNvPicPr>
          <p:nvPr/>
        </p:nvPicPr>
        <p:blipFill>
          <a:blip r:embed="rId13"/>
          <a:stretch>
            <a:fillRect/>
          </a:stretch>
        </p:blipFill>
        <p:spPr>
          <a:xfrm>
            <a:off x="0" y="5138931"/>
            <a:ext cx="9144000" cy="4570"/>
          </a:xfrm>
          <a:prstGeom prst="rect">
            <a:avLst/>
          </a:prstGeom>
        </p:spPr>
      </p:pic>
      <p:sp>
        <p:nvSpPr>
          <p:cNvPr id="3" name="TextBox 2">
            <a:extLst>
              <a:ext uri="{FF2B5EF4-FFF2-40B4-BE49-F238E27FC236}">
                <a16:creationId xmlns:a16="http://schemas.microsoft.com/office/drawing/2014/main" id="{5C814130-806D-4A96-9B87-64A3AD07FB4B}"/>
              </a:ext>
            </a:extLst>
          </p:cNvPr>
          <p:cNvSpPr txBox="1"/>
          <p:nvPr/>
        </p:nvSpPr>
        <p:spPr>
          <a:xfrm>
            <a:off x="-1170969" y="3565285"/>
            <a:ext cx="790601" cy="253916"/>
          </a:xfrm>
          <a:prstGeom prst="rect">
            <a:avLst/>
          </a:prstGeom>
          <a:noFill/>
        </p:spPr>
        <p:txBody>
          <a:bodyPr wrap="none" rtlCol="0">
            <a:spAutoFit/>
          </a:bodyPr>
          <a:lstStyle/>
          <a:p>
            <a:r>
              <a:rPr lang="en-US" sz="1050" b="1" dirty="0" err="1"/>
              <a:t>Nhạc</a:t>
            </a:r>
            <a:r>
              <a:rPr lang="en-US" sz="1050" b="1" dirty="0"/>
              <a:t> </a:t>
            </a:r>
            <a:r>
              <a:rPr lang="en-US" sz="1050" b="1" dirty="0" err="1"/>
              <a:t>nền</a:t>
            </a:r>
            <a:endParaRPr lang="en-US" sz="1050" b="1" dirty="0"/>
          </a:p>
        </p:txBody>
      </p:sp>
    </p:spTree>
    <p:extLst>
      <p:ext uri="{BB962C8B-B14F-4D97-AF65-F5344CB8AC3E}">
        <p14:creationId xmlns:p14="http://schemas.microsoft.com/office/powerpoint/2010/main" val="665418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53" presetClass="entr" presetSubtype="16"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p:cTn id="11" dur="500" fill="hold"/>
                                        <p:tgtEl>
                                          <p:spTgt spid="9"/>
                                        </p:tgtEl>
                                        <p:attrNameLst>
                                          <p:attrName>ppt_w</p:attrName>
                                        </p:attrNameLst>
                                      </p:cBhvr>
                                      <p:tavLst>
                                        <p:tav tm="0">
                                          <p:val>
                                            <p:fltVal val="0"/>
                                          </p:val>
                                        </p:tav>
                                        <p:tav tm="100000">
                                          <p:val>
                                            <p:strVal val="#ppt_w"/>
                                          </p:val>
                                        </p:tav>
                                      </p:tavLst>
                                    </p:anim>
                                    <p:anim calcmode="lin" valueType="num">
                                      <p:cBhvr>
                                        <p:cTn id="12" dur="500" fill="hold"/>
                                        <p:tgtEl>
                                          <p:spTgt spid="9"/>
                                        </p:tgtEl>
                                        <p:attrNameLst>
                                          <p:attrName>ppt_h</p:attrName>
                                        </p:attrNameLst>
                                      </p:cBhvr>
                                      <p:tavLst>
                                        <p:tav tm="0">
                                          <p:val>
                                            <p:fltVal val="0"/>
                                          </p:val>
                                        </p:tav>
                                        <p:tav tm="100000">
                                          <p:val>
                                            <p:strVal val="#ppt_h"/>
                                          </p:val>
                                        </p:tav>
                                      </p:tavLst>
                                    </p:anim>
                                    <p:animEffect transition="in" filter="fade">
                                      <p:cBhvr>
                                        <p:cTn id="13" dur="500"/>
                                        <p:tgtEl>
                                          <p:spTgt spid="9"/>
                                        </p:tgtEl>
                                      </p:cBhvr>
                                    </p:animEffect>
                                  </p:childTnLst>
                                </p:cTn>
                              </p:par>
                              <p:par>
                                <p:cTn id="14" presetID="53" presetClass="entr" presetSubtype="16"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 calcmode="lin" valueType="num">
                                      <p:cBhvr>
                                        <p:cTn id="16" dur="500" fill="hold"/>
                                        <p:tgtEl>
                                          <p:spTgt spid="16"/>
                                        </p:tgtEl>
                                        <p:attrNameLst>
                                          <p:attrName>ppt_w</p:attrName>
                                        </p:attrNameLst>
                                      </p:cBhvr>
                                      <p:tavLst>
                                        <p:tav tm="0">
                                          <p:val>
                                            <p:fltVal val="0"/>
                                          </p:val>
                                        </p:tav>
                                        <p:tav tm="100000">
                                          <p:val>
                                            <p:strVal val="#ppt_w"/>
                                          </p:val>
                                        </p:tav>
                                      </p:tavLst>
                                    </p:anim>
                                    <p:anim calcmode="lin" valueType="num">
                                      <p:cBhvr>
                                        <p:cTn id="17" dur="500" fill="hold"/>
                                        <p:tgtEl>
                                          <p:spTgt spid="16"/>
                                        </p:tgtEl>
                                        <p:attrNameLst>
                                          <p:attrName>ppt_h</p:attrName>
                                        </p:attrNameLst>
                                      </p:cBhvr>
                                      <p:tavLst>
                                        <p:tav tm="0">
                                          <p:val>
                                            <p:fltVal val="0"/>
                                          </p:val>
                                        </p:tav>
                                        <p:tav tm="100000">
                                          <p:val>
                                            <p:strVal val="#ppt_h"/>
                                          </p:val>
                                        </p:tav>
                                      </p:tavLst>
                                    </p:anim>
                                    <p:animEffect transition="in" filter="fade">
                                      <p:cBhvr>
                                        <p:cTn id="18" dur="500"/>
                                        <p:tgtEl>
                                          <p:spTgt spid="16"/>
                                        </p:tgtEl>
                                      </p:cBhvr>
                                    </p:animEffect>
                                  </p:childTnLst>
                                </p:cTn>
                              </p:par>
                              <p:par>
                                <p:cTn id="19" presetID="53" presetClass="entr" presetSubtype="16"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p:cTn id="21" dur="500" fill="hold"/>
                                        <p:tgtEl>
                                          <p:spTgt spid="11"/>
                                        </p:tgtEl>
                                        <p:attrNameLst>
                                          <p:attrName>ppt_w</p:attrName>
                                        </p:attrNameLst>
                                      </p:cBhvr>
                                      <p:tavLst>
                                        <p:tav tm="0">
                                          <p:val>
                                            <p:fltVal val="0"/>
                                          </p:val>
                                        </p:tav>
                                        <p:tav tm="100000">
                                          <p:val>
                                            <p:strVal val="#ppt_w"/>
                                          </p:val>
                                        </p:tav>
                                      </p:tavLst>
                                    </p:anim>
                                    <p:anim calcmode="lin" valueType="num">
                                      <p:cBhvr>
                                        <p:cTn id="22" dur="500" fill="hold"/>
                                        <p:tgtEl>
                                          <p:spTgt spid="11"/>
                                        </p:tgtEl>
                                        <p:attrNameLst>
                                          <p:attrName>ppt_h</p:attrName>
                                        </p:attrNameLst>
                                      </p:cBhvr>
                                      <p:tavLst>
                                        <p:tav tm="0">
                                          <p:val>
                                            <p:fltVal val="0"/>
                                          </p:val>
                                        </p:tav>
                                        <p:tav tm="100000">
                                          <p:val>
                                            <p:strVal val="#ppt_h"/>
                                          </p:val>
                                        </p:tav>
                                      </p:tavLst>
                                    </p:anim>
                                    <p:animEffect transition="in" filter="fade">
                                      <p:cBhvr>
                                        <p:cTn id="23" dur="500"/>
                                        <p:tgtEl>
                                          <p:spTgt spid="11"/>
                                        </p:tgtEl>
                                      </p:cBhvr>
                                    </p:animEffect>
                                  </p:childTnLst>
                                </p:cTn>
                              </p:par>
                            </p:childTnLst>
                          </p:cTn>
                        </p:par>
                        <p:par>
                          <p:cTn id="24" fill="hold">
                            <p:stCondLst>
                              <p:cond delay="500"/>
                            </p:stCondLst>
                            <p:childTnLst>
                              <p:par>
                                <p:cTn id="25" presetID="32" presetClass="emph" presetSubtype="0" repeatCount="indefinite" fill="hold" nodeType="afterEffect">
                                  <p:stCondLst>
                                    <p:cond delay="0"/>
                                  </p:stCondLst>
                                  <p:childTnLst>
                                    <p:animRot by="120000">
                                      <p:cBhvr>
                                        <p:cTn id="26" dur="200" fill="hold">
                                          <p:stCondLst>
                                            <p:cond delay="0"/>
                                          </p:stCondLst>
                                        </p:cTn>
                                        <p:tgtEl>
                                          <p:spTgt spid="15"/>
                                        </p:tgtEl>
                                        <p:attrNameLst>
                                          <p:attrName>r</p:attrName>
                                        </p:attrNameLst>
                                      </p:cBhvr>
                                    </p:animRot>
                                    <p:animRot by="-240000">
                                      <p:cBhvr>
                                        <p:cTn id="27" dur="400" fill="hold">
                                          <p:stCondLst>
                                            <p:cond delay="400"/>
                                          </p:stCondLst>
                                        </p:cTn>
                                        <p:tgtEl>
                                          <p:spTgt spid="15"/>
                                        </p:tgtEl>
                                        <p:attrNameLst>
                                          <p:attrName>r</p:attrName>
                                        </p:attrNameLst>
                                      </p:cBhvr>
                                    </p:animRot>
                                    <p:animRot by="240000">
                                      <p:cBhvr>
                                        <p:cTn id="28" dur="400" fill="hold">
                                          <p:stCondLst>
                                            <p:cond delay="800"/>
                                          </p:stCondLst>
                                        </p:cTn>
                                        <p:tgtEl>
                                          <p:spTgt spid="15"/>
                                        </p:tgtEl>
                                        <p:attrNameLst>
                                          <p:attrName>r</p:attrName>
                                        </p:attrNameLst>
                                      </p:cBhvr>
                                    </p:animRot>
                                    <p:animRot by="-240000">
                                      <p:cBhvr>
                                        <p:cTn id="29" dur="400" fill="hold">
                                          <p:stCondLst>
                                            <p:cond delay="1200"/>
                                          </p:stCondLst>
                                        </p:cTn>
                                        <p:tgtEl>
                                          <p:spTgt spid="15"/>
                                        </p:tgtEl>
                                        <p:attrNameLst>
                                          <p:attrName>r</p:attrName>
                                        </p:attrNameLst>
                                      </p:cBhvr>
                                    </p:animRot>
                                    <p:animRot by="120000">
                                      <p:cBhvr>
                                        <p:cTn id="30" dur="400" fill="hold">
                                          <p:stCondLst>
                                            <p:cond delay="1600"/>
                                          </p:stCondLst>
                                        </p:cTn>
                                        <p:tgtEl>
                                          <p:spTgt spid="15"/>
                                        </p:tgtEl>
                                        <p:attrNameLst>
                                          <p:attrName>r</p:attrName>
                                        </p:attrNameLst>
                                      </p:cBhvr>
                                    </p:animRot>
                                  </p:childTnLst>
                                </p:cTn>
                              </p:par>
                              <p:par>
                                <p:cTn id="31" presetID="32" presetClass="emph" presetSubtype="0" repeatCount="indefinite" fill="hold" nodeType="withEffect">
                                  <p:stCondLst>
                                    <p:cond delay="0"/>
                                  </p:stCondLst>
                                  <p:childTnLst>
                                    <p:animRot by="120000">
                                      <p:cBhvr>
                                        <p:cTn id="32" dur="200" fill="hold">
                                          <p:stCondLst>
                                            <p:cond delay="0"/>
                                          </p:stCondLst>
                                        </p:cTn>
                                        <p:tgtEl>
                                          <p:spTgt spid="27"/>
                                        </p:tgtEl>
                                        <p:attrNameLst>
                                          <p:attrName>r</p:attrName>
                                        </p:attrNameLst>
                                      </p:cBhvr>
                                    </p:animRot>
                                    <p:animRot by="-240000">
                                      <p:cBhvr>
                                        <p:cTn id="33" dur="400" fill="hold">
                                          <p:stCondLst>
                                            <p:cond delay="400"/>
                                          </p:stCondLst>
                                        </p:cTn>
                                        <p:tgtEl>
                                          <p:spTgt spid="27"/>
                                        </p:tgtEl>
                                        <p:attrNameLst>
                                          <p:attrName>r</p:attrName>
                                        </p:attrNameLst>
                                      </p:cBhvr>
                                    </p:animRot>
                                    <p:animRot by="240000">
                                      <p:cBhvr>
                                        <p:cTn id="34" dur="400" fill="hold">
                                          <p:stCondLst>
                                            <p:cond delay="800"/>
                                          </p:stCondLst>
                                        </p:cTn>
                                        <p:tgtEl>
                                          <p:spTgt spid="27"/>
                                        </p:tgtEl>
                                        <p:attrNameLst>
                                          <p:attrName>r</p:attrName>
                                        </p:attrNameLst>
                                      </p:cBhvr>
                                    </p:animRot>
                                    <p:animRot by="-240000">
                                      <p:cBhvr>
                                        <p:cTn id="35" dur="400" fill="hold">
                                          <p:stCondLst>
                                            <p:cond delay="1200"/>
                                          </p:stCondLst>
                                        </p:cTn>
                                        <p:tgtEl>
                                          <p:spTgt spid="27"/>
                                        </p:tgtEl>
                                        <p:attrNameLst>
                                          <p:attrName>r</p:attrName>
                                        </p:attrNameLst>
                                      </p:cBhvr>
                                    </p:animRot>
                                    <p:animRot by="120000">
                                      <p:cBhvr>
                                        <p:cTn id="36" dur="400" fill="hold">
                                          <p:stCondLst>
                                            <p:cond delay="1600"/>
                                          </p:stCondLst>
                                        </p:cTn>
                                        <p:tgtEl>
                                          <p:spTgt spid="27"/>
                                        </p:tgtEl>
                                        <p:attrNameLst>
                                          <p:attrName>r</p:attrName>
                                        </p:attrNameLst>
                                      </p:cBhvr>
                                    </p:animRot>
                                  </p:childTnLst>
                                </p:cTn>
                              </p:par>
                              <p:par>
                                <p:cTn id="37" presetID="32" presetClass="emph" presetSubtype="0" repeatCount="indefinite" fill="hold" nodeType="withEffect">
                                  <p:stCondLst>
                                    <p:cond delay="0"/>
                                  </p:stCondLst>
                                  <p:childTnLst>
                                    <p:animRot by="120000">
                                      <p:cBhvr>
                                        <p:cTn id="38" dur="200" fill="hold">
                                          <p:stCondLst>
                                            <p:cond delay="0"/>
                                          </p:stCondLst>
                                        </p:cTn>
                                        <p:tgtEl>
                                          <p:spTgt spid="30"/>
                                        </p:tgtEl>
                                        <p:attrNameLst>
                                          <p:attrName>r</p:attrName>
                                        </p:attrNameLst>
                                      </p:cBhvr>
                                    </p:animRot>
                                    <p:animRot by="-240000">
                                      <p:cBhvr>
                                        <p:cTn id="39" dur="400" fill="hold">
                                          <p:stCondLst>
                                            <p:cond delay="400"/>
                                          </p:stCondLst>
                                        </p:cTn>
                                        <p:tgtEl>
                                          <p:spTgt spid="30"/>
                                        </p:tgtEl>
                                        <p:attrNameLst>
                                          <p:attrName>r</p:attrName>
                                        </p:attrNameLst>
                                      </p:cBhvr>
                                    </p:animRot>
                                    <p:animRot by="240000">
                                      <p:cBhvr>
                                        <p:cTn id="40" dur="400" fill="hold">
                                          <p:stCondLst>
                                            <p:cond delay="800"/>
                                          </p:stCondLst>
                                        </p:cTn>
                                        <p:tgtEl>
                                          <p:spTgt spid="30"/>
                                        </p:tgtEl>
                                        <p:attrNameLst>
                                          <p:attrName>r</p:attrName>
                                        </p:attrNameLst>
                                      </p:cBhvr>
                                    </p:animRot>
                                    <p:animRot by="-240000">
                                      <p:cBhvr>
                                        <p:cTn id="41" dur="400" fill="hold">
                                          <p:stCondLst>
                                            <p:cond delay="1200"/>
                                          </p:stCondLst>
                                        </p:cTn>
                                        <p:tgtEl>
                                          <p:spTgt spid="30"/>
                                        </p:tgtEl>
                                        <p:attrNameLst>
                                          <p:attrName>r</p:attrName>
                                        </p:attrNameLst>
                                      </p:cBhvr>
                                    </p:animRot>
                                    <p:animRot by="120000">
                                      <p:cBhvr>
                                        <p:cTn id="42" dur="400" fill="hold">
                                          <p:stCondLst>
                                            <p:cond delay="1600"/>
                                          </p:stCondLst>
                                        </p:cTn>
                                        <p:tgtEl>
                                          <p:spTgt spid="30"/>
                                        </p:tgtEl>
                                        <p:attrNameLst>
                                          <p:attrName>r</p:attrName>
                                        </p:attrNameLst>
                                      </p:cBhvr>
                                    </p:animRot>
                                  </p:childTnLst>
                                </p:cTn>
                              </p:par>
                              <p:par>
                                <p:cTn id="43" presetID="32" presetClass="emph" presetSubtype="0" repeatCount="indefinite" fill="hold" nodeType="withEffect">
                                  <p:stCondLst>
                                    <p:cond delay="0"/>
                                  </p:stCondLst>
                                  <p:childTnLst>
                                    <p:animRot by="120000">
                                      <p:cBhvr>
                                        <p:cTn id="44" dur="200" fill="hold">
                                          <p:stCondLst>
                                            <p:cond delay="0"/>
                                          </p:stCondLst>
                                        </p:cTn>
                                        <p:tgtEl>
                                          <p:spTgt spid="33"/>
                                        </p:tgtEl>
                                        <p:attrNameLst>
                                          <p:attrName>r</p:attrName>
                                        </p:attrNameLst>
                                      </p:cBhvr>
                                    </p:animRot>
                                    <p:animRot by="-240000">
                                      <p:cBhvr>
                                        <p:cTn id="45" dur="400" fill="hold">
                                          <p:stCondLst>
                                            <p:cond delay="400"/>
                                          </p:stCondLst>
                                        </p:cTn>
                                        <p:tgtEl>
                                          <p:spTgt spid="33"/>
                                        </p:tgtEl>
                                        <p:attrNameLst>
                                          <p:attrName>r</p:attrName>
                                        </p:attrNameLst>
                                      </p:cBhvr>
                                    </p:animRot>
                                    <p:animRot by="240000">
                                      <p:cBhvr>
                                        <p:cTn id="46" dur="400" fill="hold">
                                          <p:stCondLst>
                                            <p:cond delay="800"/>
                                          </p:stCondLst>
                                        </p:cTn>
                                        <p:tgtEl>
                                          <p:spTgt spid="33"/>
                                        </p:tgtEl>
                                        <p:attrNameLst>
                                          <p:attrName>r</p:attrName>
                                        </p:attrNameLst>
                                      </p:cBhvr>
                                    </p:animRot>
                                    <p:animRot by="-240000">
                                      <p:cBhvr>
                                        <p:cTn id="47" dur="400" fill="hold">
                                          <p:stCondLst>
                                            <p:cond delay="1200"/>
                                          </p:stCondLst>
                                        </p:cTn>
                                        <p:tgtEl>
                                          <p:spTgt spid="33"/>
                                        </p:tgtEl>
                                        <p:attrNameLst>
                                          <p:attrName>r</p:attrName>
                                        </p:attrNameLst>
                                      </p:cBhvr>
                                    </p:animRot>
                                    <p:animRot by="120000">
                                      <p:cBhvr>
                                        <p:cTn id="48" dur="400" fill="hold">
                                          <p:stCondLst>
                                            <p:cond delay="1600"/>
                                          </p:stCondLst>
                                        </p:cTn>
                                        <p:tgtEl>
                                          <p:spTgt spid="33"/>
                                        </p:tgtEl>
                                        <p:attrNameLst>
                                          <p:attrName>r</p:attrName>
                                        </p:attrNameLst>
                                      </p:cBhvr>
                                    </p:animRot>
                                  </p:childTnLst>
                                </p:cTn>
                              </p:par>
                              <p:par>
                                <p:cTn id="49" presetID="42" presetClass="path" presetSubtype="0" repeatCount="indefinite" accel="50000" decel="50000" autoRev="1" fill="hold" nodeType="withEffect">
                                  <p:stCondLst>
                                    <p:cond delay="0"/>
                                  </p:stCondLst>
                                  <p:childTnLst>
                                    <p:animMotion origin="layout" path="M 2.22045E-16 -1.48148E-6 L 2.22045E-16 0.02847 " pathEditMode="relative" rAng="0" ptsTypes="AA">
                                      <p:cBhvr>
                                        <p:cTn id="50" dur="1000" fill="hold"/>
                                        <p:tgtEl>
                                          <p:spTgt spid="9"/>
                                        </p:tgtEl>
                                        <p:attrNameLst>
                                          <p:attrName>ppt_x</p:attrName>
                                          <p:attrName>ppt_y</p:attrName>
                                        </p:attrNameLst>
                                      </p:cBhvr>
                                      <p:rCtr x="0" y="1412"/>
                                    </p:animMotion>
                                  </p:childTnLst>
                                </p:cTn>
                              </p:par>
                              <p:par>
                                <p:cTn id="51" presetID="42" presetClass="path" presetSubtype="0" repeatCount="indefinite" accel="50000" decel="50000" autoRev="1" fill="hold" nodeType="withEffect">
                                  <p:stCondLst>
                                    <p:cond delay="0"/>
                                  </p:stCondLst>
                                  <p:childTnLst>
                                    <p:animMotion origin="layout" path="M 2.22045E-16 -1.48148E-6 L 2.22045E-16 0.02847 " pathEditMode="relative" rAng="0" ptsTypes="AA">
                                      <p:cBhvr>
                                        <p:cTn id="52" dur="1000" fill="hold"/>
                                        <p:tgtEl>
                                          <p:spTgt spid="11"/>
                                        </p:tgtEl>
                                        <p:attrNameLst>
                                          <p:attrName>ppt_x</p:attrName>
                                          <p:attrName>ppt_y</p:attrName>
                                        </p:attrNameLst>
                                      </p:cBhvr>
                                      <p:rCtr x="0" y="1412"/>
                                    </p:animMotion>
                                  </p:childTnLst>
                                </p:cTn>
                              </p:par>
                            </p:childTnLst>
                          </p:cTn>
                        </p:par>
                        <p:par>
                          <p:cTn id="53" fill="hold">
                            <p:stCondLst>
                              <p:cond delay="2500"/>
                            </p:stCondLst>
                            <p:childTnLst>
                              <p:par>
                                <p:cTn id="54" presetID="1" presetClass="mediacall" presetSubtype="0" fill="hold" nodeType="afterEffect">
                                  <p:stCondLst>
                                    <p:cond delay="0"/>
                                  </p:stCondLst>
                                  <p:childTnLst>
                                    <p:cmd type="call" cmd="playFrom(0.0)">
                                      <p:cBhvr>
                                        <p:cTn id="55"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64634" numSld="999">
                <p:cTn id="56" repeatCount="indefinite" fill="hold" display="0">
                  <p:stCondLst>
                    <p:cond delay="indefinite"/>
                  </p:stCondLst>
                  <p:endCondLst>
                    <p:cond evt="onStopAudio" delay="0">
                      <p:tgtEl>
                        <p:sldTgt/>
                      </p:tgtEl>
                    </p:cond>
                  </p:endCondLst>
                </p:cTn>
                <p:tgtEl>
                  <p:spTgt spid="2"/>
                </p:tgtEl>
              </p:cMediaNode>
            </p:audio>
            <p:seq concurrent="1" nextAc="seek">
              <p:cTn id="57" restart="whenNotActive" fill="hold" evtFilter="cancelBubble" nodeType="interactiveSeq">
                <p:stCondLst>
                  <p:cond evt="onClick" delay="0">
                    <p:tgtEl>
                      <p:spTgt spid="16"/>
                    </p:tgtEl>
                  </p:cond>
                </p:stCondLst>
                <p:endSync evt="end" delay="0">
                  <p:rtn val="all"/>
                </p:endSync>
                <p:childTnLst>
                  <p:par>
                    <p:cTn id="58" fill="hold">
                      <p:stCondLst>
                        <p:cond delay="0"/>
                      </p:stCondLst>
                      <p:childTnLst>
                        <p:par>
                          <p:cTn id="59" fill="hold">
                            <p:stCondLst>
                              <p:cond delay="0"/>
                            </p:stCondLst>
                            <p:childTnLst>
                              <p:par>
                                <p:cTn id="60" presetID="26" presetClass="emph" presetSubtype="0" fill="hold" nodeType="clickEffect">
                                  <p:stCondLst>
                                    <p:cond delay="0"/>
                                  </p:stCondLst>
                                  <p:childTnLst>
                                    <p:animEffect transition="out" filter="fade">
                                      <p:cBhvr>
                                        <p:cTn id="61" dur="500" tmFilter="0, 0; .2, .5; .8, .5; 1, 0"/>
                                        <p:tgtEl>
                                          <p:spTgt spid="16"/>
                                        </p:tgtEl>
                                      </p:cBhvr>
                                    </p:animEffect>
                                    <p:animScale>
                                      <p:cBhvr>
                                        <p:cTn id="62" dur="250" autoRev="1" fill="hold"/>
                                        <p:tgtEl>
                                          <p:spTgt spid="16"/>
                                        </p:tgtEl>
                                      </p:cBhvr>
                                      <p:by x="105000" y="105000"/>
                                    </p:animScale>
                                  </p:childTnLst>
                                </p:cTn>
                              </p:par>
                              <p:par>
                                <p:cTn id="63" presetID="3" presetClass="mediacall" presetSubtype="0" fill="hold" nodeType="withEffect">
                                  <p:stCondLst>
                                    <p:cond delay="0"/>
                                  </p:stCondLst>
                                  <p:childTnLst>
                                    <p:cmd type="call" cmd="stop">
                                      <p:cBhvr>
                                        <p:cTn id="64" dur="1" fill="hold"/>
                                        <p:tgtEl>
                                          <p:spTgt spid="2"/>
                                        </p:tgtEl>
                                      </p:cBhvr>
                                    </p:cmd>
                                  </p:childTnLst>
                                </p:cTn>
                              </p:par>
                            </p:childTnLst>
                          </p:cTn>
                        </p:par>
                      </p:childTnLst>
                    </p:cTn>
                  </p:par>
                  <p:par>
                    <p:cTn id="65" fill="hold">
                      <p:stCondLst>
                        <p:cond delay="indefinite"/>
                      </p:stCondLst>
                      <p:childTnLst>
                        <p:par>
                          <p:cTn id="66" fill="hold">
                            <p:stCondLst>
                              <p:cond delay="0"/>
                            </p:stCondLst>
                            <p:childTnLst>
                              <p:par>
                                <p:cTn id="67" presetID="26" presetClass="emph" presetSubtype="0" fill="hold" nodeType="clickEffect">
                                  <p:stCondLst>
                                    <p:cond delay="0"/>
                                  </p:stCondLst>
                                  <p:childTnLst>
                                    <p:animEffect transition="out" filter="fade">
                                      <p:cBhvr>
                                        <p:cTn id="68" dur="500" tmFilter="0, 0; .2, .5; .8, .5; 1, 0"/>
                                        <p:tgtEl>
                                          <p:spTgt spid="16"/>
                                        </p:tgtEl>
                                      </p:cBhvr>
                                    </p:animEffect>
                                    <p:animScale>
                                      <p:cBhvr>
                                        <p:cTn id="69" dur="250" autoRev="1" fill="hold"/>
                                        <p:tgtEl>
                                          <p:spTgt spid="16"/>
                                        </p:tgtEl>
                                      </p:cBhvr>
                                      <p:by x="105000" y="105000"/>
                                    </p:animScale>
                                  </p:childTnLst>
                                </p:cTn>
                              </p:par>
                              <p:par>
                                <p:cTn id="70" presetID="1" presetClass="mediacall" presetSubtype="0" fill="hold" nodeType="withEffect">
                                  <p:stCondLst>
                                    <p:cond delay="0"/>
                                  </p:stCondLst>
                                  <p:childTnLst>
                                    <p:cmd type="call" cmd="playFrom(0.0)">
                                      <p:cBhvr>
                                        <p:cTn id="71" dur="1" fill="hold"/>
                                        <p:tgtEl>
                                          <p:spTgt spid="2"/>
                                        </p:tgtEl>
                                      </p:cBhvr>
                                    </p:cmd>
                                  </p:childTnLst>
                                </p:cTn>
                              </p:par>
                            </p:childTnLst>
                          </p:cTn>
                        </p:par>
                      </p:childTnLst>
                    </p:cTn>
                  </p:par>
                </p:childTnLst>
              </p:cTn>
              <p:nextCondLst>
                <p:cond evt="onClick" delay="0">
                  <p:tgtEl>
                    <p:spTgt spid="16"/>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5CA96DE-78A4-4D71-9018-4AC46FF435DE}"/>
              </a:ext>
            </a:extLst>
          </p:cNvPr>
          <p:cNvPicPr>
            <a:picLocks noChangeAspect="1"/>
          </p:cNvPicPr>
          <p:nvPr/>
        </p:nvPicPr>
        <p:blipFill>
          <a:blip r:embed="rId8"/>
          <a:stretch>
            <a:fillRect/>
          </a:stretch>
        </p:blipFill>
        <p:spPr>
          <a:xfrm>
            <a:off x="-7503" y="-1393287"/>
            <a:ext cx="9151502" cy="6536787"/>
          </a:xfrm>
          <a:prstGeom prst="rect">
            <a:avLst/>
          </a:prstGeom>
        </p:spPr>
      </p:pic>
      <p:pic>
        <p:nvPicPr>
          <p:cNvPr id="33" name="Picture 32">
            <a:extLst>
              <a:ext uri="{FF2B5EF4-FFF2-40B4-BE49-F238E27FC236}">
                <a16:creationId xmlns:a16="http://schemas.microsoft.com/office/drawing/2014/main" id="{734ECCA8-0C93-4070-BC07-21CD5B1A208E}"/>
              </a:ext>
            </a:extLst>
          </p:cNvPr>
          <p:cNvPicPr>
            <a:picLocks noChangeAspect="1"/>
          </p:cNvPicPr>
          <p:nvPr/>
        </p:nvPicPr>
        <p:blipFill>
          <a:blip r:embed="rId9"/>
          <a:stretch>
            <a:fillRect/>
          </a:stretch>
        </p:blipFill>
        <p:spPr>
          <a:xfrm>
            <a:off x="0" y="-1387928"/>
            <a:ext cx="9144000" cy="6531428"/>
          </a:xfrm>
          <a:prstGeom prst="rect">
            <a:avLst/>
          </a:prstGeom>
        </p:spPr>
      </p:pic>
      <p:pic>
        <p:nvPicPr>
          <p:cNvPr id="4" name="Picture 3">
            <a:extLst>
              <a:ext uri="{FF2B5EF4-FFF2-40B4-BE49-F238E27FC236}">
                <a16:creationId xmlns:a16="http://schemas.microsoft.com/office/drawing/2014/main" id="{BDC1A603-354F-435D-AEB7-58626DEC55F5}"/>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7502" y="-1393849"/>
            <a:ext cx="9151502" cy="6535951"/>
          </a:xfrm>
          <a:prstGeom prst="rect">
            <a:avLst/>
          </a:prstGeom>
        </p:spPr>
      </p:pic>
      <p:pic>
        <p:nvPicPr>
          <p:cNvPr id="21" name="Picture 20">
            <a:extLst>
              <a:ext uri="{FF2B5EF4-FFF2-40B4-BE49-F238E27FC236}">
                <a16:creationId xmlns:a16="http://schemas.microsoft.com/office/drawing/2014/main" id="{101CE774-744F-4C7A-9955-F73491C34842}"/>
              </a:ext>
            </a:extLst>
          </p:cNvPr>
          <p:cNvPicPr>
            <a:picLocks noChangeAspect="1"/>
          </p:cNvPicPr>
          <p:nvPr/>
        </p:nvPicPr>
        <p:blipFill>
          <a:blip r:embed="rId11"/>
          <a:stretch>
            <a:fillRect/>
          </a:stretch>
        </p:blipFill>
        <p:spPr>
          <a:xfrm>
            <a:off x="4622231" y="3911985"/>
            <a:ext cx="1010500" cy="727011"/>
          </a:xfrm>
          <a:prstGeom prst="rect">
            <a:avLst/>
          </a:prstGeom>
        </p:spPr>
      </p:pic>
      <p:pic>
        <p:nvPicPr>
          <p:cNvPr id="20" name="Picture 19">
            <a:extLst>
              <a:ext uri="{FF2B5EF4-FFF2-40B4-BE49-F238E27FC236}">
                <a16:creationId xmlns:a16="http://schemas.microsoft.com/office/drawing/2014/main" id="{DB788A32-C95B-4003-9294-ED973E5BF647}"/>
              </a:ext>
            </a:extLst>
          </p:cNvPr>
          <p:cNvPicPr>
            <a:picLocks noChangeAspect="1"/>
          </p:cNvPicPr>
          <p:nvPr/>
        </p:nvPicPr>
        <p:blipFill>
          <a:blip r:embed="rId12"/>
          <a:stretch>
            <a:fillRect/>
          </a:stretch>
        </p:blipFill>
        <p:spPr>
          <a:xfrm>
            <a:off x="3405480" y="3911986"/>
            <a:ext cx="1010500" cy="722438"/>
          </a:xfrm>
          <a:prstGeom prst="rect">
            <a:avLst/>
          </a:prstGeom>
        </p:spPr>
      </p:pic>
      <p:pic>
        <p:nvPicPr>
          <p:cNvPr id="15" name="Picture 14">
            <a:extLst>
              <a:ext uri="{FF2B5EF4-FFF2-40B4-BE49-F238E27FC236}">
                <a16:creationId xmlns:a16="http://schemas.microsoft.com/office/drawing/2014/main" id="{C9D7EF65-CD86-4DEA-82CE-78B4750B4F6D}"/>
              </a:ext>
            </a:extLst>
          </p:cNvPr>
          <p:cNvPicPr>
            <a:picLocks noChangeAspect="1"/>
          </p:cNvPicPr>
          <p:nvPr/>
        </p:nvPicPr>
        <p:blipFill>
          <a:blip r:embed="rId13"/>
          <a:stretch>
            <a:fillRect/>
          </a:stretch>
        </p:blipFill>
        <p:spPr>
          <a:xfrm>
            <a:off x="4622231" y="2291069"/>
            <a:ext cx="1010500" cy="727011"/>
          </a:xfrm>
          <a:prstGeom prst="rect">
            <a:avLst/>
          </a:prstGeom>
        </p:spPr>
      </p:pic>
      <p:pic>
        <p:nvPicPr>
          <p:cNvPr id="2" name="Picture 1">
            <a:extLst>
              <a:ext uri="{FF2B5EF4-FFF2-40B4-BE49-F238E27FC236}">
                <a16:creationId xmlns:a16="http://schemas.microsoft.com/office/drawing/2014/main" id="{CD62D86A-FAC6-4AAB-B7AD-13AF6333299A}"/>
              </a:ext>
            </a:extLst>
          </p:cNvPr>
          <p:cNvPicPr>
            <a:picLocks noChangeAspect="1"/>
          </p:cNvPicPr>
          <p:nvPr/>
        </p:nvPicPr>
        <p:blipFill>
          <a:blip r:embed="rId14"/>
          <a:stretch>
            <a:fillRect/>
          </a:stretch>
        </p:blipFill>
        <p:spPr>
          <a:xfrm>
            <a:off x="3405480" y="2291069"/>
            <a:ext cx="1010500" cy="727011"/>
          </a:xfrm>
          <a:prstGeom prst="rect">
            <a:avLst/>
          </a:prstGeom>
        </p:spPr>
      </p:pic>
      <p:cxnSp>
        <p:nvCxnSpPr>
          <p:cNvPr id="6" name="Straight Connector 5">
            <a:extLst>
              <a:ext uri="{FF2B5EF4-FFF2-40B4-BE49-F238E27FC236}">
                <a16:creationId xmlns:a16="http://schemas.microsoft.com/office/drawing/2014/main" id="{3EF2F97A-9E2C-4C1B-9BA8-A29231423BAA}"/>
              </a:ext>
            </a:extLst>
          </p:cNvPr>
          <p:cNvCxnSpPr>
            <a:cxnSpLocks/>
          </p:cNvCxnSpPr>
          <p:nvPr/>
        </p:nvCxnSpPr>
        <p:spPr>
          <a:xfrm>
            <a:off x="0" y="0"/>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C3EFA8F-B9A1-4EA9-B52E-B89080D535F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05627" y="4430704"/>
            <a:ext cx="1603606" cy="2206294"/>
          </a:xfrm>
          <a:prstGeom prst="rect">
            <a:avLst/>
          </a:prstGeom>
        </p:spPr>
      </p:pic>
      <p:pic>
        <p:nvPicPr>
          <p:cNvPr id="12" name="Picture 11">
            <a:extLst>
              <a:ext uri="{FF2B5EF4-FFF2-40B4-BE49-F238E27FC236}">
                <a16:creationId xmlns:a16="http://schemas.microsoft.com/office/drawing/2014/main" id="{DBC6A1B7-E8F3-46D7-A22A-84F8AB3A969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081637" y="2814360"/>
            <a:ext cx="877141" cy="1097626"/>
          </a:xfrm>
          <a:prstGeom prst="rect">
            <a:avLst/>
          </a:prstGeom>
        </p:spPr>
      </p:pic>
      <p:grpSp>
        <p:nvGrpSpPr>
          <p:cNvPr id="16" name="Group 15">
            <a:extLst>
              <a:ext uri="{FF2B5EF4-FFF2-40B4-BE49-F238E27FC236}">
                <a16:creationId xmlns:a16="http://schemas.microsoft.com/office/drawing/2014/main" id="{2125B487-0096-4B93-AE2A-35F664CA4945}"/>
              </a:ext>
            </a:extLst>
          </p:cNvPr>
          <p:cNvGrpSpPr/>
          <p:nvPr/>
        </p:nvGrpSpPr>
        <p:grpSpPr>
          <a:xfrm>
            <a:off x="305441" y="1848780"/>
            <a:ext cx="3305837" cy="1397956"/>
            <a:chOff x="407254" y="2465040"/>
            <a:chExt cx="4407783" cy="1863941"/>
          </a:xfrm>
        </p:grpSpPr>
        <p:sp>
          <p:nvSpPr>
            <p:cNvPr id="26" name="Freeform: Shape 25">
              <a:extLst>
                <a:ext uri="{FF2B5EF4-FFF2-40B4-BE49-F238E27FC236}">
                  <a16:creationId xmlns:a16="http://schemas.microsoft.com/office/drawing/2014/main" id="{DE107CBF-D45A-4821-9AF9-91E811B920BF}"/>
                </a:ext>
              </a:extLst>
            </p:cNvPr>
            <p:cNvSpPr/>
            <p:nvPr/>
          </p:nvSpPr>
          <p:spPr>
            <a:xfrm flipH="1">
              <a:off x="418429" y="2465042"/>
              <a:ext cx="4396608"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dirty="0"/>
            </a:p>
          </p:txBody>
        </p:sp>
        <p:sp>
          <p:nvSpPr>
            <p:cNvPr id="11" name="Rectangle: Rounded Corners 10">
              <a:extLst>
                <a:ext uri="{FF2B5EF4-FFF2-40B4-BE49-F238E27FC236}">
                  <a16:creationId xmlns:a16="http://schemas.microsoft.com/office/drawing/2014/main" id="{2D476256-F649-440E-8CB6-34553EE46959}"/>
                </a:ext>
              </a:extLst>
            </p:cNvPr>
            <p:cNvSpPr/>
            <p:nvPr/>
          </p:nvSpPr>
          <p:spPr>
            <a:xfrm>
              <a:off x="407254" y="2465040"/>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Mô</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ình</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dữ</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liệu</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qua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ệ</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p>
          </p:txBody>
        </p:sp>
      </p:grpSp>
      <p:grpSp>
        <p:nvGrpSpPr>
          <p:cNvPr id="17" name="Group 16">
            <a:extLst>
              <a:ext uri="{FF2B5EF4-FFF2-40B4-BE49-F238E27FC236}">
                <a16:creationId xmlns:a16="http://schemas.microsoft.com/office/drawing/2014/main" id="{3F6095D1-5BDA-4028-80BF-CF720429106A}"/>
              </a:ext>
            </a:extLst>
          </p:cNvPr>
          <p:cNvGrpSpPr/>
          <p:nvPr/>
        </p:nvGrpSpPr>
        <p:grpSpPr>
          <a:xfrm>
            <a:off x="303758" y="3488704"/>
            <a:ext cx="3289951" cy="1397954"/>
            <a:chOff x="408250" y="4651605"/>
            <a:chExt cx="4386601" cy="1863939"/>
          </a:xfrm>
        </p:grpSpPr>
        <p:sp>
          <p:nvSpPr>
            <p:cNvPr id="30" name="Freeform: Shape 29">
              <a:extLst>
                <a:ext uri="{FF2B5EF4-FFF2-40B4-BE49-F238E27FC236}">
                  <a16:creationId xmlns:a16="http://schemas.microsoft.com/office/drawing/2014/main" id="{18151A68-8ABC-4A1D-8A5B-E03CCFBD3F59}"/>
                </a:ext>
              </a:extLst>
            </p:cNvPr>
            <p:cNvSpPr/>
            <p:nvPr/>
          </p:nvSpPr>
          <p:spPr>
            <a:xfrm flipH="1">
              <a:off x="408250" y="4651605"/>
              <a:ext cx="4386601"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7" name="Rectangle: Rounded Corners 36">
              <a:extLst>
                <a:ext uri="{FF2B5EF4-FFF2-40B4-BE49-F238E27FC236}">
                  <a16:creationId xmlns:a16="http://schemas.microsoft.com/office/drawing/2014/main" id="{E5506EB0-83F9-49CB-A1BA-DE0BD904E95B}"/>
                </a:ext>
              </a:extLst>
            </p:cNvPr>
            <p:cNvSpPr/>
            <p:nvPr/>
          </p:nvSpPr>
          <p:spPr>
            <a:xfrm>
              <a:off x="413731" y="4651957"/>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Mô</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ình</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ướng</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đối</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tượng</a:t>
              </a:r>
              <a:endPar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endParaRPr>
            </a:p>
          </p:txBody>
        </p:sp>
      </p:grpSp>
      <p:grpSp>
        <p:nvGrpSpPr>
          <p:cNvPr id="18" name="Group 17">
            <a:extLst>
              <a:ext uri="{FF2B5EF4-FFF2-40B4-BE49-F238E27FC236}">
                <a16:creationId xmlns:a16="http://schemas.microsoft.com/office/drawing/2014/main" id="{3B4C7E7A-5F81-463B-9FDA-5F8A47FCDC1D}"/>
              </a:ext>
            </a:extLst>
          </p:cNvPr>
          <p:cNvGrpSpPr/>
          <p:nvPr/>
        </p:nvGrpSpPr>
        <p:grpSpPr>
          <a:xfrm>
            <a:off x="5532723" y="1848781"/>
            <a:ext cx="3480705" cy="1397954"/>
            <a:chOff x="7376963" y="2465042"/>
            <a:chExt cx="4640940" cy="1863939"/>
          </a:xfrm>
        </p:grpSpPr>
        <p:sp>
          <p:nvSpPr>
            <p:cNvPr id="58" name="Freeform: Shape 57">
              <a:extLst>
                <a:ext uri="{FF2B5EF4-FFF2-40B4-BE49-F238E27FC236}">
                  <a16:creationId xmlns:a16="http://schemas.microsoft.com/office/drawing/2014/main" id="{F2A6F710-A8CF-4338-BF74-99DD36D700F5}"/>
                </a:ext>
              </a:extLst>
            </p:cNvPr>
            <p:cNvSpPr/>
            <p:nvPr/>
          </p:nvSpPr>
          <p:spPr>
            <a:xfrm>
              <a:off x="7376963" y="2465042"/>
              <a:ext cx="4396608"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8" name="Rectangle: Rounded Corners 37">
              <a:extLst>
                <a:ext uri="{FF2B5EF4-FFF2-40B4-BE49-F238E27FC236}">
                  <a16:creationId xmlns:a16="http://schemas.microsoft.com/office/drawing/2014/main" id="{556501E9-9FDB-43AC-A584-2F09815162C2}"/>
                </a:ext>
              </a:extLst>
            </p:cNvPr>
            <p:cNvSpPr/>
            <p:nvPr/>
          </p:nvSpPr>
          <p:spPr>
            <a:xfrm>
              <a:off x="7757978" y="2474971"/>
              <a:ext cx="4259925" cy="18441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Mô</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ình</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phâ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cấp</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p>
          </p:txBody>
        </p:sp>
      </p:grpSp>
      <p:grpSp>
        <p:nvGrpSpPr>
          <p:cNvPr id="19" name="Group 18">
            <a:extLst>
              <a:ext uri="{FF2B5EF4-FFF2-40B4-BE49-F238E27FC236}">
                <a16:creationId xmlns:a16="http://schemas.microsoft.com/office/drawing/2014/main" id="{F1EA9857-F9FD-46FE-98C0-E0E88372E3CE}"/>
              </a:ext>
            </a:extLst>
          </p:cNvPr>
          <p:cNvGrpSpPr/>
          <p:nvPr/>
        </p:nvGrpSpPr>
        <p:grpSpPr>
          <a:xfrm>
            <a:off x="5537446" y="3488704"/>
            <a:ext cx="3302796" cy="1397954"/>
            <a:chOff x="7386970" y="4651605"/>
            <a:chExt cx="4403728" cy="1863939"/>
          </a:xfrm>
        </p:grpSpPr>
        <p:sp>
          <p:nvSpPr>
            <p:cNvPr id="59" name="Freeform: Shape 58">
              <a:extLst>
                <a:ext uri="{FF2B5EF4-FFF2-40B4-BE49-F238E27FC236}">
                  <a16:creationId xmlns:a16="http://schemas.microsoft.com/office/drawing/2014/main" id="{D460C3EE-DC44-4D12-870D-2DE09B68AF9B}"/>
                </a:ext>
              </a:extLst>
            </p:cNvPr>
            <p:cNvSpPr/>
            <p:nvPr/>
          </p:nvSpPr>
          <p:spPr>
            <a:xfrm>
              <a:off x="7386970" y="4651605"/>
              <a:ext cx="4386601"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9" name="Rectangle: Rounded Corners 38">
              <a:extLst>
                <a:ext uri="{FF2B5EF4-FFF2-40B4-BE49-F238E27FC236}">
                  <a16:creationId xmlns:a16="http://schemas.microsoft.com/office/drawing/2014/main" id="{007442A2-F9C5-43FF-810D-EFCA0A5691BC}"/>
                </a:ext>
              </a:extLst>
            </p:cNvPr>
            <p:cNvSpPr/>
            <p:nvPr/>
          </p:nvSpPr>
          <p:spPr>
            <a:xfrm>
              <a:off x="7755387" y="4651791"/>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Mô</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ình</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cơ</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sở</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qua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ệ</a:t>
              </a:r>
              <a:endPar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endParaRPr>
            </a:p>
          </p:txBody>
        </p:sp>
      </p:grpSp>
      <p:pic>
        <p:nvPicPr>
          <p:cNvPr id="25" name="Picture 24">
            <a:hlinkClick r:id="" action="ppaction://hlinkshowjump?jump=previousslide"/>
            <a:extLst>
              <a:ext uri="{FF2B5EF4-FFF2-40B4-BE49-F238E27FC236}">
                <a16:creationId xmlns:a16="http://schemas.microsoft.com/office/drawing/2014/main" id="{8B2C70E5-001C-4AB8-A483-A5AE816CCA2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42511" y="973746"/>
            <a:ext cx="470917" cy="470917"/>
          </a:xfrm>
          <a:prstGeom prst="rect">
            <a:avLst/>
          </a:prstGeom>
        </p:spPr>
      </p:pic>
      <p:pic>
        <p:nvPicPr>
          <p:cNvPr id="43" name="Picture 42">
            <a:hlinkClick r:id="" action="ppaction://hlinkshowjump?jump=nextslide"/>
            <a:extLst>
              <a:ext uri="{FF2B5EF4-FFF2-40B4-BE49-F238E27FC236}">
                <a16:creationId xmlns:a16="http://schemas.microsoft.com/office/drawing/2014/main" id="{D8AAF6E7-6478-452A-B31D-6DDC7956E66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flipH="1">
            <a:off x="8542511" y="370416"/>
            <a:ext cx="470917" cy="470917"/>
          </a:xfrm>
          <a:prstGeom prst="rect">
            <a:avLst/>
          </a:prstGeom>
        </p:spPr>
      </p:pic>
      <p:grpSp>
        <p:nvGrpSpPr>
          <p:cNvPr id="31" name="Group 30">
            <a:extLst>
              <a:ext uri="{FF2B5EF4-FFF2-40B4-BE49-F238E27FC236}">
                <a16:creationId xmlns:a16="http://schemas.microsoft.com/office/drawing/2014/main" id="{7FE0546E-6488-491E-8AA1-277B5CEB2FD6}"/>
              </a:ext>
            </a:extLst>
          </p:cNvPr>
          <p:cNvGrpSpPr/>
          <p:nvPr/>
        </p:nvGrpSpPr>
        <p:grpSpPr>
          <a:xfrm>
            <a:off x="102156" y="120831"/>
            <a:ext cx="8345605" cy="1507050"/>
            <a:chOff x="150128" y="102542"/>
            <a:chExt cx="11127473" cy="2009400"/>
          </a:xfrm>
        </p:grpSpPr>
        <p:grpSp>
          <p:nvGrpSpPr>
            <p:cNvPr id="10" name="Group 9">
              <a:extLst>
                <a:ext uri="{FF2B5EF4-FFF2-40B4-BE49-F238E27FC236}">
                  <a16:creationId xmlns:a16="http://schemas.microsoft.com/office/drawing/2014/main" id="{F8E54022-CBBB-4124-B256-472085A25CC7}"/>
                </a:ext>
              </a:extLst>
            </p:cNvPr>
            <p:cNvGrpSpPr/>
            <p:nvPr/>
          </p:nvGrpSpPr>
          <p:grpSpPr>
            <a:xfrm>
              <a:off x="1107065" y="248000"/>
              <a:ext cx="10170536" cy="1863939"/>
              <a:chOff x="1107064" y="247999"/>
              <a:chExt cx="10404597" cy="1863939"/>
            </a:xfrm>
          </p:grpSpPr>
          <p:pic>
            <p:nvPicPr>
              <p:cNvPr id="3" name="Picture 2">
                <a:extLst>
                  <a:ext uri="{FF2B5EF4-FFF2-40B4-BE49-F238E27FC236}">
                    <a16:creationId xmlns:a16="http://schemas.microsoft.com/office/drawing/2014/main" id="{CBD9B5C9-CA06-4115-934D-476E7C9299B8}"/>
                  </a:ext>
                </a:extLst>
              </p:cNvPr>
              <p:cNvPicPr>
                <a:picLocks noChangeAspect="1"/>
              </p:cNvPicPr>
              <p:nvPr/>
            </p:nvPicPr>
            <p:blipFill>
              <a:blip r:embed="rId18"/>
              <a:stretch>
                <a:fillRect/>
              </a:stretch>
            </p:blipFill>
            <p:spPr>
              <a:xfrm>
                <a:off x="1107064" y="247999"/>
                <a:ext cx="10404597" cy="1863939"/>
              </a:xfrm>
              <a:prstGeom prst="rect">
                <a:avLst/>
              </a:prstGeom>
            </p:spPr>
          </p:pic>
          <p:sp>
            <p:nvSpPr>
              <p:cNvPr id="5" name="Rectangle 4">
                <a:extLst>
                  <a:ext uri="{FF2B5EF4-FFF2-40B4-BE49-F238E27FC236}">
                    <a16:creationId xmlns:a16="http://schemas.microsoft.com/office/drawing/2014/main" id="{68CCCB1E-5D6D-4B1D-94ED-906BCD4A2D0C}"/>
                  </a:ext>
                </a:extLst>
              </p:cNvPr>
              <p:cNvSpPr/>
              <p:nvPr/>
            </p:nvSpPr>
            <p:spPr>
              <a:xfrm>
                <a:off x="1527388" y="359923"/>
                <a:ext cx="9698331" cy="1620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err="1">
                    <a:latin typeface="iCiel Cadena" panose="02000503000000020004" pitchFamily="50" charset="0"/>
                    <a:ea typeface="Tahoma" panose="020B0604030504040204" pitchFamily="34" charset="0"/>
                    <a:cs typeface="Tahoma" panose="020B0604030504040204" pitchFamily="34" charset="0"/>
                  </a:rPr>
                  <a:t>Mô</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hình</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phổ</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biến</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để</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xây</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dựng</a:t>
                </a:r>
                <a:r>
                  <a:rPr lang="en-US" sz="3000" dirty="0">
                    <a:latin typeface="iCiel Cadena" panose="02000503000000020004" pitchFamily="50" charset="0"/>
                    <a:ea typeface="Tahoma" panose="020B0604030504040204" pitchFamily="34" charset="0"/>
                    <a:cs typeface="Tahoma" panose="020B0604030504040204" pitchFamily="34" charset="0"/>
                  </a:rPr>
                  <a:t> CSDL </a:t>
                </a:r>
                <a:r>
                  <a:rPr lang="en-US" sz="3000" dirty="0" err="1">
                    <a:latin typeface="iCiel Cadena" panose="02000503000000020004" pitchFamily="50" charset="0"/>
                    <a:ea typeface="Tahoma" panose="020B0604030504040204" pitchFamily="34" charset="0"/>
                    <a:cs typeface="Tahoma" panose="020B0604030504040204" pitchFamily="34" charset="0"/>
                  </a:rPr>
                  <a:t>quan</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hệ</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là</a:t>
                </a:r>
                <a:r>
                  <a:rPr lang="en-US" sz="3000" dirty="0">
                    <a:latin typeface="iCiel Cadena" panose="02000503000000020004" pitchFamily="50" charset="0"/>
                    <a:ea typeface="Tahoma" panose="020B0604030504040204" pitchFamily="34" charset="0"/>
                    <a:cs typeface="Tahoma" panose="020B0604030504040204" pitchFamily="34" charset="0"/>
                  </a:rPr>
                  <a:t>:</a:t>
                </a:r>
              </a:p>
            </p:txBody>
          </p:sp>
        </p:grpSp>
        <p:pic>
          <p:nvPicPr>
            <p:cNvPr id="9" name="Picture 8">
              <a:extLst>
                <a:ext uri="{FF2B5EF4-FFF2-40B4-BE49-F238E27FC236}">
                  <a16:creationId xmlns:a16="http://schemas.microsoft.com/office/drawing/2014/main" id="{BA90CF18-B31B-4FFE-AF8E-D970FEA1326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rot="16200000">
              <a:off x="-165942" y="418612"/>
              <a:ext cx="2009400" cy="1377259"/>
            </a:xfrm>
            <a:prstGeom prst="rect">
              <a:avLst/>
            </a:prstGeom>
          </p:spPr>
        </p:pic>
        <p:sp>
          <p:nvSpPr>
            <p:cNvPr id="29" name="TextBox 28">
              <a:extLst>
                <a:ext uri="{FF2B5EF4-FFF2-40B4-BE49-F238E27FC236}">
                  <a16:creationId xmlns:a16="http://schemas.microsoft.com/office/drawing/2014/main" id="{784446D1-0083-4268-9941-8C7553FD46F9}"/>
                </a:ext>
              </a:extLst>
            </p:cNvPr>
            <p:cNvSpPr txBox="1"/>
            <p:nvPr/>
          </p:nvSpPr>
          <p:spPr>
            <a:xfrm>
              <a:off x="506731" y="702825"/>
              <a:ext cx="909211" cy="769441"/>
            </a:xfrm>
            <a:prstGeom prst="rect">
              <a:avLst/>
            </a:prstGeom>
            <a:noFill/>
          </p:spPr>
          <p:txBody>
            <a:bodyPr wrap="square" rtlCol="0" anchor="ctr">
              <a:spAutoFit/>
            </a:bodyPr>
            <a:lstStyle/>
            <a:p>
              <a:pPr algn="ctr"/>
              <a:r>
                <a:rPr lang="en-US" sz="3150" dirty="0">
                  <a:solidFill>
                    <a:schemeClr val="bg1"/>
                  </a:solidFill>
                  <a:latin typeface="iCiel Cadena" panose="02000503000000020004" pitchFamily="50" charset="0"/>
                </a:rPr>
                <a:t>01</a:t>
              </a:r>
            </a:p>
          </p:txBody>
        </p:sp>
      </p:grpSp>
      <p:pic>
        <p:nvPicPr>
          <p:cNvPr id="68" name="Picture 67">
            <a:extLst>
              <a:ext uri="{FF2B5EF4-FFF2-40B4-BE49-F238E27FC236}">
                <a16:creationId xmlns:a16="http://schemas.microsoft.com/office/drawing/2014/main" id="{F8ECF37D-87DA-4037-9AD8-19A7885886B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235441" y="317603"/>
            <a:ext cx="996114" cy="996114"/>
          </a:xfrm>
          <a:prstGeom prst="rect">
            <a:avLst/>
          </a:prstGeom>
        </p:spPr>
      </p:pic>
      <p:pic>
        <p:nvPicPr>
          <p:cNvPr id="14" name="Picture 13">
            <a:extLst>
              <a:ext uri="{FF2B5EF4-FFF2-40B4-BE49-F238E27FC236}">
                <a16:creationId xmlns:a16="http://schemas.microsoft.com/office/drawing/2014/main" id="{ECFDE3CD-C082-47B5-9D9B-98E503415D3F}"/>
              </a:ext>
            </a:extLst>
          </p:cNvPr>
          <p:cNvPicPr>
            <a:picLocks noChangeAspect="1"/>
          </p:cNvPicPr>
          <p:nvPr/>
        </p:nvPicPr>
        <p:blipFill>
          <a:blip r:embed="rId20"/>
          <a:stretch>
            <a:fillRect/>
          </a:stretch>
        </p:blipFill>
        <p:spPr>
          <a:xfrm>
            <a:off x="-1245083" y="317603"/>
            <a:ext cx="996782" cy="996782"/>
          </a:xfrm>
          <a:prstGeom prst="rect">
            <a:avLst/>
          </a:prstGeom>
        </p:spPr>
      </p:pic>
      <p:pic>
        <p:nvPicPr>
          <p:cNvPr id="7" name="AmthanhThua">
            <a:hlinkClick r:id="" action="ppaction://media"/>
            <a:extLst>
              <a:ext uri="{FF2B5EF4-FFF2-40B4-BE49-F238E27FC236}">
                <a16:creationId xmlns:a16="http://schemas.microsoft.com/office/drawing/2014/main" id="{6A298B67-43A1-4AC9-AFD5-E52AFF7EC3B7}"/>
              </a:ext>
            </a:extLst>
          </p:cNvPr>
          <p:cNvPicPr>
            <a:picLocks noChangeAspect="1"/>
          </p:cNvPicPr>
          <p:nvPr>
            <a:audioFile r:link="rId2"/>
            <p:extLst>
              <p:ext uri="{DAA4B4D4-6D71-4841-9C94-3DE7FCFB9230}">
                <p14:media xmlns:p14="http://schemas.microsoft.com/office/powerpoint/2010/main" r:embed="rId1"/>
              </p:ext>
            </p:extLst>
          </p:nvPr>
        </p:nvPicPr>
        <p:blipFill>
          <a:blip r:embed="rId21"/>
          <a:stretch>
            <a:fillRect/>
          </a:stretch>
        </p:blipFill>
        <p:spPr>
          <a:xfrm>
            <a:off x="-933759" y="3305943"/>
            <a:ext cx="365522" cy="365522"/>
          </a:xfrm>
          <a:prstGeom prst="rect">
            <a:avLst/>
          </a:prstGeom>
        </p:spPr>
      </p:pic>
      <p:pic>
        <p:nvPicPr>
          <p:cNvPr id="22" name="nhacthang">
            <a:hlinkClick r:id="" action="ppaction://media"/>
            <a:extLst>
              <a:ext uri="{FF2B5EF4-FFF2-40B4-BE49-F238E27FC236}">
                <a16:creationId xmlns:a16="http://schemas.microsoft.com/office/drawing/2014/main" id="{7F4D256B-EBEA-4BF4-94EE-9E076C8DB254}"/>
              </a:ext>
            </a:extLst>
          </p:cNvPr>
          <p:cNvPicPr>
            <a:picLocks noChangeAspect="1"/>
          </p:cNvPicPr>
          <p:nvPr>
            <a:audioFile r:link="rId4"/>
            <p:extLst>
              <p:ext uri="{DAA4B4D4-6D71-4841-9C94-3DE7FCFB9230}">
                <p14:media xmlns:p14="http://schemas.microsoft.com/office/powerpoint/2010/main" r:embed="rId3"/>
              </p:ext>
            </p:extLst>
          </p:nvPr>
        </p:nvPicPr>
        <p:blipFill>
          <a:blip r:embed="rId21"/>
          <a:stretch>
            <a:fillRect/>
          </a:stretch>
        </p:blipFill>
        <p:spPr>
          <a:xfrm>
            <a:off x="-923894" y="2157298"/>
            <a:ext cx="365522" cy="365522"/>
          </a:xfrm>
          <a:prstGeom prst="rect">
            <a:avLst/>
          </a:prstGeom>
        </p:spPr>
      </p:pic>
      <p:sp>
        <p:nvSpPr>
          <p:cNvPr id="36" name="TextBox 35">
            <a:extLst>
              <a:ext uri="{FF2B5EF4-FFF2-40B4-BE49-F238E27FC236}">
                <a16:creationId xmlns:a16="http://schemas.microsoft.com/office/drawing/2014/main" id="{46C5205F-77CD-48D9-BEBD-A0A0E370FF5F}"/>
              </a:ext>
            </a:extLst>
          </p:cNvPr>
          <p:cNvSpPr txBox="1"/>
          <p:nvPr/>
        </p:nvSpPr>
        <p:spPr>
          <a:xfrm>
            <a:off x="-1296195" y="1527748"/>
            <a:ext cx="1116011" cy="415498"/>
          </a:xfrm>
          <a:prstGeom prst="rect">
            <a:avLst/>
          </a:prstGeom>
          <a:noFill/>
        </p:spPr>
        <p:txBody>
          <a:bodyPr wrap="none" rtlCol="0">
            <a:spAutoFit/>
          </a:bodyPr>
          <a:lstStyle/>
          <a:p>
            <a:pPr algn="ctr"/>
            <a:r>
              <a:rPr lang="en-US" sz="1050" b="1" dirty="0" err="1"/>
              <a:t>Âm</a:t>
            </a:r>
            <a:r>
              <a:rPr lang="en-US" sz="1050" b="1" dirty="0"/>
              <a:t> </a:t>
            </a:r>
            <a:r>
              <a:rPr lang="en-US" sz="1050" b="1" dirty="0" err="1"/>
              <a:t>thanh</a:t>
            </a:r>
            <a:r>
              <a:rPr lang="en-US" sz="1050" b="1" dirty="0"/>
              <a:t> </a:t>
            </a:r>
          </a:p>
          <a:p>
            <a:pPr algn="ctr"/>
            <a:r>
              <a:rPr lang="en-US" sz="1050" b="1" dirty="0" err="1"/>
              <a:t>khi</a:t>
            </a:r>
            <a:r>
              <a:rPr lang="en-US" sz="1050" b="1" dirty="0"/>
              <a:t> </a:t>
            </a:r>
            <a:r>
              <a:rPr lang="en-US" sz="1050" b="1" dirty="0" err="1"/>
              <a:t>chọn</a:t>
            </a:r>
            <a:r>
              <a:rPr lang="en-US" sz="1050" b="1" dirty="0"/>
              <a:t> </a:t>
            </a:r>
            <a:r>
              <a:rPr lang="en-US" sz="1050" b="1" dirty="0" err="1"/>
              <a:t>Đúng</a:t>
            </a:r>
            <a:endParaRPr lang="en-US" sz="1050" b="1" dirty="0"/>
          </a:p>
        </p:txBody>
      </p:sp>
      <p:sp>
        <p:nvSpPr>
          <p:cNvPr id="40" name="TextBox 39">
            <a:extLst>
              <a:ext uri="{FF2B5EF4-FFF2-40B4-BE49-F238E27FC236}">
                <a16:creationId xmlns:a16="http://schemas.microsoft.com/office/drawing/2014/main" id="{42448546-574B-4681-A77D-861BAC54EDA0}"/>
              </a:ext>
            </a:extLst>
          </p:cNvPr>
          <p:cNvSpPr txBox="1"/>
          <p:nvPr/>
        </p:nvSpPr>
        <p:spPr>
          <a:xfrm>
            <a:off x="-1224052" y="2718811"/>
            <a:ext cx="974947" cy="415498"/>
          </a:xfrm>
          <a:prstGeom prst="rect">
            <a:avLst/>
          </a:prstGeom>
          <a:noFill/>
        </p:spPr>
        <p:txBody>
          <a:bodyPr wrap="none" rtlCol="0">
            <a:spAutoFit/>
          </a:bodyPr>
          <a:lstStyle/>
          <a:p>
            <a:pPr algn="ctr"/>
            <a:r>
              <a:rPr lang="en-US" sz="1050" b="1" dirty="0" err="1"/>
              <a:t>Âm</a:t>
            </a:r>
            <a:r>
              <a:rPr lang="en-US" sz="1050" b="1" dirty="0"/>
              <a:t> </a:t>
            </a:r>
            <a:r>
              <a:rPr lang="en-US" sz="1050" b="1" dirty="0" err="1"/>
              <a:t>thanh</a:t>
            </a:r>
            <a:r>
              <a:rPr lang="en-US" sz="1050" b="1" dirty="0"/>
              <a:t> </a:t>
            </a:r>
          </a:p>
          <a:p>
            <a:pPr algn="ctr"/>
            <a:r>
              <a:rPr lang="en-US" sz="1050" b="1" dirty="0" err="1"/>
              <a:t>khi</a:t>
            </a:r>
            <a:r>
              <a:rPr lang="en-US" sz="1050" b="1" dirty="0"/>
              <a:t> </a:t>
            </a:r>
            <a:r>
              <a:rPr lang="en-US" sz="1050" b="1" dirty="0" err="1"/>
              <a:t>chọn</a:t>
            </a:r>
            <a:r>
              <a:rPr lang="en-US" sz="1050" b="1" dirty="0"/>
              <a:t> Sai</a:t>
            </a:r>
          </a:p>
        </p:txBody>
      </p:sp>
    </p:spTree>
    <p:extLst>
      <p:ext uri="{BB962C8B-B14F-4D97-AF65-F5344CB8AC3E}">
        <p14:creationId xmlns:p14="http://schemas.microsoft.com/office/powerpoint/2010/main" val="3781437532"/>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par>
                          <p:cTn id="13" fill="hold">
                            <p:stCondLst>
                              <p:cond delay="1000"/>
                            </p:stCondLst>
                            <p:childTnLst>
                              <p:par>
                                <p:cTn id="14" presetID="53" presetClass="entr" presetSubtype="528"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p:cTn id="16" dur="500" fill="hold"/>
                                        <p:tgtEl>
                                          <p:spTgt spid="2"/>
                                        </p:tgtEl>
                                        <p:attrNameLst>
                                          <p:attrName>ppt_w</p:attrName>
                                        </p:attrNameLst>
                                      </p:cBhvr>
                                      <p:tavLst>
                                        <p:tav tm="0">
                                          <p:val>
                                            <p:fltVal val="0"/>
                                          </p:val>
                                        </p:tav>
                                        <p:tav tm="100000">
                                          <p:val>
                                            <p:strVal val="#ppt_w"/>
                                          </p:val>
                                        </p:tav>
                                      </p:tavLst>
                                    </p:anim>
                                    <p:anim calcmode="lin" valueType="num">
                                      <p:cBhvr>
                                        <p:cTn id="17" dur="500" fill="hold"/>
                                        <p:tgtEl>
                                          <p:spTgt spid="2"/>
                                        </p:tgtEl>
                                        <p:attrNameLst>
                                          <p:attrName>ppt_h</p:attrName>
                                        </p:attrNameLst>
                                      </p:cBhvr>
                                      <p:tavLst>
                                        <p:tav tm="0">
                                          <p:val>
                                            <p:fltVal val="0"/>
                                          </p:val>
                                        </p:tav>
                                        <p:tav tm="100000">
                                          <p:val>
                                            <p:strVal val="#ppt_h"/>
                                          </p:val>
                                        </p:tav>
                                      </p:tavLst>
                                    </p:anim>
                                    <p:animEffect transition="in" filter="fade">
                                      <p:cBhvr>
                                        <p:cTn id="18" dur="500"/>
                                        <p:tgtEl>
                                          <p:spTgt spid="2"/>
                                        </p:tgtEl>
                                      </p:cBhvr>
                                    </p:animEffect>
                                    <p:anim calcmode="lin" valueType="num">
                                      <p:cBhvr>
                                        <p:cTn id="19" dur="500" fill="hold"/>
                                        <p:tgtEl>
                                          <p:spTgt spid="2"/>
                                        </p:tgtEl>
                                        <p:attrNameLst>
                                          <p:attrName>ppt_x</p:attrName>
                                        </p:attrNameLst>
                                      </p:cBhvr>
                                      <p:tavLst>
                                        <p:tav tm="0">
                                          <p:val>
                                            <p:fltVal val="0.5"/>
                                          </p:val>
                                        </p:tav>
                                        <p:tav tm="100000">
                                          <p:val>
                                            <p:strVal val="#ppt_x"/>
                                          </p:val>
                                        </p:tav>
                                      </p:tavLst>
                                    </p:anim>
                                    <p:anim calcmode="lin" valueType="num">
                                      <p:cBhvr>
                                        <p:cTn id="20" dur="500" fill="hold"/>
                                        <p:tgtEl>
                                          <p:spTgt spid="2"/>
                                        </p:tgtEl>
                                        <p:attrNameLst>
                                          <p:attrName>ppt_y</p:attrName>
                                        </p:attrNameLst>
                                      </p:cBhvr>
                                      <p:tavLst>
                                        <p:tav tm="0">
                                          <p:val>
                                            <p:fltVal val="0.5"/>
                                          </p:val>
                                        </p:tav>
                                        <p:tav tm="100000">
                                          <p:val>
                                            <p:strVal val="#ppt_y"/>
                                          </p:val>
                                        </p:tav>
                                      </p:tavLst>
                                    </p:anim>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par>
                          <p:cTn id="25" fill="hold">
                            <p:stCondLst>
                              <p:cond delay="2000"/>
                            </p:stCondLst>
                            <p:childTnLst>
                              <p:par>
                                <p:cTn id="26" presetID="53" presetClass="entr" presetSubtype="528" fill="hold" nodeType="afterEffect">
                                  <p:stCondLst>
                                    <p:cond delay="0"/>
                                  </p:stCondLst>
                                  <p:childTnLst>
                                    <p:set>
                                      <p:cBhvr>
                                        <p:cTn id="27" dur="1" fill="hold">
                                          <p:stCondLst>
                                            <p:cond delay="0"/>
                                          </p:stCondLst>
                                        </p:cTn>
                                        <p:tgtEl>
                                          <p:spTgt spid="15"/>
                                        </p:tgtEl>
                                        <p:attrNameLst>
                                          <p:attrName>style.visibility</p:attrName>
                                        </p:attrNameLst>
                                      </p:cBhvr>
                                      <p:to>
                                        <p:strVal val="visible"/>
                                      </p:to>
                                    </p:set>
                                    <p:anim calcmode="lin" valueType="num">
                                      <p:cBhvr>
                                        <p:cTn id="28" dur="500" fill="hold"/>
                                        <p:tgtEl>
                                          <p:spTgt spid="15"/>
                                        </p:tgtEl>
                                        <p:attrNameLst>
                                          <p:attrName>ppt_w</p:attrName>
                                        </p:attrNameLst>
                                      </p:cBhvr>
                                      <p:tavLst>
                                        <p:tav tm="0">
                                          <p:val>
                                            <p:fltVal val="0"/>
                                          </p:val>
                                        </p:tav>
                                        <p:tav tm="100000">
                                          <p:val>
                                            <p:strVal val="#ppt_w"/>
                                          </p:val>
                                        </p:tav>
                                      </p:tavLst>
                                    </p:anim>
                                    <p:anim calcmode="lin" valueType="num">
                                      <p:cBhvr>
                                        <p:cTn id="29" dur="500" fill="hold"/>
                                        <p:tgtEl>
                                          <p:spTgt spid="15"/>
                                        </p:tgtEl>
                                        <p:attrNameLst>
                                          <p:attrName>ppt_h</p:attrName>
                                        </p:attrNameLst>
                                      </p:cBhvr>
                                      <p:tavLst>
                                        <p:tav tm="0">
                                          <p:val>
                                            <p:fltVal val="0"/>
                                          </p:val>
                                        </p:tav>
                                        <p:tav tm="100000">
                                          <p:val>
                                            <p:strVal val="#ppt_h"/>
                                          </p:val>
                                        </p:tav>
                                      </p:tavLst>
                                    </p:anim>
                                    <p:animEffect transition="in" filter="fade">
                                      <p:cBhvr>
                                        <p:cTn id="30" dur="500"/>
                                        <p:tgtEl>
                                          <p:spTgt spid="15"/>
                                        </p:tgtEl>
                                      </p:cBhvr>
                                    </p:animEffect>
                                    <p:anim calcmode="lin" valueType="num">
                                      <p:cBhvr>
                                        <p:cTn id="31" dur="500" fill="hold"/>
                                        <p:tgtEl>
                                          <p:spTgt spid="15"/>
                                        </p:tgtEl>
                                        <p:attrNameLst>
                                          <p:attrName>ppt_x</p:attrName>
                                        </p:attrNameLst>
                                      </p:cBhvr>
                                      <p:tavLst>
                                        <p:tav tm="0">
                                          <p:val>
                                            <p:fltVal val="0.5"/>
                                          </p:val>
                                        </p:tav>
                                        <p:tav tm="100000">
                                          <p:val>
                                            <p:strVal val="#ppt_x"/>
                                          </p:val>
                                        </p:tav>
                                      </p:tavLst>
                                    </p:anim>
                                    <p:anim calcmode="lin" valueType="num">
                                      <p:cBhvr>
                                        <p:cTn id="32" dur="500" fill="hold"/>
                                        <p:tgtEl>
                                          <p:spTgt spid="15"/>
                                        </p:tgtEl>
                                        <p:attrNameLst>
                                          <p:attrName>ppt_y</p:attrName>
                                        </p:attrNameLst>
                                      </p:cBhvr>
                                      <p:tavLst>
                                        <p:tav tm="0">
                                          <p:val>
                                            <p:fltVal val="0.5"/>
                                          </p:val>
                                        </p:tav>
                                        <p:tav tm="100000">
                                          <p:val>
                                            <p:strVal val="#ppt_y"/>
                                          </p:val>
                                        </p:tav>
                                      </p:tavLst>
                                    </p:anim>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par>
                          <p:cTn id="37" fill="hold">
                            <p:stCondLst>
                              <p:cond delay="3000"/>
                            </p:stCondLst>
                            <p:childTnLst>
                              <p:par>
                                <p:cTn id="38" presetID="53" presetClass="entr" presetSubtype="528" fill="hold" nodeType="afterEffect">
                                  <p:stCondLst>
                                    <p:cond delay="0"/>
                                  </p:stCondLst>
                                  <p:childTnLst>
                                    <p:set>
                                      <p:cBhvr>
                                        <p:cTn id="39" dur="1" fill="hold">
                                          <p:stCondLst>
                                            <p:cond delay="0"/>
                                          </p:stCondLst>
                                        </p:cTn>
                                        <p:tgtEl>
                                          <p:spTgt spid="20"/>
                                        </p:tgtEl>
                                        <p:attrNameLst>
                                          <p:attrName>style.visibility</p:attrName>
                                        </p:attrNameLst>
                                      </p:cBhvr>
                                      <p:to>
                                        <p:strVal val="visible"/>
                                      </p:to>
                                    </p:set>
                                    <p:anim calcmode="lin" valueType="num">
                                      <p:cBhvr>
                                        <p:cTn id="40" dur="500" fill="hold"/>
                                        <p:tgtEl>
                                          <p:spTgt spid="20"/>
                                        </p:tgtEl>
                                        <p:attrNameLst>
                                          <p:attrName>ppt_w</p:attrName>
                                        </p:attrNameLst>
                                      </p:cBhvr>
                                      <p:tavLst>
                                        <p:tav tm="0">
                                          <p:val>
                                            <p:fltVal val="0"/>
                                          </p:val>
                                        </p:tav>
                                        <p:tav tm="100000">
                                          <p:val>
                                            <p:strVal val="#ppt_w"/>
                                          </p:val>
                                        </p:tav>
                                      </p:tavLst>
                                    </p:anim>
                                    <p:anim calcmode="lin" valueType="num">
                                      <p:cBhvr>
                                        <p:cTn id="41" dur="500" fill="hold"/>
                                        <p:tgtEl>
                                          <p:spTgt spid="20"/>
                                        </p:tgtEl>
                                        <p:attrNameLst>
                                          <p:attrName>ppt_h</p:attrName>
                                        </p:attrNameLst>
                                      </p:cBhvr>
                                      <p:tavLst>
                                        <p:tav tm="0">
                                          <p:val>
                                            <p:fltVal val="0"/>
                                          </p:val>
                                        </p:tav>
                                        <p:tav tm="100000">
                                          <p:val>
                                            <p:strVal val="#ppt_h"/>
                                          </p:val>
                                        </p:tav>
                                      </p:tavLst>
                                    </p:anim>
                                    <p:animEffect transition="in" filter="fade">
                                      <p:cBhvr>
                                        <p:cTn id="42" dur="500"/>
                                        <p:tgtEl>
                                          <p:spTgt spid="20"/>
                                        </p:tgtEl>
                                      </p:cBhvr>
                                    </p:animEffect>
                                    <p:anim calcmode="lin" valueType="num">
                                      <p:cBhvr>
                                        <p:cTn id="43" dur="500" fill="hold"/>
                                        <p:tgtEl>
                                          <p:spTgt spid="20"/>
                                        </p:tgtEl>
                                        <p:attrNameLst>
                                          <p:attrName>ppt_x</p:attrName>
                                        </p:attrNameLst>
                                      </p:cBhvr>
                                      <p:tavLst>
                                        <p:tav tm="0">
                                          <p:val>
                                            <p:fltVal val="0.5"/>
                                          </p:val>
                                        </p:tav>
                                        <p:tav tm="100000">
                                          <p:val>
                                            <p:strVal val="#ppt_x"/>
                                          </p:val>
                                        </p:tav>
                                      </p:tavLst>
                                    </p:anim>
                                    <p:anim calcmode="lin" valueType="num">
                                      <p:cBhvr>
                                        <p:cTn id="44" dur="500" fill="hold"/>
                                        <p:tgtEl>
                                          <p:spTgt spid="20"/>
                                        </p:tgtEl>
                                        <p:attrNameLst>
                                          <p:attrName>ppt_y</p:attrName>
                                        </p:attrNameLst>
                                      </p:cBhvr>
                                      <p:tavLst>
                                        <p:tav tm="0">
                                          <p:val>
                                            <p:fltVal val="0.5"/>
                                          </p:val>
                                        </p:tav>
                                        <p:tav tm="100000">
                                          <p:val>
                                            <p:strVal val="#ppt_y"/>
                                          </p:val>
                                        </p:tav>
                                      </p:tavLst>
                                    </p:anim>
                                  </p:childTnLst>
                                </p:cTn>
                              </p:par>
                            </p:childTnLst>
                          </p:cTn>
                        </p:par>
                        <p:par>
                          <p:cTn id="45" fill="hold">
                            <p:stCondLst>
                              <p:cond delay="3500"/>
                            </p:stCondLst>
                            <p:childTnLst>
                              <p:par>
                                <p:cTn id="46" presetID="10" presetClass="entr" presetSubtype="0" fill="hold" nodeType="after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par>
                          <p:cTn id="49" fill="hold">
                            <p:stCondLst>
                              <p:cond delay="4000"/>
                            </p:stCondLst>
                            <p:childTnLst>
                              <p:par>
                                <p:cTn id="50" presetID="53" presetClass="entr" presetSubtype="528" fill="hold"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animEffect transition="in" filter="fade">
                                      <p:cBhvr>
                                        <p:cTn id="54" dur="500"/>
                                        <p:tgtEl>
                                          <p:spTgt spid="21"/>
                                        </p:tgtEl>
                                      </p:cBhvr>
                                    </p:animEffect>
                                    <p:anim calcmode="lin" valueType="num">
                                      <p:cBhvr>
                                        <p:cTn id="55" dur="500" fill="hold"/>
                                        <p:tgtEl>
                                          <p:spTgt spid="21"/>
                                        </p:tgtEl>
                                        <p:attrNameLst>
                                          <p:attrName>ppt_x</p:attrName>
                                        </p:attrNameLst>
                                      </p:cBhvr>
                                      <p:tavLst>
                                        <p:tav tm="0">
                                          <p:val>
                                            <p:fltVal val="0.5"/>
                                          </p:val>
                                        </p:tav>
                                        <p:tav tm="100000">
                                          <p:val>
                                            <p:strVal val="#ppt_x"/>
                                          </p:val>
                                        </p:tav>
                                      </p:tavLst>
                                    </p:anim>
                                    <p:anim calcmode="lin" valueType="num">
                                      <p:cBhvr>
                                        <p:cTn id="56" dur="500" fill="hold"/>
                                        <p:tgtEl>
                                          <p:spTgt spid="21"/>
                                        </p:tgtEl>
                                        <p:attrNameLst>
                                          <p:attrName>ppt_y</p:attrName>
                                        </p:attrNameLst>
                                      </p:cBhvr>
                                      <p:tavLst>
                                        <p:tav tm="0">
                                          <p:val>
                                            <p:fltVal val="0.5"/>
                                          </p:val>
                                        </p:tav>
                                        <p:tav tm="100000">
                                          <p:val>
                                            <p:strVal val="#ppt_y"/>
                                          </p:val>
                                        </p:tav>
                                      </p:tavLst>
                                    </p:anim>
                                  </p:childTnLst>
                                </p:cTn>
                              </p:par>
                            </p:childTnLst>
                          </p:cTn>
                        </p:par>
                        <p:par>
                          <p:cTn id="57" fill="hold">
                            <p:stCondLst>
                              <p:cond delay="4500"/>
                            </p:stCondLst>
                            <p:childTnLst>
                              <p:par>
                                <p:cTn id="58" presetID="10" presetClass="entr" presetSubtype="0" fill="hold" nodeType="after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61" restart="whenNotActive" fill="hold" evtFilter="cancelBubble" nodeType="interactiveSeq">
                <p:stCondLst>
                  <p:cond evt="onClick" delay="0">
                    <p:tgtEl>
                      <p:spTgt spid="2"/>
                    </p:tgtEl>
                  </p:cond>
                </p:stCondLst>
                <p:endSync evt="end" delay="0">
                  <p:rtn val="all"/>
                </p:endSync>
                <p:childTnLst>
                  <p:par>
                    <p:cTn id="62" fill="hold">
                      <p:stCondLst>
                        <p:cond delay="0"/>
                      </p:stCondLst>
                      <p:childTnLst>
                        <p:par>
                          <p:cTn id="63" fill="hold">
                            <p:stCondLst>
                              <p:cond delay="0"/>
                            </p:stCondLst>
                            <p:childTnLst>
                              <p:par>
                                <p:cTn id="64" presetID="26" presetClass="emph" presetSubtype="0" fill="hold" nodeType="clickEffect">
                                  <p:stCondLst>
                                    <p:cond delay="0"/>
                                  </p:stCondLst>
                                  <p:childTnLst>
                                    <p:animEffect transition="out" filter="fade">
                                      <p:cBhvr>
                                        <p:cTn id="65" dur="500" tmFilter="0, 0; .2, .5; .8, .5; 1, 0"/>
                                        <p:tgtEl>
                                          <p:spTgt spid="2"/>
                                        </p:tgtEl>
                                      </p:cBhvr>
                                    </p:animEffect>
                                    <p:animScale>
                                      <p:cBhvr>
                                        <p:cTn id="66" dur="250" autoRev="1" fill="hold"/>
                                        <p:tgtEl>
                                          <p:spTgt spid="2"/>
                                        </p:tgtEl>
                                      </p:cBhvr>
                                      <p:by x="105000" y="105000"/>
                                    </p:animScale>
                                  </p:childTnLst>
                                  <p:subTnLst>
                                    <p:audio>
                                      <p:cMediaNode>
                                        <p:cTn display="0" masterRel="sameClick">
                                          <p:stCondLst>
                                            <p:cond evt="begin" delay="0">
                                              <p:tn val="64"/>
                                            </p:cond>
                                          </p:stCondLst>
                                          <p:endCondLst>
                                            <p:cond evt="onStopAudio" delay="0">
                                              <p:tgtEl>
                                                <p:sldTgt/>
                                              </p:tgtEl>
                                            </p:cond>
                                          </p:endCondLst>
                                        </p:cTn>
                                        <p:tgtEl>
                                          <p:sndTgt r:embed="rId7" name="click.wav"/>
                                        </p:tgtEl>
                                      </p:cMediaNode>
                                    </p:audio>
                                  </p:subTnLst>
                                </p:cTn>
                              </p:par>
                            </p:childTnLst>
                          </p:cTn>
                        </p:par>
                        <p:par>
                          <p:cTn id="67" fill="hold">
                            <p:stCondLst>
                              <p:cond delay="500"/>
                            </p:stCondLst>
                            <p:childTnLst>
                              <p:par>
                                <p:cTn id="68" presetID="1" presetClass="mediacall" presetSubtype="0" fill="hold" nodeType="afterEffect">
                                  <p:stCondLst>
                                    <p:cond delay="0"/>
                                  </p:stCondLst>
                                  <p:childTnLst>
                                    <p:cmd type="call" cmd="playFrom(0.0)">
                                      <p:cBhvr>
                                        <p:cTn id="69" dur="3432" fill="hold"/>
                                        <p:tgtEl>
                                          <p:spTgt spid="22"/>
                                        </p:tgtEl>
                                      </p:cBhvr>
                                    </p:cmd>
                                  </p:childTnLst>
                                </p:cTn>
                              </p:par>
                              <p:par>
                                <p:cTn id="70" presetID="1" presetClass="entr" presetSubtype="0" fill="hold" nodeType="withEffect">
                                  <p:stCondLst>
                                    <p:cond delay="0"/>
                                  </p:stCondLst>
                                  <p:childTnLst>
                                    <p:set>
                                      <p:cBhvr>
                                        <p:cTn id="71" dur="1" fill="hold">
                                          <p:stCondLst>
                                            <p:cond delay="0"/>
                                          </p:stCondLst>
                                        </p:cTn>
                                        <p:tgtEl>
                                          <p:spTgt spid="33"/>
                                        </p:tgtEl>
                                        <p:attrNameLst>
                                          <p:attrName>style.visibility</p:attrName>
                                        </p:attrNameLst>
                                      </p:cBhvr>
                                      <p:to>
                                        <p:strVal val="visible"/>
                                      </p:to>
                                    </p:set>
                                  </p:childTnLst>
                                </p:cTn>
                              </p:par>
                              <p:par>
                                <p:cTn id="72" presetID="63" presetClass="path" presetSubtype="0" accel="50000" decel="50000" fill="hold" nodeType="withEffect">
                                  <p:stCondLst>
                                    <p:cond delay="0"/>
                                  </p:stCondLst>
                                  <p:childTnLst>
                                    <p:animMotion origin="layout" path="M -1.04167E-6 -4.81481E-6 L 0.1599 -4.81481E-6 " pathEditMode="relative" rAng="0" ptsTypes="AA">
                                      <p:cBhvr>
                                        <p:cTn id="73" dur="500" fill="hold"/>
                                        <p:tgtEl>
                                          <p:spTgt spid="68"/>
                                        </p:tgtEl>
                                        <p:attrNameLst>
                                          <p:attrName>ppt_x</p:attrName>
                                          <p:attrName>ppt_y</p:attrName>
                                        </p:attrNameLst>
                                      </p:cBhvr>
                                      <p:rCtr x="7995" y="0"/>
                                    </p:animMotion>
                                  </p:childTnLst>
                                </p:cTn>
                              </p:par>
                              <p:par>
                                <p:cTn id="74" presetID="10" presetClass="exit" presetSubtype="0" fill="hold" nodeType="withEffect">
                                  <p:stCondLst>
                                    <p:cond delay="0"/>
                                  </p:stCondLst>
                                  <p:childTnLst>
                                    <p:animEffect transition="out" filter="fade">
                                      <p:cBhvr>
                                        <p:cTn id="75" dur="500"/>
                                        <p:tgtEl>
                                          <p:spTgt spid="31"/>
                                        </p:tgtEl>
                                      </p:cBhvr>
                                    </p:animEffect>
                                    <p:set>
                                      <p:cBhvr>
                                        <p:cTn id="76" dur="1" fill="hold">
                                          <p:stCondLst>
                                            <p:cond delay="499"/>
                                          </p:stCondLst>
                                        </p:cTn>
                                        <p:tgtEl>
                                          <p:spTgt spid="31"/>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12"/>
                                        </p:tgtEl>
                                      </p:cBhvr>
                                    </p:animEffect>
                                    <p:set>
                                      <p:cBhvr>
                                        <p:cTn id="79" dur="1" fill="hold">
                                          <p:stCondLst>
                                            <p:cond delay="499"/>
                                          </p:stCondLst>
                                        </p:cTn>
                                        <p:tgtEl>
                                          <p:spTgt spid="1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2"/>
                                        </p:tgtEl>
                                      </p:cBhvr>
                                    </p:animEffect>
                                    <p:set>
                                      <p:cBhvr>
                                        <p:cTn id="82" dur="1" fill="hold">
                                          <p:stCondLst>
                                            <p:cond delay="499"/>
                                          </p:stCondLst>
                                        </p:cTn>
                                        <p:tgtEl>
                                          <p:spTgt spid="2"/>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16"/>
                                        </p:tgtEl>
                                      </p:cBhvr>
                                    </p:animEffect>
                                    <p:set>
                                      <p:cBhvr>
                                        <p:cTn id="85" dur="1" fill="hold">
                                          <p:stCondLst>
                                            <p:cond delay="499"/>
                                          </p:stCondLst>
                                        </p:cTn>
                                        <p:tgtEl>
                                          <p:spTgt spid="16"/>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15"/>
                                        </p:tgtEl>
                                      </p:cBhvr>
                                    </p:animEffect>
                                    <p:set>
                                      <p:cBhvr>
                                        <p:cTn id="88" dur="1" fill="hold">
                                          <p:stCondLst>
                                            <p:cond delay="499"/>
                                          </p:stCondLst>
                                        </p:cTn>
                                        <p:tgtEl>
                                          <p:spTgt spid="15"/>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18"/>
                                        </p:tgtEl>
                                      </p:cBhvr>
                                    </p:animEffect>
                                    <p:set>
                                      <p:cBhvr>
                                        <p:cTn id="91" dur="1" fill="hold">
                                          <p:stCondLst>
                                            <p:cond delay="499"/>
                                          </p:stCondLst>
                                        </p:cTn>
                                        <p:tgtEl>
                                          <p:spTgt spid="18"/>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20"/>
                                        </p:tgtEl>
                                      </p:cBhvr>
                                    </p:animEffect>
                                    <p:set>
                                      <p:cBhvr>
                                        <p:cTn id="94" dur="1" fill="hold">
                                          <p:stCondLst>
                                            <p:cond delay="499"/>
                                          </p:stCondLst>
                                        </p:cTn>
                                        <p:tgtEl>
                                          <p:spTgt spid="20"/>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500"/>
                                        <p:tgtEl>
                                          <p:spTgt spid="17"/>
                                        </p:tgtEl>
                                      </p:cBhvr>
                                    </p:animEffect>
                                    <p:set>
                                      <p:cBhvr>
                                        <p:cTn id="97" dur="1" fill="hold">
                                          <p:stCondLst>
                                            <p:cond delay="499"/>
                                          </p:stCondLst>
                                        </p:cTn>
                                        <p:tgtEl>
                                          <p:spTgt spid="17"/>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21"/>
                                        </p:tgtEl>
                                      </p:cBhvr>
                                    </p:animEffect>
                                    <p:set>
                                      <p:cBhvr>
                                        <p:cTn id="100" dur="1" fill="hold">
                                          <p:stCondLst>
                                            <p:cond delay="499"/>
                                          </p:stCondLst>
                                        </p:cTn>
                                        <p:tgtEl>
                                          <p:spTgt spid="21"/>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19"/>
                                        </p:tgtEl>
                                      </p:cBhvr>
                                    </p:animEffect>
                                    <p:set>
                                      <p:cBhvr>
                                        <p:cTn id="103" dur="1" fill="hold">
                                          <p:stCondLst>
                                            <p:cond delay="499"/>
                                          </p:stCondLst>
                                        </p:cTn>
                                        <p:tgtEl>
                                          <p:spTgt spid="19"/>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500"/>
                                        <p:tgtEl>
                                          <p:spTgt spid="4"/>
                                        </p:tgtEl>
                                      </p:cBhvr>
                                    </p:animEffect>
                                    <p:set>
                                      <p:cBhvr>
                                        <p:cTn id="106" dur="1" fill="hold">
                                          <p:stCondLst>
                                            <p:cond delay="499"/>
                                          </p:stCondLst>
                                        </p:cTn>
                                        <p:tgtEl>
                                          <p:spTgt spid="4"/>
                                        </p:tgtEl>
                                        <p:attrNameLst>
                                          <p:attrName>style.visibility</p:attrName>
                                        </p:attrNameLst>
                                      </p:cBhvr>
                                      <p:to>
                                        <p:strVal val="hidden"/>
                                      </p:to>
                                    </p:set>
                                  </p:childTnLst>
                                </p:cTn>
                              </p:par>
                              <p:par>
                                <p:cTn id="107" presetID="10" presetClass="exit" presetSubtype="0" fill="hold" nodeType="withEffect">
                                  <p:stCondLst>
                                    <p:cond delay="0"/>
                                  </p:stCondLst>
                                  <p:childTnLst>
                                    <p:animEffect transition="out" filter="fade">
                                      <p:cBhvr>
                                        <p:cTn id="108" dur="500"/>
                                        <p:tgtEl>
                                          <p:spTgt spid="6"/>
                                        </p:tgtEl>
                                      </p:cBhvr>
                                    </p:animEffect>
                                    <p:set>
                                      <p:cBhvr>
                                        <p:cTn id="109"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
                  </p:tgtEl>
                </p:cond>
              </p:nextCondLst>
            </p:seq>
            <p:seq concurrent="1" nextAc="seek">
              <p:cTn id="110" restart="whenNotActive" fill="hold" evtFilter="cancelBubble" nodeType="interactiveSeq">
                <p:stCondLst>
                  <p:cond evt="onClick" delay="0">
                    <p:tgtEl>
                      <p:spTgt spid="68"/>
                    </p:tgtEl>
                  </p:cond>
                </p:stCondLst>
                <p:endSync evt="end" delay="0">
                  <p:rtn val="all"/>
                </p:endSync>
                <p:childTnLst>
                  <p:par>
                    <p:cTn id="111" fill="hold">
                      <p:stCondLst>
                        <p:cond delay="0"/>
                      </p:stCondLst>
                      <p:childTnLst>
                        <p:par>
                          <p:cTn id="112" fill="hold">
                            <p:stCondLst>
                              <p:cond delay="0"/>
                            </p:stCondLst>
                            <p:childTnLst>
                              <p:par>
                                <p:cTn id="113" presetID="26" presetClass="emph" presetSubtype="0" fill="hold" nodeType="clickEffect">
                                  <p:stCondLst>
                                    <p:cond delay="0"/>
                                  </p:stCondLst>
                                  <p:childTnLst>
                                    <p:animEffect transition="out" filter="fade">
                                      <p:cBhvr>
                                        <p:cTn id="114" dur="500" tmFilter="0, 0; .2, .5; .8, .5; 1, 0"/>
                                        <p:tgtEl>
                                          <p:spTgt spid="68"/>
                                        </p:tgtEl>
                                      </p:cBhvr>
                                    </p:animEffect>
                                    <p:animScale>
                                      <p:cBhvr>
                                        <p:cTn id="115" dur="250" autoRev="1" fill="hold"/>
                                        <p:tgtEl>
                                          <p:spTgt spid="68"/>
                                        </p:tgtEl>
                                      </p:cBhvr>
                                      <p:by x="105000" y="105000"/>
                                    </p:animScale>
                                  </p:childTnLst>
                                  <p:subTnLst>
                                    <p:audio>
                                      <p:cMediaNode>
                                        <p:cTn display="0" masterRel="sameClick">
                                          <p:stCondLst>
                                            <p:cond evt="begin" delay="0">
                                              <p:tn val="113"/>
                                            </p:cond>
                                          </p:stCondLst>
                                          <p:endCondLst>
                                            <p:cond evt="onStopAudio" delay="0">
                                              <p:tgtEl>
                                                <p:sldTgt/>
                                              </p:tgtEl>
                                            </p:cond>
                                          </p:endCondLst>
                                        </p:cTn>
                                        <p:tgtEl>
                                          <p:sndTgt r:embed="rId7" name="click.wav"/>
                                        </p:tgtEl>
                                      </p:cMediaNode>
                                    </p:audio>
                                  </p:subTnLst>
                                </p:cTn>
                              </p:par>
                            </p:childTnLst>
                          </p:cTn>
                        </p:par>
                        <p:par>
                          <p:cTn id="116" fill="hold">
                            <p:stCondLst>
                              <p:cond delay="500"/>
                            </p:stCondLst>
                            <p:childTnLst>
                              <p:par>
                                <p:cTn id="117" presetID="10" presetClass="exit" presetSubtype="0" fill="hold" nodeType="afterEffect">
                                  <p:stCondLst>
                                    <p:cond delay="0"/>
                                  </p:stCondLst>
                                  <p:childTnLst>
                                    <p:animEffect transition="out" filter="fade">
                                      <p:cBhvr>
                                        <p:cTn id="118" dur="500"/>
                                        <p:tgtEl>
                                          <p:spTgt spid="33"/>
                                        </p:tgtEl>
                                      </p:cBhvr>
                                    </p:animEffect>
                                    <p:set>
                                      <p:cBhvr>
                                        <p:cTn id="119" dur="1" fill="hold">
                                          <p:stCondLst>
                                            <p:cond delay="499"/>
                                          </p:stCondLst>
                                        </p:cTn>
                                        <p:tgtEl>
                                          <p:spTgt spid="33"/>
                                        </p:tgtEl>
                                        <p:attrNameLst>
                                          <p:attrName>style.visibility</p:attrName>
                                        </p:attrNameLst>
                                      </p:cBhvr>
                                      <p:to>
                                        <p:strVal val="hidden"/>
                                      </p:to>
                                    </p:set>
                                  </p:childTnLst>
                                </p:cTn>
                              </p:par>
                              <p:par>
                                <p:cTn id="120" presetID="35" presetClass="path" presetSubtype="0" accel="50000" decel="50000" fill="hold" nodeType="withEffect">
                                  <p:stCondLst>
                                    <p:cond delay="0"/>
                                  </p:stCondLst>
                                  <p:childTnLst>
                                    <p:animMotion origin="layout" path="M 0.1599 -4.81481E-6 L -1.04167E-6 -4.81481E-6 " pathEditMode="relative" rAng="0" ptsTypes="AA">
                                      <p:cBhvr>
                                        <p:cTn id="121" dur="500" fill="hold"/>
                                        <p:tgtEl>
                                          <p:spTgt spid="68"/>
                                        </p:tgtEl>
                                        <p:attrNameLst>
                                          <p:attrName>ppt_x</p:attrName>
                                          <p:attrName>ppt_y</p:attrName>
                                        </p:attrNameLst>
                                      </p:cBhvr>
                                      <p:rCtr x="-7995" y="0"/>
                                    </p:animMotion>
                                  </p:childTnLst>
                                </p:cTn>
                              </p:par>
                              <p:par>
                                <p:cTn id="122" presetID="10" presetClass="entr" presetSubtype="0" fill="hold" nodeType="withEffect">
                                  <p:stCondLst>
                                    <p:cond delay="0"/>
                                  </p:stCondLst>
                                  <p:childTnLst>
                                    <p:set>
                                      <p:cBhvr>
                                        <p:cTn id="123" dur="1" fill="hold">
                                          <p:stCondLst>
                                            <p:cond delay="0"/>
                                          </p:stCondLst>
                                        </p:cTn>
                                        <p:tgtEl>
                                          <p:spTgt spid="31"/>
                                        </p:tgtEl>
                                        <p:attrNameLst>
                                          <p:attrName>style.visibility</p:attrName>
                                        </p:attrNameLst>
                                      </p:cBhvr>
                                      <p:to>
                                        <p:strVal val="visible"/>
                                      </p:to>
                                    </p:set>
                                    <p:animEffect transition="in" filter="fade">
                                      <p:cBhvr>
                                        <p:cTn id="124" dur="500"/>
                                        <p:tgtEl>
                                          <p:spTgt spid="31"/>
                                        </p:tgtEl>
                                      </p:cBhvr>
                                    </p:animEffect>
                                  </p:childTnLst>
                                </p:cTn>
                              </p:par>
                              <p:par>
                                <p:cTn id="125" presetID="10" presetClass="entr" presetSubtype="0" fill="hold" nodeType="withEffect">
                                  <p:stCondLst>
                                    <p:cond delay="0"/>
                                  </p:stCondLst>
                                  <p:childTnLst>
                                    <p:set>
                                      <p:cBhvr>
                                        <p:cTn id="126" dur="1" fill="hold">
                                          <p:stCondLst>
                                            <p:cond delay="0"/>
                                          </p:stCondLst>
                                        </p:cTn>
                                        <p:tgtEl>
                                          <p:spTgt spid="12"/>
                                        </p:tgtEl>
                                        <p:attrNameLst>
                                          <p:attrName>style.visibility</p:attrName>
                                        </p:attrNameLst>
                                      </p:cBhvr>
                                      <p:to>
                                        <p:strVal val="visible"/>
                                      </p:to>
                                    </p:set>
                                    <p:animEffect transition="in" filter="fade">
                                      <p:cBhvr>
                                        <p:cTn id="127" dur="500"/>
                                        <p:tgtEl>
                                          <p:spTgt spid="12"/>
                                        </p:tgtEl>
                                      </p:cBhvr>
                                    </p:animEffect>
                                  </p:childTnLst>
                                </p:cTn>
                              </p:par>
                              <p:par>
                                <p:cTn id="128" presetID="10" presetClass="entr" presetSubtype="0" fill="hold" nodeType="withEffect">
                                  <p:stCondLst>
                                    <p:cond delay="0"/>
                                  </p:stCondLst>
                                  <p:childTnLst>
                                    <p:set>
                                      <p:cBhvr>
                                        <p:cTn id="129" dur="1" fill="hold">
                                          <p:stCondLst>
                                            <p:cond delay="0"/>
                                          </p:stCondLst>
                                        </p:cTn>
                                        <p:tgtEl>
                                          <p:spTgt spid="2"/>
                                        </p:tgtEl>
                                        <p:attrNameLst>
                                          <p:attrName>style.visibility</p:attrName>
                                        </p:attrNameLst>
                                      </p:cBhvr>
                                      <p:to>
                                        <p:strVal val="visible"/>
                                      </p:to>
                                    </p:set>
                                    <p:animEffect transition="in" filter="fade">
                                      <p:cBhvr>
                                        <p:cTn id="130" dur="500"/>
                                        <p:tgtEl>
                                          <p:spTgt spid="2"/>
                                        </p:tgtEl>
                                      </p:cBhvr>
                                    </p:animEffect>
                                  </p:childTnLst>
                                </p:cTn>
                              </p:par>
                              <p:par>
                                <p:cTn id="131" presetID="10" presetClass="entr" presetSubtype="0" fill="hold" nodeType="withEffect">
                                  <p:stCondLst>
                                    <p:cond delay="0"/>
                                  </p:stCondLst>
                                  <p:childTnLst>
                                    <p:set>
                                      <p:cBhvr>
                                        <p:cTn id="132" dur="1" fill="hold">
                                          <p:stCondLst>
                                            <p:cond delay="0"/>
                                          </p:stCondLst>
                                        </p:cTn>
                                        <p:tgtEl>
                                          <p:spTgt spid="16"/>
                                        </p:tgtEl>
                                        <p:attrNameLst>
                                          <p:attrName>style.visibility</p:attrName>
                                        </p:attrNameLst>
                                      </p:cBhvr>
                                      <p:to>
                                        <p:strVal val="visible"/>
                                      </p:to>
                                    </p:set>
                                    <p:animEffect transition="in" filter="fade">
                                      <p:cBhvr>
                                        <p:cTn id="133" dur="500"/>
                                        <p:tgtEl>
                                          <p:spTgt spid="16"/>
                                        </p:tgtEl>
                                      </p:cBhvr>
                                    </p:animEffect>
                                  </p:childTnLst>
                                </p:cTn>
                              </p:par>
                              <p:par>
                                <p:cTn id="134" presetID="10" presetClass="entr" presetSubtype="0" fill="hold" nodeType="withEffect">
                                  <p:stCondLst>
                                    <p:cond delay="0"/>
                                  </p:stCondLst>
                                  <p:childTnLst>
                                    <p:set>
                                      <p:cBhvr>
                                        <p:cTn id="135" dur="1" fill="hold">
                                          <p:stCondLst>
                                            <p:cond delay="0"/>
                                          </p:stCondLst>
                                        </p:cTn>
                                        <p:tgtEl>
                                          <p:spTgt spid="4"/>
                                        </p:tgtEl>
                                        <p:attrNameLst>
                                          <p:attrName>style.visibility</p:attrName>
                                        </p:attrNameLst>
                                      </p:cBhvr>
                                      <p:to>
                                        <p:strVal val="visible"/>
                                      </p:to>
                                    </p:set>
                                    <p:animEffect transition="in" filter="fade">
                                      <p:cBhvr>
                                        <p:cTn id="136" dur="500"/>
                                        <p:tgtEl>
                                          <p:spTgt spid="4"/>
                                        </p:tgtEl>
                                      </p:cBhvr>
                                    </p:animEffect>
                                  </p:childTnLst>
                                </p:cTn>
                              </p:par>
                              <p:par>
                                <p:cTn id="137" presetID="10" presetClass="entr" presetSubtype="0" fill="hold" nodeType="withEffect">
                                  <p:stCondLst>
                                    <p:cond delay="0"/>
                                  </p:stCondLst>
                                  <p:childTnLst>
                                    <p:set>
                                      <p:cBhvr>
                                        <p:cTn id="138" dur="1" fill="hold">
                                          <p:stCondLst>
                                            <p:cond delay="0"/>
                                          </p:stCondLst>
                                        </p:cTn>
                                        <p:tgtEl>
                                          <p:spTgt spid="6"/>
                                        </p:tgtEl>
                                        <p:attrNameLst>
                                          <p:attrName>style.visibility</p:attrName>
                                        </p:attrNameLst>
                                      </p:cBhvr>
                                      <p:to>
                                        <p:strVal val="visible"/>
                                      </p:to>
                                    </p:set>
                                    <p:animEffect transition="in" filter="fade">
                                      <p:cBhvr>
                                        <p:cTn id="139" dur="500"/>
                                        <p:tgtEl>
                                          <p:spTgt spid="6"/>
                                        </p:tgtEl>
                                      </p:cBhvr>
                                    </p:animEffect>
                                  </p:childTnLst>
                                </p:cTn>
                              </p:par>
                            </p:childTnLst>
                          </p:cTn>
                        </p:par>
                      </p:childTnLst>
                    </p:cTn>
                  </p:par>
                </p:childTnLst>
              </p:cTn>
              <p:nextCondLst>
                <p:cond evt="onClick" delay="0">
                  <p:tgtEl>
                    <p:spTgt spid="68"/>
                  </p:tgtEl>
                </p:cond>
              </p:nextCondLst>
            </p:seq>
            <p:seq concurrent="1" nextAc="seek">
              <p:cTn id="140" restart="whenNotActive" fill="hold" evtFilter="cancelBubble" nodeType="interactiveSeq">
                <p:stCondLst>
                  <p:cond evt="onClick" delay="0">
                    <p:tgtEl>
                      <p:spTgt spid="15"/>
                    </p:tgtEl>
                  </p:cond>
                </p:stCondLst>
                <p:endSync evt="end" delay="0">
                  <p:rtn val="all"/>
                </p:endSync>
                <p:childTnLst>
                  <p:par>
                    <p:cTn id="141" fill="hold">
                      <p:stCondLst>
                        <p:cond delay="0"/>
                      </p:stCondLst>
                      <p:childTnLst>
                        <p:par>
                          <p:cTn id="142" fill="hold">
                            <p:stCondLst>
                              <p:cond delay="0"/>
                            </p:stCondLst>
                            <p:childTnLst>
                              <p:par>
                                <p:cTn id="143" presetID="26" presetClass="emph" presetSubtype="0" fill="hold" nodeType="clickEffect">
                                  <p:stCondLst>
                                    <p:cond delay="0"/>
                                  </p:stCondLst>
                                  <p:childTnLst>
                                    <p:animEffect transition="out" filter="fade">
                                      <p:cBhvr>
                                        <p:cTn id="144" dur="500" tmFilter="0, 0; .2, .5; .8, .5; 1, 0"/>
                                        <p:tgtEl>
                                          <p:spTgt spid="15"/>
                                        </p:tgtEl>
                                      </p:cBhvr>
                                    </p:animEffect>
                                    <p:animScale>
                                      <p:cBhvr>
                                        <p:cTn id="145" dur="250" autoRev="1" fill="hold"/>
                                        <p:tgtEl>
                                          <p:spTgt spid="15"/>
                                        </p:tgtEl>
                                      </p:cBhvr>
                                      <p:by x="105000" y="105000"/>
                                    </p:animScale>
                                  </p:childTnLst>
                                  <p:subTnLst>
                                    <p:audio>
                                      <p:cMediaNode>
                                        <p:cTn display="0" masterRel="sameClick">
                                          <p:stCondLst>
                                            <p:cond evt="begin" delay="0">
                                              <p:tn val="143"/>
                                            </p:cond>
                                          </p:stCondLst>
                                          <p:endCondLst>
                                            <p:cond evt="onStopAudio" delay="0">
                                              <p:tgtEl>
                                                <p:sldTgt/>
                                              </p:tgtEl>
                                            </p:cond>
                                          </p:endCondLst>
                                        </p:cTn>
                                        <p:tgtEl>
                                          <p:sndTgt r:embed="rId7" name="click.wav"/>
                                        </p:tgtEl>
                                      </p:cMediaNode>
                                    </p:audio>
                                  </p:subTnLst>
                                </p:cTn>
                              </p:par>
                            </p:childTnLst>
                          </p:cTn>
                        </p:par>
                        <p:par>
                          <p:cTn id="146" fill="hold">
                            <p:stCondLst>
                              <p:cond delay="500"/>
                            </p:stCondLst>
                            <p:childTnLst>
                              <p:par>
                                <p:cTn id="147" presetID="1" presetClass="mediacall" presetSubtype="0" fill="hold" nodeType="afterEffect">
                                  <p:stCondLst>
                                    <p:cond delay="0"/>
                                  </p:stCondLst>
                                  <p:childTnLst>
                                    <p:cmd type="call" cmd="playFrom(0.0)">
                                      <p:cBhvr>
                                        <p:cTn id="148" dur="4995" fill="hold"/>
                                        <p:tgtEl>
                                          <p:spTgt spid="7"/>
                                        </p:tgtEl>
                                      </p:cBhvr>
                                    </p:cmd>
                                  </p:childTnLst>
                                </p:cTn>
                              </p:par>
                              <p:par>
                                <p:cTn id="149" presetID="1" presetClass="entr" presetSubtype="0" fill="hold" nodeType="withEffect">
                                  <p:stCondLst>
                                    <p:cond delay="0"/>
                                  </p:stCondLst>
                                  <p:childTnLst>
                                    <p:set>
                                      <p:cBhvr>
                                        <p:cTn id="150" dur="1" fill="hold">
                                          <p:stCondLst>
                                            <p:cond delay="0"/>
                                          </p:stCondLst>
                                        </p:cTn>
                                        <p:tgtEl>
                                          <p:spTgt spid="13"/>
                                        </p:tgtEl>
                                        <p:attrNameLst>
                                          <p:attrName>style.visibility</p:attrName>
                                        </p:attrNameLst>
                                      </p:cBhvr>
                                      <p:to>
                                        <p:strVal val="visible"/>
                                      </p:to>
                                    </p:set>
                                  </p:childTnLst>
                                </p:cTn>
                              </p:par>
                              <p:par>
                                <p:cTn id="151" presetID="63" presetClass="path" presetSubtype="0" accel="50000" decel="50000" fill="hold" nodeType="withEffect">
                                  <p:stCondLst>
                                    <p:cond delay="0"/>
                                  </p:stCondLst>
                                  <p:childTnLst>
                                    <p:animMotion origin="layout" path="M 6.25E-7 -4.81481E-6 L 0.1599 -4.81481E-6 " pathEditMode="relative" rAng="0" ptsTypes="AA">
                                      <p:cBhvr>
                                        <p:cTn id="152" dur="500" fill="hold"/>
                                        <p:tgtEl>
                                          <p:spTgt spid="14"/>
                                        </p:tgtEl>
                                        <p:attrNameLst>
                                          <p:attrName>ppt_x</p:attrName>
                                          <p:attrName>ppt_y</p:attrName>
                                        </p:attrNameLst>
                                      </p:cBhvr>
                                      <p:rCtr x="7995" y="0"/>
                                    </p:animMotion>
                                  </p:childTnLst>
                                </p:cTn>
                              </p:par>
                              <p:par>
                                <p:cTn id="153" presetID="10" presetClass="exit" presetSubtype="0" fill="hold" nodeType="withEffect">
                                  <p:stCondLst>
                                    <p:cond delay="0"/>
                                  </p:stCondLst>
                                  <p:childTnLst>
                                    <p:animEffect transition="out" filter="fade">
                                      <p:cBhvr>
                                        <p:cTn id="154" dur="500"/>
                                        <p:tgtEl>
                                          <p:spTgt spid="31"/>
                                        </p:tgtEl>
                                      </p:cBhvr>
                                    </p:animEffect>
                                    <p:set>
                                      <p:cBhvr>
                                        <p:cTn id="155" dur="1" fill="hold">
                                          <p:stCondLst>
                                            <p:cond delay="499"/>
                                          </p:stCondLst>
                                        </p:cTn>
                                        <p:tgtEl>
                                          <p:spTgt spid="31"/>
                                        </p:tgtEl>
                                        <p:attrNameLst>
                                          <p:attrName>style.visibility</p:attrName>
                                        </p:attrNameLst>
                                      </p:cBhvr>
                                      <p:to>
                                        <p:strVal val="hidden"/>
                                      </p:to>
                                    </p:set>
                                  </p:childTnLst>
                                </p:cTn>
                              </p:par>
                              <p:par>
                                <p:cTn id="156" presetID="10" presetClass="exit" presetSubtype="0" fill="hold" nodeType="withEffect">
                                  <p:stCondLst>
                                    <p:cond delay="0"/>
                                  </p:stCondLst>
                                  <p:childTnLst>
                                    <p:animEffect transition="out" filter="fade">
                                      <p:cBhvr>
                                        <p:cTn id="157" dur="500"/>
                                        <p:tgtEl>
                                          <p:spTgt spid="12"/>
                                        </p:tgtEl>
                                      </p:cBhvr>
                                    </p:animEffect>
                                    <p:set>
                                      <p:cBhvr>
                                        <p:cTn id="158" dur="1" fill="hold">
                                          <p:stCondLst>
                                            <p:cond delay="499"/>
                                          </p:stCondLst>
                                        </p:cTn>
                                        <p:tgtEl>
                                          <p:spTgt spid="12"/>
                                        </p:tgtEl>
                                        <p:attrNameLst>
                                          <p:attrName>style.visibility</p:attrName>
                                        </p:attrNameLst>
                                      </p:cBhvr>
                                      <p:to>
                                        <p:strVal val="hidden"/>
                                      </p:to>
                                    </p:set>
                                  </p:childTnLst>
                                </p:cTn>
                              </p:par>
                              <p:par>
                                <p:cTn id="159" presetID="10" presetClass="exit" presetSubtype="0" fill="hold" nodeType="withEffect">
                                  <p:stCondLst>
                                    <p:cond delay="0"/>
                                  </p:stCondLst>
                                  <p:childTnLst>
                                    <p:animEffect transition="out" filter="fade">
                                      <p:cBhvr>
                                        <p:cTn id="160" dur="500"/>
                                        <p:tgtEl>
                                          <p:spTgt spid="2"/>
                                        </p:tgtEl>
                                      </p:cBhvr>
                                    </p:animEffect>
                                    <p:set>
                                      <p:cBhvr>
                                        <p:cTn id="161" dur="1" fill="hold">
                                          <p:stCondLst>
                                            <p:cond delay="499"/>
                                          </p:stCondLst>
                                        </p:cTn>
                                        <p:tgtEl>
                                          <p:spTgt spid="2"/>
                                        </p:tgtEl>
                                        <p:attrNameLst>
                                          <p:attrName>style.visibility</p:attrName>
                                        </p:attrNameLst>
                                      </p:cBhvr>
                                      <p:to>
                                        <p:strVal val="hidden"/>
                                      </p:to>
                                    </p:set>
                                  </p:childTnLst>
                                </p:cTn>
                              </p:par>
                              <p:par>
                                <p:cTn id="162" presetID="10" presetClass="exit" presetSubtype="0" fill="hold" nodeType="withEffect">
                                  <p:stCondLst>
                                    <p:cond delay="0"/>
                                  </p:stCondLst>
                                  <p:childTnLst>
                                    <p:animEffect transition="out" filter="fade">
                                      <p:cBhvr>
                                        <p:cTn id="163" dur="500"/>
                                        <p:tgtEl>
                                          <p:spTgt spid="16"/>
                                        </p:tgtEl>
                                      </p:cBhvr>
                                    </p:animEffect>
                                    <p:set>
                                      <p:cBhvr>
                                        <p:cTn id="164" dur="1" fill="hold">
                                          <p:stCondLst>
                                            <p:cond delay="499"/>
                                          </p:stCondLst>
                                        </p:cTn>
                                        <p:tgtEl>
                                          <p:spTgt spid="16"/>
                                        </p:tgtEl>
                                        <p:attrNameLst>
                                          <p:attrName>style.visibility</p:attrName>
                                        </p:attrNameLst>
                                      </p:cBhvr>
                                      <p:to>
                                        <p:strVal val="hidden"/>
                                      </p:to>
                                    </p:set>
                                  </p:childTnLst>
                                </p:cTn>
                              </p:par>
                              <p:par>
                                <p:cTn id="165" presetID="10" presetClass="exit" presetSubtype="0" fill="hold" nodeType="withEffect">
                                  <p:stCondLst>
                                    <p:cond delay="0"/>
                                  </p:stCondLst>
                                  <p:childTnLst>
                                    <p:animEffect transition="out" filter="fade">
                                      <p:cBhvr>
                                        <p:cTn id="166" dur="500"/>
                                        <p:tgtEl>
                                          <p:spTgt spid="15"/>
                                        </p:tgtEl>
                                      </p:cBhvr>
                                    </p:animEffect>
                                    <p:set>
                                      <p:cBhvr>
                                        <p:cTn id="167" dur="1" fill="hold">
                                          <p:stCondLst>
                                            <p:cond delay="499"/>
                                          </p:stCondLst>
                                        </p:cTn>
                                        <p:tgtEl>
                                          <p:spTgt spid="15"/>
                                        </p:tgtEl>
                                        <p:attrNameLst>
                                          <p:attrName>style.visibility</p:attrName>
                                        </p:attrNameLst>
                                      </p:cBhvr>
                                      <p:to>
                                        <p:strVal val="hidden"/>
                                      </p:to>
                                    </p:set>
                                  </p:childTnLst>
                                </p:cTn>
                              </p:par>
                              <p:par>
                                <p:cTn id="168" presetID="10" presetClass="exit" presetSubtype="0" fill="hold" nodeType="withEffect">
                                  <p:stCondLst>
                                    <p:cond delay="0"/>
                                  </p:stCondLst>
                                  <p:childTnLst>
                                    <p:animEffect transition="out" filter="fade">
                                      <p:cBhvr>
                                        <p:cTn id="169" dur="500"/>
                                        <p:tgtEl>
                                          <p:spTgt spid="18"/>
                                        </p:tgtEl>
                                      </p:cBhvr>
                                    </p:animEffect>
                                    <p:set>
                                      <p:cBhvr>
                                        <p:cTn id="170" dur="1" fill="hold">
                                          <p:stCondLst>
                                            <p:cond delay="499"/>
                                          </p:stCondLst>
                                        </p:cTn>
                                        <p:tgtEl>
                                          <p:spTgt spid="18"/>
                                        </p:tgtEl>
                                        <p:attrNameLst>
                                          <p:attrName>style.visibility</p:attrName>
                                        </p:attrNameLst>
                                      </p:cBhvr>
                                      <p:to>
                                        <p:strVal val="hidden"/>
                                      </p:to>
                                    </p:set>
                                  </p:childTnLst>
                                </p:cTn>
                              </p:par>
                              <p:par>
                                <p:cTn id="171" presetID="10" presetClass="exit" presetSubtype="0" fill="hold" nodeType="withEffect">
                                  <p:stCondLst>
                                    <p:cond delay="0"/>
                                  </p:stCondLst>
                                  <p:childTnLst>
                                    <p:animEffect transition="out" filter="fade">
                                      <p:cBhvr>
                                        <p:cTn id="172" dur="500"/>
                                        <p:tgtEl>
                                          <p:spTgt spid="20"/>
                                        </p:tgtEl>
                                      </p:cBhvr>
                                    </p:animEffect>
                                    <p:set>
                                      <p:cBhvr>
                                        <p:cTn id="173" dur="1" fill="hold">
                                          <p:stCondLst>
                                            <p:cond delay="499"/>
                                          </p:stCondLst>
                                        </p:cTn>
                                        <p:tgtEl>
                                          <p:spTgt spid="20"/>
                                        </p:tgtEl>
                                        <p:attrNameLst>
                                          <p:attrName>style.visibility</p:attrName>
                                        </p:attrNameLst>
                                      </p:cBhvr>
                                      <p:to>
                                        <p:strVal val="hidden"/>
                                      </p:to>
                                    </p:set>
                                  </p:childTnLst>
                                </p:cTn>
                              </p:par>
                              <p:par>
                                <p:cTn id="174" presetID="10" presetClass="exit" presetSubtype="0" fill="hold" nodeType="withEffect">
                                  <p:stCondLst>
                                    <p:cond delay="0"/>
                                  </p:stCondLst>
                                  <p:childTnLst>
                                    <p:animEffect transition="out" filter="fade">
                                      <p:cBhvr>
                                        <p:cTn id="175" dur="500"/>
                                        <p:tgtEl>
                                          <p:spTgt spid="17"/>
                                        </p:tgtEl>
                                      </p:cBhvr>
                                    </p:animEffect>
                                    <p:set>
                                      <p:cBhvr>
                                        <p:cTn id="176" dur="1" fill="hold">
                                          <p:stCondLst>
                                            <p:cond delay="499"/>
                                          </p:stCondLst>
                                        </p:cTn>
                                        <p:tgtEl>
                                          <p:spTgt spid="17"/>
                                        </p:tgtEl>
                                        <p:attrNameLst>
                                          <p:attrName>style.visibility</p:attrName>
                                        </p:attrNameLst>
                                      </p:cBhvr>
                                      <p:to>
                                        <p:strVal val="hidden"/>
                                      </p:to>
                                    </p:set>
                                  </p:childTnLst>
                                </p:cTn>
                              </p:par>
                              <p:par>
                                <p:cTn id="177" presetID="10" presetClass="exit" presetSubtype="0" fill="hold" nodeType="withEffect">
                                  <p:stCondLst>
                                    <p:cond delay="0"/>
                                  </p:stCondLst>
                                  <p:childTnLst>
                                    <p:animEffect transition="out" filter="fade">
                                      <p:cBhvr>
                                        <p:cTn id="178" dur="500"/>
                                        <p:tgtEl>
                                          <p:spTgt spid="21"/>
                                        </p:tgtEl>
                                      </p:cBhvr>
                                    </p:animEffect>
                                    <p:set>
                                      <p:cBhvr>
                                        <p:cTn id="179" dur="1" fill="hold">
                                          <p:stCondLst>
                                            <p:cond delay="499"/>
                                          </p:stCondLst>
                                        </p:cTn>
                                        <p:tgtEl>
                                          <p:spTgt spid="21"/>
                                        </p:tgtEl>
                                        <p:attrNameLst>
                                          <p:attrName>style.visibility</p:attrName>
                                        </p:attrNameLst>
                                      </p:cBhvr>
                                      <p:to>
                                        <p:strVal val="hidden"/>
                                      </p:to>
                                    </p:set>
                                  </p:childTnLst>
                                </p:cTn>
                              </p:par>
                              <p:par>
                                <p:cTn id="180" presetID="10" presetClass="exit" presetSubtype="0" fill="hold" nodeType="withEffect">
                                  <p:stCondLst>
                                    <p:cond delay="0"/>
                                  </p:stCondLst>
                                  <p:childTnLst>
                                    <p:animEffect transition="out" filter="fade">
                                      <p:cBhvr>
                                        <p:cTn id="181" dur="500"/>
                                        <p:tgtEl>
                                          <p:spTgt spid="19"/>
                                        </p:tgtEl>
                                      </p:cBhvr>
                                    </p:animEffect>
                                    <p:set>
                                      <p:cBhvr>
                                        <p:cTn id="182" dur="1" fill="hold">
                                          <p:stCondLst>
                                            <p:cond delay="499"/>
                                          </p:stCondLst>
                                        </p:cTn>
                                        <p:tgtEl>
                                          <p:spTgt spid="19"/>
                                        </p:tgtEl>
                                        <p:attrNameLst>
                                          <p:attrName>style.visibility</p:attrName>
                                        </p:attrNameLst>
                                      </p:cBhvr>
                                      <p:to>
                                        <p:strVal val="hidden"/>
                                      </p:to>
                                    </p:set>
                                  </p:childTnLst>
                                </p:cTn>
                              </p:par>
                              <p:par>
                                <p:cTn id="183" presetID="10" presetClass="exit" presetSubtype="0" fill="hold" nodeType="withEffect">
                                  <p:stCondLst>
                                    <p:cond delay="0"/>
                                  </p:stCondLst>
                                  <p:childTnLst>
                                    <p:animEffect transition="out" filter="fade">
                                      <p:cBhvr>
                                        <p:cTn id="184" dur="500"/>
                                        <p:tgtEl>
                                          <p:spTgt spid="4"/>
                                        </p:tgtEl>
                                      </p:cBhvr>
                                    </p:animEffect>
                                    <p:set>
                                      <p:cBhvr>
                                        <p:cTn id="185" dur="1" fill="hold">
                                          <p:stCondLst>
                                            <p:cond delay="499"/>
                                          </p:stCondLst>
                                        </p:cTn>
                                        <p:tgtEl>
                                          <p:spTgt spid="4"/>
                                        </p:tgtEl>
                                        <p:attrNameLst>
                                          <p:attrName>style.visibility</p:attrName>
                                        </p:attrNameLst>
                                      </p:cBhvr>
                                      <p:to>
                                        <p:strVal val="hidden"/>
                                      </p:to>
                                    </p:set>
                                  </p:childTnLst>
                                </p:cTn>
                              </p:par>
                              <p:par>
                                <p:cTn id="186" presetID="10" presetClass="exit" presetSubtype="0" fill="hold" nodeType="withEffect">
                                  <p:stCondLst>
                                    <p:cond delay="0"/>
                                  </p:stCondLst>
                                  <p:childTnLst>
                                    <p:animEffect transition="out" filter="fade">
                                      <p:cBhvr>
                                        <p:cTn id="187" dur="500"/>
                                        <p:tgtEl>
                                          <p:spTgt spid="6"/>
                                        </p:tgtEl>
                                      </p:cBhvr>
                                    </p:animEffect>
                                    <p:set>
                                      <p:cBhvr>
                                        <p:cTn id="188"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15"/>
                  </p:tgtEl>
                </p:cond>
              </p:nextCondLst>
            </p:seq>
            <p:seq concurrent="1" nextAc="seek">
              <p:cTn id="189" restart="whenNotActive" fill="hold" evtFilter="cancelBubble" nodeType="interactiveSeq">
                <p:stCondLst>
                  <p:cond evt="onClick" delay="0">
                    <p:tgtEl>
                      <p:spTgt spid="14"/>
                    </p:tgtEl>
                  </p:cond>
                </p:stCondLst>
                <p:endSync evt="end" delay="0">
                  <p:rtn val="all"/>
                </p:endSync>
                <p:childTnLst>
                  <p:par>
                    <p:cTn id="190" fill="hold">
                      <p:stCondLst>
                        <p:cond delay="0"/>
                      </p:stCondLst>
                      <p:childTnLst>
                        <p:par>
                          <p:cTn id="191" fill="hold">
                            <p:stCondLst>
                              <p:cond delay="0"/>
                            </p:stCondLst>
                            <p:childTnLst>
                              <p:par>
                                <p:cTn id="192" presetID="26" presetClass="emph" presetSubtype="0" fill="hold" nodeType="clickEffect">
                                  <p:stCondLst>
                                    <p:cond delay="0"/>
                                  </p:stCondLst>
                                  <p:childTnLst>
                                    <p:animEffect transition="out" filter="fade">
                                      <p:cBhvr>
                                        <p:cTn id="193" dur="500" tmFilter="0, 0; .2, .5; .8, .5; 1, 0"/>
                                        <p:tgtEl>
                                          <p:spTgt spid="14"/>
                                        </p:tgtEl>
                                      </p:cBhvr>
                                    </p:animEffect>
                                    <p:animScale>
                                      <p:cBhvr>
                                        <p:cTn id="194" dur="250" autoRev="1" fill="hold"/>
                                        <p:tgtEl>
                                          <p:spTgt spid="14"/>
                                        </p:tgtEl>
                                      </p:cBhvr>
                                      <p:by x="105000" y="105000"/>
                                    </p:animScale>
                                  </p:childTnLst>
                                  <p:subTnLst>
                                    <p:audio>
                                      <p:cMediaNode>
                                        <p:cTn display="0" masterRel="sameClick">
                                          <p:stCondLst>
                                            <p:cond evt="begin" delay="0">
                                              <p:tn val="192"/>
                                            </p:cond>
                                          </p:stCondLst>
                                          <p:endCondLst>
                                            <p:cond evt="onStopAudio" delay="0">
                                              <p:tgtEl>
                                                <p:sldTgt/>
                                              </p:tgtEl>
                                            </p:cond>
                                          </p:endCondLst>
                                        </p:cTn>
                                        <p:tgtEl>
                                          <p:sndTgt r:embed="rId7" name="click.wav"/>
                                        </p:tgtEl>
                                      </p:cMediaNode>
                                    </p:audio>
                                  </p:subTnLst>
                                </p:cTn>
                              </p:par>
                              <p:par>
                                <p:cTn id="195" presetID="35" presetClass="path" presetSubtype="0" accel="50000" decel="50000" fill="hold" nodeType="withEffect">
                                  <p:stCondLst>
                                    <p:cond delay="0"/>
                                  </p:stCondLst>
                                  <p:childTnLst>
                                    <p:animMotion origin="layout" path="M 0.1599 -4.81481E-6 L 6.25E-7 -4.81481E-6 " pathEditMode="relative" rAng="0" ptsTypes="AA">
                                      <p:cBhvr>
                                        <p:cTn id="196" dur="500" fill="hold"/>
                                        <p:tgtEl>
                                          <p:spTgt spid="14"/>
                                        </p:tgtEl>
                                        <p:attrNameLst>
                                          <p:attrName>ppt_x</p:attrName>
                                          <p:attrName>ppt_y</p:attrName>
                                        </p:attrNameLst>
                                      </p:cBhvr>
                                      <p:rCtr x="-7995" y="0"/>
                                    </p:animMotion>
                                  </p:childTnLst>
                                </p:cTn>
                              </p:par>
                            </p:childTnLst>
                          </p:cTn>
                        </p:par>
                        <p:par>
                          <p:cTn id="197" fill="hold">
                            <p:stCondLst>
                              <p:cond delay="500"/>
                            </p:stCondLst>
                            <p:childTnLst>
                              <p:par>
                                <p:cTn id="198" presetID="1" presetClass="exit" presetSubtype="0" fill="hold" nodeType="afterEffect">
                                  <p:stCondLst>
                                    <p:cond delay="0"/>
                                  </p:stCondLst>
                                  <p:childTnLst>
                                    <p:set>
                                      <p:cBhvr>
                                        <p:cTn id="199" dur="1" fill="hold">
                                          <p:stCondLst>
                                            <p:cond delay="0"/>
                                          </p:stCondLst>
                                        </p:cTn>
                                        <p:tgtEl>
                                          <p:spTgt spid="13"/>
                                        </p:tgtEl>
                                        <p:attrNameLst>
                                          <p:attrName>style.visibility</p:attrName>
                                        </p:attrNameLst>
                                      </p:cBhvr>
                                      <p:to>
                                        <p:strVal val="hidden"/>
                                      </p:to>
                                    </p:set>
                                  </p:childTnLst>
                                </p:cTn>
                              </p:par>
                              <p:par>
                                <p:cTn id="200" presetID="10" presetClass="entr" presetSubtype="0" fill="hold" nodeType="withEffect">
                                  <p:stCondLst>
                                    <p:cond delay="0"/>
                                  </p:stCondLst>
                                  <p:childTnLst>
                                    <p:set>
                                      <p:cBhvr>
                                        <p:cTn id="201" dur="1" fill="hold">
                                          <p:stCondLst>
                                            <p:cond delay="0"/>
                                          </p:stCondLst>
                                        </p:cTn>
                                        <p:tgtEl>
                                          <p:spTgt spid="31"/>
                                        </p:tgtEl>
                                        <p:attrNameLst>
                                          <p:attrName>style.visibility</p:attrName>
                                        </p:attrNameLst>
                                      </p:cBhvr>
                                      <p:to>
                                        <p:strVal val="visible"/>
                                      </p:to>
                                    </p:set>
                                    <p:animEffect transition="in" filter="fade">
                                      <p:cBhvr>
                                        <p:cTn id="202" dur="500"/>
                                        <p:tgtEl>
                                          <p:spTgt spid="31"/>
                                        </p:tgtEl>
                                      </p:cBhvr>
                                    </p:animEffect>
                                  </p:childTnLst>
                                </p:cTn>
                              </p:par>
                              <p:par>
                                <p:cTn id="203" presetID="10" presetClass="entr" presetSubtype="0" fill="hold" nodeType="withEffect">
                                  <p:stCondLst>
                                    <p:cond delay="0"/>
                                  </p:stCondLst>
                                  <p:childTnLst>
                                    <p:set>
                                      <p:cBhvr>
                                        <p:cTn id="204" dur="1" fill="hold">
                                          <p:stCondLst>
                                            <p:cond delay="0"/>
                                          </p:stCondLst>
                                        </p:cTn>
                                        <p:tgtEl>
                                          <p:spTgt spid="12"/>
                                        </p:tgtEl>
                                        <p:attrNameLst>
                                          <p:attrName>style.visibility</p:attrName>
                                        </p:attrNameLst>
                                      </p:cBhvr>
                                      <p:to>
                                        <p:strVal val="visible"/>
                                      </p:to>
                                    </p:set>
                                    <p:animEffect transition="in" filter="fade">
                                      <p:cBhvr>
                                        <p:cTn id="205" dur="500"/>
                                        <p:tgtEl>
                                          <p:spTgt spid="12"/>
                                        </p:tgtEl>
                                      </p:cBhvr>
                                    </p:animEffect>
                                  </p:childTnLst>
                                </p:cTn>
                              </p:par>
                              <p:par>
                                <p:cTn id="206" presetID="10" presetClass="entr" presetSubtype="0" fill="hold" nodeType="withEffect">
                                  <p:stCondLst>
                                    <p:cond delay="0"/>
                                  </p:stCondLst>
                                  <p:childTnLst>
                                    <p:set>
                                      <p:cBhvr>
                                        <p:cTn id="207" dur="1" fill="hold">
                                          <p:stCondLst>
                                            <p:cond delay="0"/>
                                          </p:stCondLst>
                                        </p:cTn>
                                        <p:tgtEl>
                                          <p:spTgt spid="2"/>
                                        </p:tgtEl>
                                        <p:attrNameLst>
                                          <p:attrName>style.visibility</p:attrName>
                                        </p:attrNameLst>
                                      </p:cBhvr>
                                      <p:to>
                                        <p:strVal val="visible"/>
                                      </p:to>
                                    </p:set>
                                    <p:animEffect transition="in" filter="fade">
                                      <p:cBhvr>
                                        <p:cTn id="208" dur="500"/>
                                        <p:tgtEl>
                                          <p:spTgt spid="2"/>
                                        </p:tgtEl>
                                      </p:cBhvr>
                                    </p:animEffect>
                                  </p:childTnLst>
                                </p:cTn>
                              </p:par>
                              <p:par>
                                <p:cTn id="209" presetID="10" presetClass="entr" presetSubtype="0" fill="hold" nodeType="withEffect">
                                  <p:stCondLst>
                                    <p:cond delay="0"/>
                                  </p:stCondLst>
                                  <p:childTnLst>
                                    <p:set>
                                      <p:cBhvr>
                                        <p:cTn id="210" dur="1" fill="hold">
                                          <p:stCondLst>
                                            <p:cond delay="0"/>
                                          </p:stCondLst>
                                        </p:cTn>
                                        <p:tgtEl>
                                          <p:spTgt spid="16"/>
                                        </p:tgtEl>
                                        <p:attrNameLst>
                                          <p:attrName>style.visibility</p:attrName>
                                        </p:attrNameLst>
                                      </p:cBhvr>
                                      <p:to>
                                        <p:strVal val="visible"/>
                                      </p:to>
                                    </p:set>
                                    <p:animEffect transition="in" filter="fade">
                                      <p:cBhvr>
                                        <p:cTn id="211" dur="500"/>
                                        <p:tgtEl>
                                          <p:spTgt spid="16"/>
                                        </p:tgtEl>
                                      </p:cBhvr>
                                    </p:animEffect>
                                  </p:childTnLst>
                                </p:cTn>
                              </p:par>
                              <p:par>
                                <p:cTn id="212" presetID="10" presetClass="entr" presetSubtype="0" fill="hold" nodeType="withEffect">
                                  <p:stCondLst>
                                    <p:cond delay="0"/>
                                  </p:stCondLst>
                                  <p:childTnLst>
                                    <p:set>
                                      <p:cBhvr>
                                        <p:cTn id="213" dur="1" fill="hold">
                                          <p:stCondLst>
                                            <p:cond delay="0"/>
                                          </p:stCondLst>
                                        </p:cTn>
                                        <p:tgtEl>
                                          <p:spTgt spid="15"/>
                                        </p:tgtEl>
                                        <p:attrNameLst>
                                          <p:attrName>style.visibility</p:attrName>
                                        </p:attrNameLst>
                                      </p:cBhvr>
                                      <p:to>
                                        <p:strVal val="visible"/>
                                      </p:to>
                                    </p:set>
                                    <p:animEffect transition="in" filter="fade">
                                      <p:cBhvr>
                                        <p:cTn id="214" dur="500"/>
                                        <p:tgtEl>
                                          <p:spTgt spid="15"/>
                                        </p:tgtEl>
                                      </p:cBhvr>
                                    </p:animEffect>
                                  </p:childTnLst>
                                </p:cTn>
                              </p:par>
                              <p:par>
                                <p:cTn id="215" presetID="10" presetClass="entr" presetSubtype="0" fill="hold" nodeType="withEffect">
                                  <p:stCondLst>
                                    <p:cond delay="0"/>
                                  </p:stCondLst>
                                  <p:childTnLst>
                                    <p:set>
                                      <p:cBhvr>
                                        <p:cTn id="216" dur="1" fill="hold">
                                          <p:stCondLst>
                                            <p:cond delay="0"/>
                                          </p:stCondLst>
                                        </p:cTn>
                                        <p:tgtEl>
                                          <p:spTgt spid="18"/>
                                        </p:tgtEl>
                                        <p:attrNameLst>
                                          <p:attrName>style.visibility</p:attrName>
                                        </p:attrNameLst>
                                      </p:cBhvr>
                                      <p:to>
                                        <p:strVal val="visible"/>
                                      </p:to>
                                    </p:set>
                                    <p:animEffect transition="in" filter="fade">
                                      <p:cBhvr>
                                        <p:cTn id="217" dur="500"/>
                                        <p:tgtEl>
                                          <p:spTgt spid="18"/>
                                        </p:tgtEl>
                                      </p:cBhvr>
                                    </p:animEffect>
                                  </p:childTnLst>
                                </p:cTn>
                              </p:par>
                              <p:par>
                                <p:cTn id="218" presetID="10" presetClass="entr" presetSubtype="0" fill="hold" nodeType="withEffect">
                                  <p:stCondLst>
                                    <p:cond delay="0"/>
                                  </p:stCondLst>
                                  <p:childTnLst>
                                    <p:set>
                                      <p:cBhvr>
                                        <p:cTn id="219" dur="1" fill="hold">
                                          <p:stCondLst>
                                            <p:cond delay="0"/>
                                          </p:stCondLst>
                                        </p:cTn>
                                        <p:tgtEl>
                                          <p:spTgt spid="20"/>
                                        </p:tgtEl>
                                        <p:attrNameLst>
                                          <p:attrName>style.visibility</p:attrName>
                                        </p:attrNameLst>
                                      </p:cBhvr>
                                      <p:to>
                                        <p:strVal val="visible"/>
                                      </p:to>
                                    </p:set>
                                    <p:animEffect transition="in" filter="fade">
                                      <p:cBhvr>
                                        <p:cTn id="220" dur="500"/>
                                        <p:tgtEl>
                                          <p:spTgt spid="20"/>
                                        </p:tgtEl>
                                      </p:cBhvr>
                                    </p:animEffect>
                                  </p:childTnLst>
                                </p:cTn>
                              </p:par>
                              <p:par>
                                <p:cTn id="221" presetID="10" presetClass="entr" presetSubtype="0" fill="hold" nodeType="withEffect">
                                  <p:stCondLst>
                                    <p:cond delay="0"/>
                                  </p:stCondLst>
                                  <p:childTnLst>
                                    <p:set>
                                      <p:cBhvr>
                                        <p:cTn id="222" dur="1" fill="hold">
                                          <p:stCondLst>
                                            <p:cond delay="0"/>
                                          </p:stCondLst>
                                        </p:cTn>
                                        <p:tgtEl>
                                          <p:spTgt spid="17"/>
                                        </p:tgtEl>
                                        <p:attrNameLst>
                                          <p:attrName>style.visibility</p:attrName>
                                        </p:attrNameLst>
                                      </p:cBhvr>
                                      <p:to>
                                        <p:strVal val="visible"/>
                                      </p:to>
                                    </p:set>
                                    <p:animEffect transition="in" filter="fade">
                                      <p:cBhvr>
                                        <p:cTn id="223" dur="500"/>
                                        <p:tgtEl>
                                          <p:spTgt spid="17"/>
                                        </p:tgtEl>
                                      </p:cBhvr>
                                    </p:animEffect>
                                  </p:childTnLst>
                                </p:cTn>
                              </p:par>
                              <p:par>
                                <p:cTn id="224" presetID="10" presetClass="entr" presetSubtype="0" fill="hold" nodeType="withEffect">
                                  <p:stCondLst>
                                    <p:cond delay="0"/>
                                  </p:stCondLst>
                                  <p:childTnLst>
                                    <p:set>
                                      <p:cBhvr>
                                        <p:cTn id="225" dur="1" fill="hold">
                                          <p:stCondLst>
                                            <p:cond delay="0"/>
                                          </p:stCondLst>
                                        </p:cTn>
                                        <p:tgtEl>
                                          <p:spTgt spid="21"/>
                                        </p:tgtEl>
                                        <p:attrNameLst>
                                          <p:attrName>style.visibility</p:attrName>
                                        </p:attrNameLst>
                                      </p:cBhvr>
                                      <p:to>
                                        <p:strVal val="visible"/>
                                      </p:to>
                                    </p:set>
                                    <p:animEffect transition="in" filter="fade">
                                      <p:cBhvr>
                                        <p:cTn id="226" dur="500"/>
                                        <p:tgtEl>
                                          <p:spTgt spid="21"/>
                                        </p:tgtEl>
                                      </p:cBhvr>
                                    </p:animEffect>
                                  </p:childTnLst>
                                </p:cTn>
                              </p:par>
                              <p:par>
                                <p:cTn id="227" presetID="10" presetClass="entr" presetSubtype="0" fill="hold" nodeType="withEffect">
                                  <p:stCondLst>
                                    <p:cond delay="0"/>
                                  </p:stCondLst>
                                  <p:childTnLst>
                                    <p:set>
                                      <p:cBhvr>
                                        <p:cTn id="228" dur="1" fill="hold">
                                          <p:stCondLst>
                                            <p:cond delay="0"/>
                                          </p:stCondLst>
                                        </p:cTn>
                                        <p:tgtEl>
                                          <p:spTgt spid="19"/>
                                        </p:tgtEl>
                                        <p:attrNameLst>
                                          <p:attrName>style.visibility</p:attrName>
                                        </p:attrNameLst>
                                      </p:cBhvr>
                                      <p:to>
                                        <p:strVal val="visible"/>
                                      </p:to>
                                    </p:set>
                                    <p:animEffect transition="in" filter="fade">
                                      <p:cBhvr>
                                        <p:cTn id="229" dur="500"/>
                                        <p:tgtEl>
                                          <p:spTgt spid="19"/>
                                        </p:tgtEl>
                                      </p:cBhvr>
                                    </p:animEffect>
                                  </p:childTnLst>
                                </p:cTn>
                              </p:par>
                              <p:par>
                                <p:cTn id="230" presetID="10" presetClass="entr" presetSubtype="0" fill="hold" nodeType="withEffect">
                                  <p:stCondLst>
                                    <p:cond delay="0"/>
                                  </p:stCondLst>
                                  <p:childTnLst>
                                    <p:set>
                                      <p:cBhvr>
                                        <p:cTn id="231" dur="1" fill="hold">
                                          <p:stCondLst>
                                            <p:cond delay="0"/>
                                          </p:stCondLst>
                                        </p:cTn>
                                        <p:tgtEl>
                                          <p:spTgt spid="4"/>
                                        </p:tgtEl>
                                        <p:attrNameLst>
                                          <p:attrName>style.visibility</p:attrName>
                                        </p:attrNameLst>
                                      </p:cBhvr>
                                      <p:to>
                                        <p:strVal val="visible"/>
                                      </p:to>
                                    </p:set>
                                    <p:animEffect transition="in" filter="fade">
                                      <p:cBhvr>
                                        <p:cTn id="232" dur="500"/>
                                        <p:tgtEl>
                                          <p:spTgt spid="4"/>
                                        </p:tgtEl>
                                      </p:cBhvr>
                                    </p:animEffect>
                                  </p:childTnLst>
                                </p:cTn>
                              </p:par>
                              <p:par>
                                <p:cTn id="233" presetID="10" presetClass="entr" presetSubtype="0" fill="hold" nodeType="withEffect">
                                  <p:stCondLst>
                                    <p:cond delay="0"/>
                                  </p:stCondLst>
                                  <p:childTnLst>
                                    <p:set>
                                      <p:cBhvr>
                                        <p:cTn id="234" dur="1" fill="hold">
                                          <p:stCondLst>
                                            <p:cond delay="0"/>
                                          </p:stCondLst>
                                        </p:cTn>
                                        <p:tgtEl>
                                          <p:spTgt spid="6"/>
                                        </p:tgtEl>
                                        <p:attrNameLst>
                                          <p:attrName>style.visibility</p:attrName>
                                        </p:attrNameLst>
                                      </p:cBhvr>
                                      <p:to>
                                        <p:strVal val="visible"/>
                                      </p:to>
                                    </p:set>
                                    <p:animEffect transition="in" filter="fade">
                                      <p:cBhvr>
                                        <p:cTn id="235" dur="500"/>
                                        <p:tgtEl>
                                          <p:spTgt spid="6"/>
                                        </p:tgtEl>
                                      </p:cBhvr>
                                    </p:animEffect>
                                  </p:childTnLst>
                                </p:cTn>
                              </p:par>
                            </p:childTnLst>
                          </p:cTn>
                        </p:par>
                      </p:childTnLst>
                    </p:cTn>
                  </p:par>
                </p:childTnLst>
              </p:cTn>
              <p:nextCondLst>
                <p:cond evt="onClick" delay="0">
                  <p:tgtEl>
                    <p:spTgt spid="14"/>
                  </p:tgtEl>
                </p:cond>
              </p:nextCondLst>
            </p:seq>
            <p:seq concurrent="1" nextAc="seek">
              <p:cTn id="236" restart="whenNotActive" fill="hold" evtFilter="cancelBubble" nodeType="interactiveSeq">
                <p:stCondLst>
                  <p:cond evt="onClick" delay="0">
                    <p:tgtEl>
                      <p:spTgt spid="20"/>
                    </p:tgtEl>
                  </p:cond>
                </p:stCondLst>
                <p:endSync evt="end" delay="0">
                  <p:rtn val="all"/>
                </p:endSync>
                <p:childTnLst>
                  <p:par>
                    <p:cTn id="237" fill="hold">
                      <p:stCondLst>
                        <p:cond delay="0"/>
                      </p:stCondLst>
                      <p:childTnLst>
                        <p:par>
                          <p:cTn id="238" fill="hold">
                            <p:stCondLst>
                              <p:cond delay="0"/>
                            </p:stCondLst>
                            <p:childTnLst>
                              <p:par>
                                <p:cTn id="239" presetID="26" presetClass="emph" presetSubtype="0" fill="hold" nodeType="clickEffect">
                                  <p:stCondLst>
                                    <p:cond delay="0"/>
                                  </p:stCondLst>
                                  <p:childTnLst>
                                    <p:animEffect transition="out" filter="fade">
                                      <p:cBhvr>
                                        <p:cTn id="240" dur="500" tmFilter="0, 0; .2, .5; .8, .5; 1, 0"/>
                                        <p:tgtEl>
                                          <p:spTgt spid="20"/>
                                        </p:tgtEl>
                                      </p:cBhvr>
                                    </p:animEffect>
                                    <p:animScale>
                                      <p:cBhvr>
                                        <p:cTn id="241" dur="250" autoRev="1" fill="hold"/>
                                        <p:tgtEl>
                                          <p:spTgt spid="20"/>
                                        </p:tgtEl>
                                      </p:cBhvr>
                                      <p:by x="105000" y="105000"/>
                                    </p:animScale>
                                  </p:childTnLst>
                                  <p:subTnLst>
                                    <p:audio>
                                      <p:cMediaNode>
                                        <p:cTn display="0" masterRel="sameClick">
                                          <p:stCondLst>
                                            <p:cond evt="begin" delay="0">
                                              <p:tn val="239"/>
                                            </p:cond>
                                          </p:stCondLst>
                                          <p:endCondLst>
                                            <p:cond evt="onStopAudio" delay="0">
                                              <p:tgtEl>
                                                <p:sldTgt/>
                                              </p:tgtEl>
                                            </p:cond>
                                          </p:endCondLst>
                                        </p:cTn>
                                        <p:tgtEl>
                                          <p:sndTgt r:embed="rId7" name="click.wav"/>
                                        </p:tgtEl>
                                      </p:cMediaNode>
                                    </p:audio>
                                  </p:subTnLst>
                                </p:cTn>
                              </p:par>
                            </p:childTnLst>
                          </p:cTn>
                        </p:par>
                        <p:par>
                          <p:cTn id="242" fill="hold">
                            <p:stCondLst>
                              <p:cond delay="500"/>
                            </p:stCondLst>
                            <p:childTnLst>
                              <p:par>
                                <p:cTn id="243" presetID="1" presetClass="mediacall" presetSubtype="0" fill="hold" nodeType="afterEffect">
                                  <p:stCondLst>
                                    <p:cond delay="0"/>
                                  </p:stCondLst>
                                  <p:childTnLst>
                                    <p:cmd type="call" cmd="playFrom(0.0)">
                                      <p:cBhvr>
                                        <p:cTn id="244" dur="4995" fill="hold"/>
                                        <p:tgtEl>
                                          <p:spTgt spid="7"/>
                                        </p:tgtEl>
                                      </p:cBhvr>
                                    </p:cmd>
                                  </p:childTnLst>
                                </p:cTn>
                              </p:par>
                              <p:par>
                                <p:cTn id="245" presetID="1" presetClass="entr" presetSubtype="0" fill="hold" nodeType="withEffect">
                                  <p:stCondLst>
                                    <p:cond delay="0"/>
                                  </p:stCondLst>
                                  <p:childTnLst>
                                    <p:set>
                                      <p:cBhvr>
                                        <p:cTn id="246" dur="1" fill="hold">
                                          <p:stCondLst>
                                            <p:cond delay="0"/>
                                          </p:stCondLst>
                                        </p:cTn>
                                        <p:tgtEl>
                                          <p:spTgt spid="13"/>
                                        </p:tgtEl>
                                        <p:attrNameLst>
                                          <p:attrName>style.visibility</p:attrName>
                                        </p:attrNameLst>
                                      </p:cBhvr>
                                      <p:to>
                                        <p:strVal val="visible"/>
                                      </p:to>
                                    </p:set>
                                  </p:childTnLst>
                                </p:cTn>
                              </p:par>
                              <p:par>
                                <p:cTn id="247" presetID="63" presetClass="path" presetSubtype="0" accel="50000" decel="50000" fill="hold" nodeType="withEffect">
                                  <p:stCondLst>
                                    <p:cond delay="0"/>
                                  </p:stCondLst>
                                  <p:childTnLst>
                                    <p:animMotion origin="layout" path="M 6.25E-7 -4.81481E-6 L 0.16094 -4.81481E-6 " pathEditMode="relative" rAng="0" ptsTypes="AA">
                                      <p:cBhvr>
                                        <p:cTn id="248" dur="500" fill="hold"/>
                                        <p:tgtEl>
                                          <p:spTgt spid="14"/>
                                        </p:tgtEl>
                                        <p:attrNameLst>
                                          <p:attrName>ppt_x</p:attrName>
                                          <p:attrName>ppt_y</p:attrName>
                                        </p:attrNameLst>
                                      </p:cBhvr>
                                      <p:rCtr x="7591" y="0"/>
                                    </p:animMotion>
                                  </p:childTnLst>
                                </p:cTn>
                              </p:par>
                              <p:par>
                                <p:cTn id="249" presetID="10" presetClass="exit" presetSubtype="0" fill="hold" nodeType="withEffect">
                                  <p:stCondLst>
                                    <p:cond delay="0"/>
                                  </p:stCondLst>
                                  <p:childTnLst>
                                    <p:animEffect transition="out" filter="fade">
                                      <p:cBhvr>
                                        <p:cTn id="250" dur="500"/>
                                        <p:tgtEl>
                                          <p:spTgt spid="31"/>
                                        </p:tgtEl>
                                      </p:cBhvr>
                                    </p:animEffect>
                                    <p:set>
                                      <p:cBhvr>
                                        <p:cTn id="251" dur="1" fill="hold">
                                          <p:stCondLst>
                                            <p:cond delay="499"/>
                                          </p:stCondLst>
                                        </p:cTn>
                                        <p:tgtEl>
                                          <p:spTgt spid="31"/>
                                        </p:tgtEl>
                                        <p:attrNameLst>
                                          <p:attrName>style.visibility</p:attrName>
                                        </p:attrNameLst>
                                      </p:cBhvr>
                                      <p:to>
                                        <p:strVal val="hidden"/>
                                      </p:to>
                                    </p:set>
                                  </p:childTnLst>
                                </p:cTn>
                              </p:par>
                              <p:par>
                                <p:cTn id="252" presetID="10" presetClass="exit" presetSubtype="0" fill="hold" nodeType="withEffect">
                                  <p:stCondLst>
                                    <p:cond delay="0"/>
                                  </p:stCondLst>
                                  <p:childTnLst>
                                    <p:animEffect transition="out" filter="fade">
                                      <p:cBhvr>
                                        <p:cTn id="253" dur="500"/>
                                        <p:tgtEl>
                                          <p:spTgt spid="12"/>
                                        </p:tgtEl>
                                      </p:cBhvr>
                                    </p:animEffect>
                                    <p:set>
                                      <p:cBhvr>
                                        <p:cTn id="254" dur="1" fill="hold">
                                          <p:stCondLst>
                                            <p:cond delay="499"/>
                                          </p:stCondLst>
                                        </p:cTn>
                                        <p:tgtEl>
                                          <p:spTgt spid="12"/>
                                        </p:tgtEl>
                                        <p:attrNameLst>
                                          <p:attrName>style.visibility</p:attrName>
                                        </p:attrNameLst>
                                      </p:cBhvr>
                                      <p:to>
                                        <p:strVal val="hidden"/>
                                      </p:to>
                                    </p:set>
                                  </p:childTnLst>
                                </p:cTn>
                              </p:par>
                              <p:par>
                                <p:cTn id="255" presetID="10" presetClass="exit" presetSubtype="0" fill="hold" nodeType="withEffect">
                                  <p:stCondLst>
                                    <p:cond delay="0"/>
                                  </p:stCondLst>
                                  <p:childTnLst>
                                    <p:animEffect transition="out" filter="fade">
                                      <p:cBhvr>
                                        <p:cTn id="256" dur="500"/>
                                        <p:tgtEl>
                                          <p:spTgt spid="2"/>
                                        </p:tgtEl>
                                      </p:cBhvr>
                                    </p:animEffect>
                                    <p:set>
                                      <p:cBhvr>
                                        <p:cTn id="257" dur="1" fill="hold">
                                          <p:stCondLst>
                                            <p:cond delay="499"/>
                                          </p:stCondLst>
                                        </p:cTn>
                                        <p:tgtEl>
                                          <p:spTgt spid="2"/>
                                        </p:tgtEl>
                                        <p:attrNameLst>
                                          <p:attrName>style.visibility</p:attrName>
                                        </p:attrNameLst>
                                      </p:cBhvr>
                                      <p:to>
                                        <p:strVal val="hidden"/>
                                      </p:to>
                                    </p:set>
                                  </p:childTnLst>
                                </p:cTn>
                              </p:par>
                              <p:par>
                                <p:cTn id="258" presetID="10" presetClass="exit" presetSubtype="0" fill="hold" nodeType="withEffect">
                                  <p:stCondLst>
                                    <p:cond delay="0"/>
                                  </p:stCondLst>
                                  <p:childTnLst>
                                    <p:animEffect transition="out" filter="fade">
                                      <p:cBhvr>
                                        <p:cTn id="259" dur="500"/>
                                        <p:tgtEl>
                                          <p:spTgt spid="16"/>
                                        </p:tgtEl>
                                      </p:cBhvr>
                                    </p:animEffect>
                                    <p:set>
                                      <p:cBhvr>
                                        <p:cTn id="260" dur="1" fill="hold">
                                          <p:stCondLst>
                                            <p:cond delay="499"/>
                                          </p:stCondLst>
                                        </p:cTn>
                                        <p:tgtEl>
                                          <p:spTgt spid="16"/>
                                        </p:tgtEl>
                                        <p:attrNameLst>
                                          <p:attrName>style.visibility</p:attrName>
                                        </p:attrNameLst>
                                      </p:cBhvr>
                                      <p:to>
                                        <p:strVal val="hidden"/>
                                      </p:to>
                                    </p:set>
                                  </p:childTnLst>
                                </p:cTn>
                              </p:par>
                              <p:par>
                                <p:cTn id="261" presetID="10" presetClass="exit" presetSubtype="0" fill="hold" nodeType="withEffect">
                                  <p:stCondLst>
                                    <p:cond delay="0"/>
                                  </p:stCondLst>
                                  <p:childTnLst>
                                    <p:animEffect transition="out" filter="fade">
                                      <p:cBhvr>
                                        <p:cTn id="262" dur="500"/>
                                        <p:tgtEl>
                                          <p:spTgt spid="15"/>
                                        </p:tgtEl>
                                      </p:cBhvr>
                                    </p:animEffect>
                                    <p:set>
                                      <p:cBhvr>
                                        <p:cTn id="263" dur="1" fill="hold">
                                          <p:stCondLst>
                                            <p:cond delay="499"/>
                                          </p:stCondLst>
                                        </p:cTn>
                                        <p:tgtEl>
                                          <p:spTgt spid="15"/>
                                        </p:tgtEl>
                                        <p:attrNameLst>
                                          <p:attrName>style.visibility</p:attrName>
                                        </p:attrNameLst>
                                      </p:cBhvr>
                                      <p:to>
                                        <p:strVal val="hidden"/>
                                      </p:to>
                                    </p:set>
                                  </p:childTnLst>
                                </p:cTn>
                              </p:par>
                              <p:par>
                                <p:cTn id="264" presetID="10" presetClass="exit" presetSubtype="0" fill="hold" nodeType="withEffect">
                                  <p:stCondLst>
                                    <p:cond delay="0"/>
                                  </p:stCondLst>
                                  <p:childTnLst>
                                    <p:animEffect transition="out" filter="fade">
                                      <p:cBhvr>
                                        <p:cTn id="265" dur="500"/>
                                        <p:tgtEl>
                                          <p:spTgt spid="18"/>
                                        </p:tgtEl>
                                      </p:cBhvr>
                                    </p:animEffect>
                                    <p:set>
                                      <p:cBhvr>
                                        <p:cTn id="266" dur="1" fill="hold">
                                          <p:stCondLst>
                                            <p:cond delay="499"/>
                                          </p:stCondLst>
                                        </p:cTn>
                                        <p:tgtEl>
                                          <p:spTgt spid="18"/>
                                        </p:tgtEl>
                                        <p:attrNameLst>
                                          <p:attrName>style.visibility</p:attrName>
                                        </p:attrNameLst>
                                      </p:cBhvr>
                                      <p:to>
                                        <p:strVal val="hidden"/>
                                      </p:to>
                                    </p:set>
                                  </p:childTnLst>
                                </p:cTn>
                              </p:par>
                              <p:par>
                                <p:cTn id="267" presetID="10" presetClass="exit" presetSubtype="0" fill="hold" nodeType="withEffect">
                                  <p:stCondLst>
                                    <p:cond delay="0"/>
                                  </p:stCondLst>
                                  <p:childTnLst>
                                    <p:animEffect transition="out" filter="fade">
                                      <p:cBhvr>
                                        <p:cTn id="268" dur="500"/>
                                        <p:tgtEl>
                                          <p:spTgt spid="20"/>
                                        </p:tgtEl>
                                      </p:cBhvr>
                                    </p:animEffect>
                                    <p:set>
                                      <p:cBhvr>
                                        <p:cTn id="269" dur="1" fill="hold">
                                          <p:stCondLst>
                                            <p:cond delay="499"/>
                                          </p:stCondLst>
                                        </p:cTn>
                                        <p:tgtEl>
                                          <p:spTgt spid="20"/>
                                        </p:tgtEl>
                                        <p:attrNameLst>
                                          <p:attrName>style.visibility</p:attrName>
                                        </p:attrNameLst>
                                      </p:cBhvr>
                                      <p:to>
                                        <p:strVal val="hidden"/>
                                      </p:to>
                                    </p:set>
                                  </p:childTnLst>
                                </p:cTn>
                              </p:par>
                              <p:par>
                                <p:cTn id="270" presetID="10" presetClass="exit" presetSubtype="0" fill="hold" nodeType="withEffect">
                                  <p:stCondLst>
                                    <p:cond delay="0"/>
                                  </p:stCondLst>
                                  <p:childTnLst>
                                    <p:animEffect transition="out" filter="fade">
                                      <p:cBhvr>
                                        <p:cTn id="271" dur="500"/>
                                        <p:tgtEl>
                                          <p:spTgt spid="17"/>
                                        </p:tgtEl>
                                      </p:cBhvr>
                                    </p:animEffect>
                                    <p:set>
                                      <p:cBhvr>
                                        <p:cTn id="272" dur="1" fill="hold">
                                          <p:stCondLst>
                                            <p:cond delay="499"/>
                                          </p:stCondLst>
                                        </p:cTn>
                                        <p:tgtEl>
                                          <p:spTgt spid="17"/>
                                        </p:tgtEl>
                                        <p:attrNameLst>
                                          <p:attrName>style.visibility</p:attrName>
                                        </p:attrNameLst>
                                      </p:cBhvr>
                                      <p:to>
                                        <p:strVal val="hidden"/>
                                      </p:to>
                                    </p:set>
                                  </p:childTnLst>
                                </p:cTn>
                              </p:par>
                              <p:par>
                                <p:cTn id="273" presetID="10" presetClass="exit" presetSubtype="0" fill="hold" nodeType="withEffect">
                                  <p:stCondLst>
                                    <p:cond delay="0"/>
                                  </p:stCondLst>
                                  <p:childTnLst>
                                    <p:animEffect transition="out" filter="fade">
                                      <p:cBhvr>
                                        <p:cTn id="274" dur="500"/>
                                        <p:tgtEl>
                                          <p:spTgt spid="21"/>
                                        </p:tgtEl>
                                      </p:cBhvr>
                                    </p:animEffect>
                                    <p:set>
                                      <p:cBhvr>
                                        <p:cTn id="275" dur="1" fill="hold">
                                          <p:stCondLst>
                                            <p:cond delay="499"/>
                                          </p:stCondLst>
                                        </p:cTn>
                                        <p:tgtEl>
                                          <p:spTgt spid="21"/>
                                        </p:tgtEl>
                                        <p:attrNameLst>
                                          <p:attrName>style.visibility</p:attrName>
                                        </p:attrNameLst>
                                      </p:cBhvr>
                                      <p:to>
                                        <p:strVal val="hidden"/>
                                      </p:to>
                                    </p:set>
                                  </p:childTnLst>
                                </p:cTn>
                              </p:par>
                              <p:par>
                                <p:cTn id="276" presetID="10" presetClass="exit" presetSubtype="0" fill="hold" nodeType="withEffect">
                                  <p:stCondLst>
                                    <p:cond delay="0"/>
                                  </p:stCondLst>
                                  <p:childTnLst>
                                    <p:animEffect transition="out" filter="fade">
                                      <p:cBhvr>
                                        <p:cTn id="277" dur="500"/>
                                        <p:tgtEl>
                                          <p:spTgt spid="19"/>
                                        </p:tgtEl>
                                      </p:cBhvr>
                                    </p:animEffect>
                                    <p:set>
                                      <p:cBhvr>
                                        <p:cTn id="278" dur="1" fill="hold">
                                          <p:stCondLst>
                                            <p:cond delay="499"/>
                                          </p:stCondLst>
                                        </p:cTn>
                                        <p:tgtEl>
                                          <p:spTgt spid="19"/>
                                        </p:tgtEl>
                                        <p:attrNameLst>
                                          <p:attrName>style.visibility</p:attrName>
                                        </p:attrNameLst>
                                      </p:cBhvr>
                                      <p:to>
                                        <p:strVal val="hidden"/>
                                      </p:to>
                                    </p:set>
                                  </p:childTnLst>
                                </p:cTn>
                              </p:par>
                              <p:par>
                                <p:cTn id="279" presetID="10" presetClass="exit" presetSubtype="0" fill="hold" nodeType="withEffect">
                                  <p:stCondLst>
                                    <p:cond delay="0"/>
                                  </p:stCondLst>
                                  <p:childTnLst>
                                    <p:animEffect transition="out" filter="fade">
                                      <p:cBhvr>
                                        <p:cTn id="280" dur="500"/>
                                        <p:tgtEl>
                                          <p:spTgt spid="4"/>
                                        </p:tgtEl>
                                      </p:cBhvr>
                                    </p:animEffect>
                                    <p:set>
                                      <p:cBhvr>
                                        <p:cTn id="281" dur="1" fill="hold">
                                          <p:stCondLst>
                                            <p:cond delay="499"/>
                                          </p:stCondLst>
                                        </p:cTn>
                                        <p:tgtEl>
                                          <p:spTgt spid="4"/>
                                        </p:tgtEl>
                                        <p:attrNameLst>
                                          <p:attrName>style.visibility</p:attrName>
                                        </p:attrNameLst>
                                      </p:cBhvr>
                                      <p:to>
                                        <p:strVal val="hidden"/>
                                      </p:to>
                                    </p:set>
                                  </p:childTnLst>
                                </p:cTn>
                              </p:par>
                              <p:par>
                                <p:cTn id="282" presetID="10" presetClass="exit" presetSubtype="0" fill="hold" nodeType="withEffect">
                                  <p:stCondLst>
                                    <p:cond delay="0"/>
                                  </p:stCondLst>
                                  <p:childTnLst>
                                    <p:animEffect transition="out" filter="fade">
                                      <p:cBhvr>
                                        <p:cTn id="283" dur="500"/>
                                        <p:tgtEl>
                                          <p:spTgt spid="6"/>
                                        </p:tgtEl>
                                      </p:cBhvr>
                                    </p:animEffect>
                                    <p:set>
                                      <p:cBhvr>
                                        <p:cTn id="284"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285" restart="whenNotActive" fill="hold" evtFilter="cancelBubble" nodeType="interactiveSeq">
                <p:stCondLst>
                  <p:cond evt="onClick" delay="0">
                    <p:tgtEl>
                      <p:spTgt spid="21"/>
                    </p:tgtEl>
                  </p:cond>
                </p:stCondLst>
                <p:endSync evt="end" delay="0">
                  <p:rtn val="all"/>
                </p:endSync>
                <p:childTnLst>
                  <p:par>
                    <p:cTn id="286" fill="hold">
                      <p:stCondLst>
                        <p:cond delay="0"/>
                      </p:stCondLst>
                      <p:childTnLst>
                        <p:par>
                          <p:cTn id="287" fill="hold">
                            <p:stCondLst>
                              <p:cond delay="0"/>
                            </p:stCondLst>
                            <p:childTnLst>
                              <p:par>
                                <p:cTn id="288" presetID="26" presetClass="emph" presetSubtype="0" fill="hold" nodeType="clickEffect">
                                  <p:stCondLst>
                                    <p:cond delay="0"/>
                                  </p:stCondLst>
                                  <p:childTnLst>
                                    <p:animEffect transition="out" filter="fade">
                                      <p:cBhvr>
                                        <p:cTn id="289" dur="500" tmFilter="0, 0; .2, .5; .8, .5; 1, 0"/>
                                        <p:tgtEl>
                                          <p:spTgt spid="21"/>
                                        </p:tgtEl>
                                      </p:cBhvr>
                                    </p:animEffect>
                                    <p:animScale>
                                      <p:cBhvr>
                                        <p:cTn id="290" dur="250" autoRev="1" fill="hold"/>
                                        <p:tgtEl>
                                          <p:spTgt spid="21"/>
                                        </p:tgtEl>
                                      </p:cBhvr>
                                      <p:by x="105000" y="105000"/>
                                    </p:animScale>
                                  </p:childTnLst>
                                  <p:subTnLst>
                                    <p:audio>
                                      <p:cMediaNode>
                                        <p:cTn display="0" masterRel="sameClick">
                                          <p:stCondLst>
                                            <p:cond evt="begin" delay="0">
                                              <p:tn val="288"/>
                                            </p:cond>
                                          </p:stCondLst>
                                          <p:endCondLst>
                                            <p:cond evt="onStopAudio" delay="0">
                                              <p:tgtEl>
                                                <p:sldTgt/>
                                              </p:tgtEl>
                                            </p:cond>
                                          </p:endCondLst>
                                        </p:cTn>
                                        <p:tgtEl>
                                          <p:sndTgt r:embed="rId7" name="click.wav"/>
                                        </p:tgtEl>
                                      </p:cMediaNode>
                                    </p:audio>
                                  </p:subTnLst>
                                </p:cTn>
                              </p:par>
                            </p:childTnLst>
                          </p:cTn>
                        </p:par>
                        <p:par>
                          <p:cTn id="291" fill="hold">
                            <p:stCondLst>
                              <p:cond delay="500"/>
                            </p:stCondLst>
                            <p:childTnLst>
                              <p:par>
                                <p:cTn id="292" presetID="1" presetClass="mediacall" presetSubtype="0" fill="hold" nodeType="afterEffect">
                                  <p:stCondLst>
                                    <p:cond delay="0"/>
                                  </p:stCondLst>
                                  <p:childTnLst>
                                    <p:cmd type="call" cmd="playFrom(0.0)">
                                      <p:cBhvr>
                                        <p:cTn id="293" dur="4995" fill="hold"/>
                                        <p:tgtEl>
                                          <p:spTgt spid="7"/>
                                        </p:tgtEl>
                                      </p:cBhvr>
                                    </p:cmd>
                                  </p:childTnLst>
                                </p:cTn>
                              </p:par>
                              <p:par>
                                <p:cTn id="294" presetID="1" presetClass="entr" presetSubtype="0" fill="hold" nodeType="withEffect">
                                  <p:stCondLst>
                                    <p:cond delay="0"/>
                                  </p:stCondLst>
                                  <p:childTnLst>
                                    <p:set>
                                      <p:cBhvr>
                                        <p:cTn id="295" dur="1" fill="hold">
                                          <p:stCondLst>
                                            <p:cond delay="0"/>
                                          </p:stCondLst>
                                        </p:cTn>
                                        <p:tgtEl>
                                          <p:spTgt spid="13"/>
                                        </p:tgtEl>
                                        <p:attrNameLst>
                                          <p:attrName>style.visibility</p:attrName>
                                        </p:attrNameLst>
                                      </p:cBhvr>
                                      <p:to>
                                        <p:strVal val="visible"/>
                                      </p:to>
                                    </p:set>
                                  </p:childTnLst>
                                </p:cTn>
                              </p:par>
                              <p:par>
                                <p:cTn id="296" presetID="63" presetClass="path" presetSubtype="0" accel="50000" decel="50000" fill="hold" nodeType="withEffect">
                                  <p:stCondLst>
                                    <p:cond delay="0"/>
                                  </p:stCondLst>
                                  <p:childTnLst>
                                    <p:animMotion origin="layout" path="M 6.25E-7 -4.81481E-6 L 0.16093 -4.81481E-6 " pathEditMode="relative" rAng="0" ptsTypes="AA">
                                      <p:cBhvr>
                                        <p:cTn id="297" dur="500" fill="hold"/>
                                        <p:tgtEl>
                                          <p:spTgt spid="14"/>
                                        </p:tgtEl>
                                        <p:attrNameLst>
                                          <p:attrName>ppt_x</p:attrName>
                                          <p:attrName>ppt_y</p:attrName>
                                        </p:attrNameLst>
                                      </p:cBhvr>
                                      <p:rCtr x="7956" y="0"/>
                                    </p:animMotion>
                                  </p:childTnLst>
                                </p:cTn>
                              </p:par>
                              <p:par>
                                <p:cTn id="298" presetID="10" presetClass="exit" presetSubtype="0" fill="hold" nodeType="withEffect">
                                  <p:stCondLst>
                                    <p:cond delay="0"/>
                                  </p:stCondLst>
                                  <p:childTnLst>
                                    <p:animEffect transition="out" filter="fade">
                                      <p:cBhvr>
                                        <p:cTn id="299" dur="500"/>
                                        <p:tgtEl>
                                          <p:spTgt spid="31"/>
                                        </p:tgtEl>
                                      </p:cBhvr>
                                    </p:animEffect>
                                    <p:set>
                                      <p:cBhvr>
                                        <p:cTn id="300" dur="1" fill="hold">
                                          <p:stCondLst>
                                            <p:cond delay="499"/>
                                          </p:stCondLst>
                                        </p:cTn>
                                        <p:tgtEl>
                                          <p:spTgt spid="31"/>
                                        </p:tgtEl>
                                        <p:attrNameLst>
                                          <p:attrName>style.visibility</p:attrName>
                                        </p:attrNameLst>
                                      </p:cBhvr>
                                      <p:to>
                                        <p:strVal val="hidden"/>
                                      </p:to>
                                    </p:set>
                                  </p:childTnLst>
                                </p:cTn>
                              </p:par>
                              <p:par>
                                <p:cTn id="301" presetID="10" presetClass="exit" presetSubtype="0" fill="hold" nodeType="withEffect">
                                  <p:stCondLst>
                                    <p:cond delay="0"/>
                                  </p:stCondLst>
                                  <p:childTnLst>
                                    <p:animEffect transition="out" filter="fade">
                                      <p:cBhvr>
                                        <p:cTn id="302" dur="500"/>
                                        <p:tgtEl>
                                          <p:spTgt spid="12"/>
                                        </p:tgtEl>
                                      </p:cBhvr>
                                    </p:animEffect>
                                    <p:set>
                                      <p:cBhvr>
                                        <p:cTn id="303" dur="1" fill="hold">
                                          <p:stCondLst>
                                            <p:cond delay="499"/>
                                          </p:stCondLst>
                                        </p:cTn>
                                        <p:tgtEl>
                                          <p:spTgt spid="12"/>
                                        </p:tgtEl>
                                        <p:attrNameLst>
                                          <p:attrName>style.visibility</p:attrName>
                                        </p:attrNameLst>
                                      </p:cBhvr>
                                      <p:to>
                                        <p:strVal val="hidden"/>
                                      </p:to>
                                    </p:set>
                                  </p:childTnLst>
                                </p:cTn>
                              </p:par>
                              <p:par>
                                <p:cTn id="304" presetID="10" presetClass="exit" presetSubtype="0" fill="hold" nodeType="withEffect">
                                  <p:stCondLst>
                                    <p:cond delay="0"/>
                                  </p:stCondLst>
                                  <p:childTnLst>
                                    <p:animEffect transition="out" filter="fade">
                                      <p:cBhvr>
                                        <p:cTn id="305" dur="500"/>
                                        <p:tgtEl>
                                          <p:spTgt spid="2"/>
                                        </p:tgtEl>
                                      </p:cBhvr>
                                    </p:animEffect>
                                    <p:set>
                                      <p:cBhvr>
                                        <p:cTn id="306" dur="1" fill="hold">
                                          <p:stCondLst>
                                            <p:cond delay="499"/>
                                          </p:stCondLst>
                                        </p:cTn>
                                        <p:tgtEl>
                                          <p:spTgt spid="2"/>
                                        </p:tgtEl>
                                        <p:attrNameLst>
                                          <p:attrName>style.visibility</p:attrName>
                                        </p:attrNameLst>
                                      </p:cBhvr>
                                      <p:to>
                                        <p:strVal val="hidden"/>
                                      </p:to>
                                    </p:set>
                                  </p:childTnLst>
                                </p:cTn>
                              </p:par>
                              <p:par>
                                <p:cTn id="307" presetID="10" presetClass="exit" presetSubtype="0" fill="hold" nodeType="withEffect">
                                  <p:stCondLst>
                                    <p:cond delay="0"/>
                                  </p:stCondLst>
                                  <p:childTnLst>
                                    <p:animEffect transition="out" filter="fade">
                                      <p:cBhvr>
                                        <p:cTn id="308" dur="500"/>
                                        <p:tgtEl>
                                          <p:spTgt spid="16"/>
                                        </p:tgtEl>
                                      </p:cBhvr>
                                    </p:animEffect>
                                    <p:set>
                                      <p:cBhvr>
                                        <p:cTn id="309" dur="1" fill="hold">
                                          <p:stCondLst>
                                            <p:cond delay="499"/>
                                          </p:stCondLst>
                                        </p:cTn>
                                        <p:tgtEl>
                                          <p:spTgt spid="16"/>
                                        </p:tgtEl>
                                        <p:attrNameLst>
                                          <p:attrName>style.visibility</p:attrName>
                                        </p:attrNameLst>
                                      </p:cBhvr>
                                      <p:to>
                                        <p:strVal val="hidden"/>
                                      </p:to>
                                    </p:set>
                                  </p:childTnLst>
                                </p:cTn>
                              </p:par>
                              <p:par>
                                <p:cTn id="310" presetID="10" presetClass="exit" presetSubtype="0" fill="hold" nodeType="withEffect">
                                  <p:stCondLst>
                                    <p:cond delay="0"/>
                                  </p:stCondLst>
                                  <p:childTnLst>
                                    <p:animEffect transition="out" filter="fade">
                                      <p:cBhvr>
                                        <p:cTn id="311" dur="500"/>
                                        <p:tgtEl>
                                          <p:spTgt spid="15"/>
                                        </p:tgtEl>
                                      </p:cBhvr>
                                    </p:animEffect>
                                    <p:set>
                                      <p:cBhvr>
                                        <p:cTn id="312" dur="1" fill="hold">
                                          <p:stCondLst>
                                            <p:cond delay="499"/>
                                          </p:stCondLst>
                                        </p:cTn>
                                        <p:tgtEl>
                                          <p:spTgt spid="15"/>
                                        </p:tgtEl>
                                        <p:attrNameLst>
                                          <p:attrName>style.visibility</p:attrName>
                                        </p:attrNameLst>
                                      </p:cBhvr>
                                      <p:to>
                                        <p:strVal val="hidden"/>
                                      </p:to>
                                    </p:set>
                                  </p:childTnLst>
                                </p:cTn>
                              </p:par>
                              <p:par>
                                <p:cTn id="313" presetID="10" presetClass="exit" presetSubtype="0" fill="hold" nodeType="withEffect">
                                  <p:stCondLst>
                                    <p:cond delay="0"/>
                                  </p:stCondLst>
                                  <p:childTnLst>
                                    <p:animEffect transition="out" filter="fade">
                                      <p:cBhvr>
                                        <p:cTn id="314" dur="500"/>
                                        <p:tgtEl>
                                          <p:spTgt spid="18"/>
                                        </p:tgtEl>
                                      </p:cBhvr>
                                    </p:animEffect>
                                    <p:set>
                                      <p:cBhvr>
                                        <p:cTn id="315" dur="1" fill="hold">
                                          <p:stCondLst>
                                            <p:cond delay="499"/>
                                          </p:stCondLst>
                                        </p:cTn>
                                        <p:tgtEl>
                                          <p:spTgt spid="18"/>
                                        </p:tgtEl>
                                        <p:attrNameLst>
                                          <p:attrName>style.visibility</p:attrName>
                                        </p:attrNameLst>
                                      </p:cBhvr>
                                      <p:to>
                                        <p:strVal val="hidden"/>
                                      </p:to>
                                    </p:set>
                                  </p:childTnLst>
                                </p:cTn>
                              </p:par>
                              <p:par>
                                <p:cTn id="316" presetID="10" presetClass="exit" presetSubtype="0" fill="hold" nodeType="withEffect">
                                  <p:stCondLst>
                                    <p:cond delay="0"/>
                                  </p:stCondLst>
                                  <p:childTnLst>
                                    <p:animEffect transition="out" filter="fade">
                                      <p:cBhvr>
                                        <p:cTn id="317" dur="500"/>
                                        <p:tgtEl>
                                          <p:spTgt spid="20"/>
                                        </p:tgtEl>
                                      </p:cBhvr>
                                    </p:animEffect>
                                    <p:set>
                                      <p:cBhvr>
                                        <p:cTn id="318" dur="1" fill="hold">
                                          <p:stCondLst>
                                            <p:cond delay="499"/>
                                          </p:stCondLst>
                                        </p:cTn>
                                        <p:tgtEl>
                                          <p:spTgt spid="20"/>
                                        </p:tgtEl>
                                        <p:attrNameLst>
                                          <p:attrName>style.visibility</p:attrName>
                                        </p:attrNameLst>
                                      </p:cBhvr>
                                      <p:to>
                                        <p:strVal val="hidden"/>
                                      </p:to>
                                    </p:set>
                                  </p:childTnLst>
                                </p:cTn>
                              </p:par>
                              <p:par>
                                <p:cTn id="319" presetID="10" presetClass="exit" presetSubtype="0" fill="hold" nodeType="withEffect">
                                  <p:stCondLst>
                                    <p:cond delay="0"/>
                                  </p:stCondLst>
                                  <p:childTnLst>
                                    <p:animEffect transition="out" filter="fade">
                                      <p:cBhvr>
                                        <p:cTn id="320" dur="500"/>
                                        <p:tgtEl>
                                          <p:spTgt spid="17"/>
                                        </p:tgtEl>
                                      </p:cBhvr>
                                    </p:animEffect>
                                    <p:set>
                                      <p:cBhvr>
                                        <p:cTn id="321" dur="1" fill="hold">
                                          <p:stCondLst>
                                            <p:cond delay="499"/>
                                          </p:stCondLst>
                                        </p:cTn>
                                        <p:tgtEl>
                                          <p:spTgt spid="17"/>
                                        </p:tgtEl>
                                        <p:attrNameLst>
                                          <p:attrName>style.visibility</p:attrName>
                                        </p:attrNameLst>
                                      </p:cBhvr>
                                      <p:to>
                                        <p:strVal val="hidden"/>
                                      </p:to>
                                    </p:set>
                                  </p:childTnLst>
                                </p:cTn>
                              </p:par>
                              <p:par>
                                <p:cTn id="322" presetID="10" presetClass="exit" presetSubtype="0" fill="hold" nodeType="withEffect">
                                  <p:stCondLst>
                                    <p:cond delay="0"/>
                                  </p:stCondLst>
                                  <p:childTnLst>
                                    <p:animEffect transition="out" filter="fade">
                                      <p:cBhvr>
                                        <p:cTn id="323" dur="500"/>
                                        <p:tgtEl>
                                          <p:spTgt spid="21"/>
                                        </p:tgtEl>
                                      </p:cBhvr>
                                    </p:animEffect>
                                    <p:set>
                                      <p:cBhvr>
                                        <p:cTn id="324" dur="1" fill="hold">
                                          <p:stCondLst>
                                            <p:cond delay="499"/>
                                          </p:stCondLst>
                                        </p:cTn>
                                        <p:tgtEl>
                                          <p:spTgt spid="21"/>
                                        </p:tgtEl>
                                        <p:attrNameLst>
                                          <p:attrName>style.visibility</p:attrName>
                                        </p:attrNameLst>
                                      </p:cBhvr>
                                      <p:to>
                                        <p:strVal val="hidden"/>
                                      </p:to>
                                    </p:set>
                                  </p:childTnLst>
                                </p:cTn>
                              </p:par>
                              <p:par>
                                <p:cTn id="325" presetID="10" presetClass="exit" presetSubtype="0" fill="hold" nodeType="withEffect">
                                  <p:stCondLst>
                                    <p:cond delay="0"/>
                                  </p:stCondLst>
                                  <p:childTnLst>
                                    <p:animEffect transition="out" filter="fade">
                                      <p:cBhvr>
                                        <p:cTn id="326" dur="500"/>
                                        <p:tgtEl>
                                          <p:spTgt spid="19"/>
                                        </p:tgtEl>
                                      </p:cBhvr>
                                    </p:animEffect>
                                    <p:set>
                                      <p:cBhvr>
                                        <p:cTn id="327" dur="1" fill="hold">
                                          <p:stCondLst>
                                            <p:cond delay="499"/>
                                          </p:stCondLst>
                                        </p:cTn>
                                        <p:tgtEl>
                                          <p:spTgt spid="19"/>
                                        </p:tgtEl>
                                        <p:attrNameLst>
                                          <p:attrName>style.visibility</p:attrName>
                                        </p:attrNameLst>
                                      </p:cBhvr>
                                      <p:to>
                                        <p:strVal val="hidden"/>
                                      </p:to>
                                    </p:set>
                                  </p:childTnLst>
                                </p:cTn>
                              </p:par>
                              <p:par>
                                <p:cTn id="328" presetID="10" presetClass="exit" presetSubtype="0" fill="hold" nodeType="withEffect">
                                  <p:stCondLst>
                                    <p:cond delay="0"/>
                                  </p:stCondLst>
                                  <p:childTnLst>
                                    <p:animEffect transition="out" filter="fade">
                                      <p:cBhvr>
                                        <p:cTn id="329" dur="500"/>
                                        <p:tgtEl>
                                          <p:spTgt spid="4"/>
                                        </p:tgtEl>
                                      </p:cBhvr>
                                    </p:animEffect>
                                    <p:set>
                                      <p:cBhvr>
                                        <p:cTn id="330" dur="1" fill="hold">
                                          <p:stCondLst>
                                            <p:cond delay="499"/>
                                          </p:stCondLst>
                                        </p:cTn>
                                        <p:tgtEl>
                                          <p:spTgt spid="4"/>
                                        </p:tgtEl>
                                        <p:attrNameLst>
                                          <p:attrName>style.visibility</p:attrName>
                                        </p:attrNameLst>
                                      </p:cBhvr>
                                      <p:to>
                                        <p:strVal val="hidden"/>
                                      </p:to>
                                    </p:set>
                                  </p:childTnLst>
                                </p:cTn>
                              </p:par>
                              <p:par>
                                <p:cTn id="331" presetID="10" presetClass="exit" presetSubtype="0" fill="hold" nodeType="withEffect">
                                  <p:stCondLst>
                                    <p:cond delay="0"/>
                                  </p:stCondLst>
                                  <p:childTnLst>
                                    <p:animEffect transition="out" filter="fade">
                                      <p:cBhvr>
                                        <p:cTn id="332" dur="500"/>
                                        <p:tgtEl>
                                          <p:spTgt spid="6"/>
                                        </p:tgtEl>
                                      </p:cBhvr>
                                    </p:animEffect>
                                    <p:set>
                                      <p:cBhvr>
                                        <p:cTn id="333"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1"/>
                  </p:tgtEl>
                </p:cond>
              </p:nextCondLst>
            </p:seq>
            <p:audio>
              <p:cMediaNode vol="80000">
                <p:cTn id="334" fill="hold" display="0">
                  <p:stCondLst>
                    <p:cond delay="indefinite"/>
                  </p:stCondLst>
                  <p:endCondLst>
                    <p:cond evt="onStopAudio" delay="0">
                      <p:tgtEl>
                        <p:sldTgt/>
                      </p:tgtEl>
                    </p:cond>
                  </p:endCondLst>
                </p:cTn>
                <p:tgtEl>
                  <p:spTgt spid="7"/>
                </p:tgtEl>
              </p:cMediaNode>
            </p:audio>
            <p:audio>
              <p:cMediaNode vol="80000">
                <p:cTn id="335" fill="hold" display="0">
                  <p:stCondLst>
                    <p:cond delay="indefinite"/>
                  </p:stCondLst>
                  <p:endCondLst>
                    <p:cond evt="onStopAudio" delay="0">
                      <p:tgtEl>
                        <p:sldTgt/>
                      </p:tgtEl>
                    </p:cond>
                  </p:endCondLst>
                </p:cTn>
                <p:tgtEl>
                  <p:spTgt spid="22"/>
                </p:tgtEl>
              </p:cMediaNode>
            </p:audio>
            <p:seq concurrent="1" nextAc="seek">
              <p:cTn id="336" restart="whenNotActive" fill="hold" evtFilter="cancelBubble" nodeType="interactiveSeq">
                <p:stCondLst>
                  <p:cond evt="onClick" delay="0">
                    <p:tgtEl>
                      <p:spTgt spid="43"/>
                    </p:tgtEl>
                  </p:cond>
                </p:stCondLst>
                <p:endSync evt="end" delay="0">
                  <p:rtn val="all"/>
                </p:endSync>
                <p:childTnLst>
                  <p:par>
                    <p:cTn id="337" fill="hold">
                      <p:stCondLst>
                        <p:cond delay="0"/>
                      </p:stCondLst>
                      <p:childTnLst>
                        <p:par>
                          <p:cTn id="338" fill="hold">
                            <p:stCondLst>
                              <p:cond delay="0"/>
                            </p:stCondLst>
                            <p:childTnLst>
                              <p:par>
                                <p:cTn id="339" presetID="26" presetClass="emph" presetSubtype="0" fill="hold" nodeType="clickEffect">
                                  <p:stCondLst>
                                    <p:cond delay="0"/>
                                  </p:stCondLst>
                                  <p:childTnLst>
                                    <p:animEffect transition="out" filter="fade">
                                      <p:cBhvr>
                                        <p:cTn id="340" dur="500" tmFilter="0, 0; .2, .5; .8, .5; 1, 0"/>
                                        <p:tgtEl>
                                          <p:spTgt spid="43"/>
                                        </p:tgtEl>
                                      </p:cBhvr>
                                    </p:animEffect>
                                    <p:animScale>
                                      <p:cBhvr>
                                        <p:cTn id="341" dur="250" autoRev="1" fill="hold"/>
                                        <p:tgtEl>
                                          <p:spTgt spid="43"/>
                                        </p:tgtEl>
                                      </p:cBhvr>
                                      <p:by x="105000" y="105000"/>
                                    </p:animScale>
                                  </p:childTnLst>
                                  <p:subTnLst>
                                    <p:audio>
                                      <p:cMediaNode>
                                        <p:cTn display="0" masterRel="sameClick">
                                          <p:stCondLst>
                                            <p:cond evt="begin" delay="0">
                                              <p:tn val="339"/>
                                            </p:cond>
                                          </p:stCondLst>
                                          <p:endCondLst>
                                            <p:cond evt="onStopAudio" delay="0">
                                              <p:tgtEl>
                                                <p:sldTgt/>
                                              </p:tgtEl>
                                            </p:cond>
                                          </p:endCondLst>
                                        </p:cTn>
                                        <p:tgtEl>
                                          <p:sndTgt r:embed="rId7" name="click.wav"/>
                                        </p:tgtEl>
                                      </p:cMediaNode>
                                    </p:audio>
                                  </p:subTnLst>
                                </p:cTn>
                              </p:par>
                            </p:childTnLst>
                          </p:cTn>
                        </p:par>
                      </p:childTnLst>
                    </p:cTn>
                  </p:par>
                </p:childTnLst>
              </p:cTn>
              <p:nextCondLst>
                <p:cond evt="onClick" delay="0">
                  <p:tgtEl>
                    <p:spTgt spid="43"/>
                  </p:tgtEl>
                </p:cond>
              </p:nextCondLst>
            </p:seq>
            <p:seq concurrent="1" nextAc="seek">
              <p:cTn id="342" restart="whenNotActive" fill="hold" evtFilter="cancelBubble" nodeType="interactiveSeq">
                <p:stCondLst>
                  <p:cond evt="onClick" delay="0">
                    <p:tgtEl>
                      <p:spTgt spid="25"/>
                    </p:tgtEl>
                  </p:cond>
                </p:stCondLst>
                <p:endSync evt="end" delay="0">
                  <p:rtn val="all"/>
                </p:endSync>
                <p:childTnLst>
                  <p:par>
                    <p:cTn id="343" fill="hold">
                      <p:stCondLst>
                        <p:cond delay="0"/>
                      </p:stCondLst>
                      <p:childTnLst>
                        <p:par>
                          <p:cTn id="344" fill="hold">
                            <p:stCondLst>
                              <p:cond delay="0"/>
                            </p:stCondLst>
                            <p:childTnLst>
                              <p:par>
                                <p:cTn id="345" presetID="26" presetClass="emph" presetSubtype="0" fill="hold" nodeType="clickEffect">
                                  <p:stCondLst>
                                    <p:cond delay="0"/>
                                  </p:stCondLst>
                                  <p:childTnLst>
                                    <p:animEffect transition="out" filter="fade">
                                      <p:cBhvr>
                                        <p:cTn id="346" dur="500" tmFilter="0, 0; .2, .5; .8, .5; 1, 0"/>
                                        <p:tgtEl>
                                          <p:spTgt spid="25"/>
                                        </p:tgtEl>
                                      </p:cBhvr>
                                    </p:animEffect>
                                    <p:animScale>
                                      <p:cBhvr>
                                        <p:cTn id="347" dur="250" autoRev="1" fill="hold"/>
                                        <p:tgtEl>
                                          <p:spTgt spid="25"/>
                                        </p:tgtEl>
                                      </p:cBhvr>
                                      <p:by x="105000" y="105000"/>
                                    </p:animScale>
                                  </p:childTnLst>
                                  <p:subTnLst>
                                    <p:audio>
                                      <p:cMediaNode>
                                        <p:cTn display="0" masterRel="sameClick">
                                          <p:stCondLst>
                                            <p:cond evt="begin" delay="0">
                                              <p:tn val="345"/>
                                            </p:cond>
                                          </p:stCondLst>
                                          <p:endCondLst>
                                            <p:cond evt="onStopAudio" delay="0">
                                              <p:tgtEl>
                                                <p:sldTgt/>
                                              </p:tgtEl>
                                            </p:cond>
                                          </p:endCondLst>
                                        </p:cTn>
                                        <p:tgtEl>
                                          <p:sndTgt r:embed="rId7" name="click.wav"/>
                                        </p:tgtEl>
                                      </p:cMediaNode>
                                    </p:audio>
                                  </p:subTnLst>
                                </p:cTn>
                              </p:par>
                            </p:childTnLst>
                          </p:cTn>
                        </p:par>
                      </p:childTnLst>
                    </p:cTn>
                  </p:par>
                </p:childTnLst>
              </p:cTn>
              <p:nextCondLst>
                <p:cond evt="onClick" delay="0">
                  <p:tgtEl>
                    <p:spTgt spid="25"/>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5CA96DE-78A4-4D71-9018-4AC46FF435DE}"/>
              </a:ext>
            </a:extLst>
          </p:cNvPr>
          <p:cNvPicPr>
            <a:picLocks noChangeAspect="1"/>
          </p:cNvPicPr>
          <p:nvPr/>
        </p:nvPicPr>
        <p:blipFill>
          <a:blip r:embed="rId7"/>
          <a:stretch>
            <a:fillRect/>
          </a:stretch>
        </p:blipFill>
        <p:spPr>
          <a:xfrm>
            <a:off x="-7503" y="-1393287"/>
            <a:ext cx="9151502" cy="6536787"/>
          </a:xfrm>
          <a:prstGeom prst="rect">
            <a:avLst/>
          </a:prstGeom>
        </p:spPr>
      </p:pic>
      <p:pic>
        <p:nvPicPr>
          <p:cNvPr id="33" name="Picture 32">
            <a:extLst>
              <a:ext uri="{FF2B5EF4-FFF2-40B4-BE49-F238E27FC236}">
                <a16:creationId xmlns:a16="http://schemas.microsoft.com/office/drawing/2014/main" id="{734ECCA8-0C93-4070-BC07-21CD5B1A208E}"/>
              </a:ext>
            </a:extLst>
          </p:cNvPr>
          <p:cNvPicPr>
            <a:picLocks noChangeAspect="1"/>
          </p:cNvPicPr>
          <p:nvPr/>
        </p:nvPicPr>
        <p:blipFill>
          <a:blip r:embed="rId8"/>
          <a:stretch>
            <a:fillRect/>
          </a:stretch>
        </p:blipFill>
        <p:spPr>
          <a:xfrm>
            <a:off x="0" y="-1387928"/>
            <a:ext cx="9144000" cy="6531428"/>
          </a:xfrm>
          <a:prstGeom prst="rect">
            <a:avLst/>
          </a:prstGeom>
        </p:spPr>
      </p:pic>
      <p:pic>
        <p:nvPicPr>
          <p:cNvPr id="4" name="Picture 3">
            <a:extLst>
              <a:ext uri="{FF2B5EF4-FFF2-40B4-BE49-F238E27FC236}">
                <a16:creationId xmlns:a16="http://schemas.microsoft.com/office/drawing/2014/main" id="{BDC1A603-354F-435D-AEB7-58626DEC55F5}"/>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502" y="-1393849"/>
            <a:ext cx="9151502" cy="6535951"/>
          </a:xfrm>
          <a:prstGeom prst="rect">
            <a:avLst/>
          </a:prstGeom>
        </p:spPr>
      </p:pic>
      <p:pic>
        <p:nvPicPr>
          <p:cNvPr id="21" name="Picture 20">
            <a:extLst>
              <a:ext uri="{FF2B5EF4-FFF2-40B4-BE49-F238E27FC236}">
                <a16:creationId xmlns:a16="http://schemas.microsoft.com/office/drawing/2014/main" id="{101CE774-744F-4C7A-9955-F73491C34842}"/>
              </a:ext>
            </a:extLst>
          </p:cNvPr>
          <p:cNvPicPr>
            <a:picLocks noChangeAspect="1"/>
          </p:cNvPicPr>
          <p:nvPr/>
        </p:nvPicPr>
        <p:blipFill>
          <a:blip r:embed="rId10"/>
          <a:stretch>
            <a:fillRect/>
          </a:stretch>
        </p:blipFill>
        <p:spPr>
          <a:xfrm>
            <a:off x="4623315" y="3911985"/>
            <a:ext cx="1010500" cy="727011"/>
          </a:xfrm>
          <a:prstGeom prst="rect">
            <a:avLst/>
          </a:prstGeom>
        </p:spPr>
      </p:pic>
      <p:pic>
        <p:nvPicPr>
          <p:cNvPr id="20" name="Picture 19">
            <a:extLst>
              <a:ext uri="{FF2B5EF4-FFF2-40B4-BE49-F238E27FC236}">
                <a16:creationId xmlns:a16="http://schemas.microsoft.com/office/drawing/2014/main" id="{DB788A32-C95B-4003-9294-ED973E5BF647}"/>
              </a:ext>
            </a:extLst>
          </p:cNvPr>
          <p:cNvPicPr>
            <a:picLocks noChangeAspect="1"/>
          </p:cNvPicPr>
          <p:nvPr/>
        </p:nvPicPr>
        <p:blipFill>
          <a:blip r:embed="rId11"/>
          <a:stretch>
            <a:fillRect/>
          </a:stretch>
        </p:blipFill>
        <p:spPr>
          <a:xfrm>
            <a:off x="3404328" y="3914272"/>
            <a:ext cx="1010500" cy="722438"/>
          </a:xfrm>
          <a:prstGeom prst="rect">
            <a:avLst/>
          </a:prstGeom>
        </p:spPr>
      </p:pic>
      <p:pic>
        <p:nvPicPr>
          <p:cNvPr id="15" name="Picture 14">
            <a:extLst>
              <a:ext uri="{FF2B5EF4-FFF2-40B4-BE49-F238E27FC236}">
                <a16:creationId xmlns:a16="http://schemas.microsoft.com/office/drawing/2014/main" id="{C9D7EF65-CD86-4DEA-82CE-78B4750B4F6D}"/>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3405732" y="2279446"/>
            <a:ext cx="1007692" cy="727011"/>
          </a:xfrm>
          <a:prstGeom prst="rect">
            <a:avLst/>
          </a:prstGeom>
        </p:spPr>
      </p:pic>
      <p:pic>
        <p:nvPicPr>
          <p:cNvPr id="2" name="Picture 1">
            <a:extLst>
              <a:ext uri="{FF2B5EF4-FFF2-40B4-BE49-F238E27FC236}">
                <a16:creationId xmlns:a16="http://schemas.microsoft.com/office/drawing/2014/main" id="{CD62D86A-FAC6-4AAB-B7AD-13AF6333299A}"/>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4637155" y="2279446"/>
            <a:ext cx="1001354" cy="727011"/>
          </a:xfrm>
          <a:prstGeom prst="rect">
            <a:avLst/>
          </a:prstGeom>
        </p:spPr>
      </p:pic>
      <p:cxnSp>
        <p:nvCxnSpPr>
          <p:cNvPr id="6" name="Straight Connector 5">
            <a:extLst>
              <a:ext uri="{FF2B5EF4-FFF2-40B4-BE49-F238E27FC236}">
                <a16:creationId xmlns:a16="http://schemas.microsoft.com/office/drawing/2014/main" id="{3EF2F97A-9E2C-4C1B-9BA8-A29231423BAA}"/>
              </a:ext>
            </a:extLst>
          </p:cNvPr>
          <p:cNvCxnSpPr>
            <a:cxnSpLocks/>
          </p:cNvCxnSpPr>
          <p:nvPr/>
        </p:nvCxnSpPr>
        <p:spPr>
          <a:xfrm>
            <a:off x="0" y="0"/>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DBC6A1B7-E8F3-46D7-A22A-84F8AB3A969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081637" y="2814360"/>
            <a:ext cx="877141" cy="1097626"/>
          </a:xfrm>
          <a:prstGeom prst="rect">
            <a:avLst/>
          </a:prstGeom>
        </p:spPr>
      </p:pic>
      <p:grpSp>
        <p:nvGrpSpPr>
          <p:cNvPr id="16" name="Group 15">
            <a:extLst>
              <a:ext uri="{FF2B5EF4-FFF2-40B4-BE49-F238E27FC236}">
                <a16:creationId xmlns:a16="http://schemas.microsoft.com/office/drawing/2014/main" id="{2125B487-0096-4B93-AE2A-35F664CA4945}"/>
              </a:ext>
            </a:extLst>
          </p:cNvPr>
          <p:cNvGrpSpPr/>
          <p:nvPr/>
        </p:nvGrpSpPr>
        <p:grpSpPr>
          <a:xfrm>
            <a:off x="5531751" y="1841981"/>
            <a:ext cx="3297456" cy="1403313"/>
            <a:chOff x="418429" y="2465042"/>
            <a:chExt cx="4396608" cy="1871084"/>
          </a:xfrm>
        </p:grpSpPr>
        <p:sp>
          <p:nvSpPr>
            <p:cNvPr id="26" name="Freeform: Shape 25">
              <a:extLst>
                <a:ext uri="{FF2B5EF4-FFF2-40B4-BE49-F238E27FC236}">
                  <a16:creationId xmlns:a16="http://schemas.microsoft.com/office/drawing/2014/main" id="{DE107CBF-D45A-4821-9AF9-91E811B920BF}"/>
                </a:ext>
              </a:extLst>
            </p:cNvPr>
            <p:cNvSpPr/>
            <p:nvPr/>
          </p:nvSpPr>
          <p:spPr>
            <a:xfrm>
              <a:off x="418429" y="2465042"/>
              <a:ext cx="4396608"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dirty="0"/>
            </a:p>
          </p:txBody>
        </p:sp>
        <p:sp>
          <p:nvSpPr>
            <p:cNvPr id="11" name="Rectangle: Rounded Corners 10">
              <a:extLst>
                <a:ext uri="{FF2B5EF4-FFF2-40B4-BE49-F238E27FC236}">
                  <a16:creationId xmlns:a16="http://schemas.microsoft.com/office/drawing/2014/main" id="{2D476256-F649-440E-8CB6-34553EE46959}"/>
                </a:ext>
              </a:extLst>
            </p:cNvPr>
            <p:cNvSpPr/>
            <p:nvPr/>
          </p:nvSpPr>
          <p:spPr>
            <a:xfrm>
              <a:off x="765958" y="2492017"/>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Bảng</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Table)</a:t>
              </a:r>
            </a:p>
          </p:txBody>
        </p:sp>
      </p:grpSp>
      <p:grpSp>
        <p:nvGrpSpPr>
          <p:cNvPr id="17" name="Group 16">
            <a:extLst>
              <a:ext uri="{FF2B5EF4-FFF2-40B4-BE49-F238E27FC236}">
                <a16:creationId xmlns:a16="http://schemas.microsoft.com/office/drawing/2014/main" id="{3F6095D1-5BDA-4028-80BF-CF720429106A}"/>
              </a:ext>
            </a:extLst>
          </p:cNvPr>
          <p:cNvGrpSpPr/>
          <p:nvPr/>
        </p:nvGrpSpPr>
        <p:grpSpPr>
          <a:xfrm>
            <a:off x="315434" y="3488704"/>
            <a:ext cx="3300980" cy="1397954"/>
            <a:chOff x="413731" y="4651605"/>
            <a:chExt cx="4401306" cy="1863939"/>
          </a:xfrm>
        </p:grpSpPr>
        <p:sp>
          <p:nvSpPr>
            <p:cNvPr id="30" name="Freeform: Shape 29">
              <a:extLst>
                <a:ext uri="{FF2B5EF4-FFF2-40B4-BE49-F238E27FC236}">
                  <a16:creationId xmlns:a16="http://schemas.microsoft.com/office/drawing/2014/main" id="{18151A68-8ABC-4A1D-8A5B-E03CCFBD3F59}"/>
                </a:ext>
              </a:extLst>
            </p:cNvPr>
            <p:cNvSpPr/>
            <p:nvPr/>
          </p:nvSpPr>
          <p:spPr>
            <a:xfrm flipH="1">
              <a:off x="428436" y="4651605"/>
              <a:ext cx="4386601"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7" name="Rectangle: Rounded Corners 36">
              <a:extLst>
                <a:ext uri="{FF2B5EF4-FFF2-40B4-BE49-F238E27FC236}">
                  <a16:creationId xmlns:a16="http://schemas.microsoft.com/office/drawing/2014/main" id="{E5506EB0-83F9-49CB-A1BA-DE0BD904E95B}"/>
                </a:ext>
              </a:extLst>
            </p:cNvPr>
            <p:cNvSpPr/>
            <p:nvPr/>
          </p:nvSpPr>
          <p:spPr>
            <a:xfrm>
              <a:off x="413731" y="4651957"/>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àng</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record)</a:t>
              </a:r>
            </a:p>
          </p:txBody>
        </p:sp>
      </p:grpSp>
      <p:grpSp>
        <p:nvGrpSpPr>
          <p:cNvPr id="18" name="Group 17">
            <a:extLst>
              <a:ext uri="{FF2B5EF4-FFF2-40B4-BE49-F238E27FC236}">
                <a16:creationId xmlns:a16="http://schemas.microsoft.com/office/drawing/2014/main" id="{3B4C7E7A-5F81-463B-9FDA-5F8A47FCDC1D}"/>
              </a:ext>
            </a:extLst>
          </p:cNvPr>
          <p:cNvGrpSpPr/>
          <p:nvPr/>
        </p:nvGrpSpPr>
        <p:grpSpPr>
          <a:xfrm>
            <a:off x="312033" y="1844494"/>
            <a:ext cx="3307782" cy="1398290"/>
            <a:chOff x="7363195" y="2465042"/>
            <a:chExt cx="4410376" cy="1864387"/>
          </a:xfrm>
        </p:grpSpPr>
        <p:sp>
          <p:nvSpPr>
            <p:cNvPr id="58" name="Freeform: Shape 57">
              <a:extLst>
                <a:ext uri="{FF2B5EF4-FFF2-40B4-BE49-F238E27FC236}">
                  <a16:creationId xmlns:a16="http://schemas.microsoft.com/office/drawing/2014/main" id="{F2A6F710-A8CF-4338-BF74-99DD36D700F5}"/>
                </a:ext>
              </a:extLst>
            </p:cNvPr>
            <p:cNvSpPr/>
            <p:nvPr/>
          </p:nvSpPr>
          <p:spPr>
            <a:xfrm flipH="1">
              <a:off x="7376963" y="2465042"/>
              <a:ext cx="4396608"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dirty="0"/>
            </a:p>
          </p:txBody>
        </p:sp>
        <p:sp>
          <p:nvSpPr>
            <p:cNvPr id="38" name="Rectangle: Rounded Corners 37">
              <a:extLst>
                <a:ext uri="{FF2B5EF4-FFF2-40B4-BE49-F238E27FC236}">
                  <a16:creationId xmlns:a16="http://schemas.microsoft.com/office/drawing/2014/main" id="{556501E9-9FDB-43AC-A584-2F09815162C2}"/>
                </a:ext>
              </a:extLst>
            </p:cNvPr>
            <p:cNvSpPr/>
            <p:nvPr/>
          </p:nvSpPr>
          <p:spPr>
            <a:xfrm>
              <a:off x="7363195" y="2485320"/>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Cột</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Field)</a:t>
              </a:r>
            </a:p>
          </p:txBody>
        </p:sp>
      </p:grpSp>
      <p:grpSp>
        <p:nvGrpSpPr>
          <p:cNvPr id="19" name="Group 18">
            <a:extLst>
              <a:ext uri="{FF2B5EF4-FFF2-40B4-BE49-F238E27FC236}">
                <a16:creationId xmlns:a16="http://schemas.microsoft.com/office/drawing/2014/main" id="{F1EA9857-F9FD-46FE-98C0-E0E88372E3CE}"/>
              </a:ext>
            </a:extLst>
          </p:cNvPr>
          <p:cNvGrpSpPr/>
          <p:nvPr/>
        </p:nvGrpSpPr>
        <p:grpSpPr>
          <a:xfrm>
            <a:off x="5529081" y="3488704"/>
            <a:ext cx="3302796" cy="1397954"/>
            <a:chOff x="7386970" y="4651605"/>
            <a:chExt cx="4403728" cy="1863939"/>
          </a:xfrm>
        </p:grpSpPr>
        <p:sp>
          <p:nvSpPr>
            <p:cNvPr id="59" name="Freeform: Shape 58">
              <a:extLst>
                <a:ext uri="{FF2B5EF4-FFF2-40B4-BE49-F238E27FC236}">
                  <a16:creationId xmlns:a16="http://schemas.microsoft.com/office/drawing/2014/main" id="{D460C3EE-DC44-4D12-870D-2DE09B68AF9B}"/>
                </a:ext>
              </a:extLst>
            </p:cNvPr>
            <p:cNvSpPr/>
            <p:nvPr/>
          </p:nvSpPr>
          <p:spPr>
            <a:xfrm>
              <a:off x="7386970" y="4651605"/>
              <a:ext cx="4386601"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9" name="Rectangle: Rounded Corners 38">
              <a:extLst>
                <a:ext uri="{FF2B5EF4-FFF2-40B4-BE49-F238E27FC236}">
                  <a16:creationId xmlns:a16="http://schemas.microsoft.com/office/drawing/2014/main" id="{007442A2-F9C5-43FF-810D-EFCA0A5691BC}"/>
                </a:ext>
              </a:extLst>
            </p:cNvPr>
            <p:cNvSpPr/>
            <p:nvPr/>
          </p:nvSpPr>
          <p:spPr>
            <a:xfrm>
              <a:off x="7755387" y="4651791"/>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Báo</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cáo</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Report)</a:t>
              </a:r>
            </a:p>
          </p:txBody>
        </p:sp>
      </p:grpSp>
      <p:grpSp>
        <p:nvGrpSpPr>
          <p:cNvPr id="31" name="Group 30">
            <a:extLst>
              <a:ext uri="{FF2B5EF4-FFF2-40B4-BE49-F238E27FC236}">
                <a16:creationId xmlns:a16="http://schemas.microsoft.com/office/drawing/2014/main" id="{7FE0546E-6488-491E-8AA1-277B5CEB2FD6}"/>
              </a:ext>
            </a:extLst>
          </p:cNvPr>
          <p:cNvGrpSpPr/>
          <p:nvPr/>
        </p:nvGrpSpPr>
        <p:grpSpPr>
          <a:xfrm>
            <a:off x="116364" y="119285"/>
            <a:ext cx="8345605" cy="1507050"/>
            <a:chOff x="150128" y="102542"/>
            <a:chExt cx="11127474" cy="2009400"/>
          </a:xfrm>
        </p:grpSpPr>
        <p:grpSp>
          <p:nvGrpSpPr>
            <p:cNvPr id="10" name="Group 9">
              <a:extLst>
                <a:ext uri="{FF2B5EF4-FFF2-40B4-BE49-F238E27FC236}">
                  <a16:creationId xmlns:a16="http://schemas.microsoft.com/office/drawing/2014/main" id="{F8E54022-CBBB-4124-B256-472085A25CC7}"/>
                </a:ext>
              </a:extLst>
            </p:cNvPr>
            <p:cNvGrpSpPr/>
            <p:nvPr/>
          </p:nvGrpSpPr>
          <p:grpSpPr>
            <a:xfrm>
              <a:off x="1107065" y="248000"/>
              <a:ext cx="10170537" cy="1863939"/>
              <a:chOff x="1107064" y="247999"/>
              <a:chExt cx="10404598" cy="1863939"/>
            </a:xfrm>
          </p:grpSpPr>
          <p:pic>
            <p:nvPicPr>
              <p:cNvPr id="3" name="Picture 2">
                <a:extLst>
                  <a:ext uri="{FF2B5EF4-FFF2-40B4-BE49-F238E27FC236}">
                    <a16:creationId xmlns:a16="http://schemas.microsoft.com/office/drawing/2014/main" id="{CBD9B5C9-CA06-4115-934D-476E7C9299B8}"/>
                  </a:ext>
                </a:extLst>
              </p:cNvPr>
              <p:cNvPicPr>
                <a:picLocks noChangeAspect="1"/>
              </p:cNvPicPr>
              <p:nvPr/>
            </p:nvPicPr>
            <p:blipFill>
              <a:blip r:embed="rId15"/>
              <a:stretch>
                <a:fillRect/>
              </a:stretch>
            </p:blipFill>
            <p:spPr>
              <a:xfrm>
                <a:off x="1107064" y="247999"/>
                <a:ext cx="10404598" cy="1863939"/>
              </a:xfrm>
              <a:prstGeom prst="rect">
                <a:avLst/>
              </a:prstGeom>
            </p:spPr>
          </p:pic>
          <p:sp>
            <p:nvSpPr>
              <p:cNvPr id="5" name="Rectangle 4">
                <a:extLst>
                  <a:ext uri="{FF2B5EF4-FFF2-40B4-BE49-F238E27FC236}">
                    <a16:creationId xmlns:a16="http://schemas.microsoft.com/office/drawing/2014/main" id="{68CCCB1E-5D6D-4B1D-94ED-906BCD4A2D0C}"/>
                  </a:ext>
                </a:extLst>
              </p:cNvPr>
              <p:cNvSpPr/>
              <p:nvPr/>
            </p:nvSpPr>
            <p:spPr>
              <a:xfrm>
                <a:off x="1527388" y="359923"/>
                <a:ext cx="9698331" cy="1620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latin typeface="iCiel Cadena" panose="02000503000000020004" pitchFamily="50" charset="0"/>
                    <a:ea typeface="Tahoma" panose="020B0604030504040204" pitchFamily="34" charset="0"/>
                    <a:cs typeface="Tahoma" panose="020B0604030504040204" pitchFamily="34" charset="0"/>
                  </a:rPr>
                  <a:t>Trong </a:t>
                </a:r>
                <a:r>
                  <a:rPr lang="en-US" sz="3000" dirty="0" err="1">
                    <a:latin typeface="iCiel Cadena" panose="02000503000000020004" pitchFamily="50" charset="0"/>
                    <a:ea typeface="Tahoma" panose="020B0604030504040204" pitchFamily="34" charset="0"/>
                    <a:cs typeface="Tahoma" panose="020B0604030504040204" pitchFamily="34" charset="0"/>
                  </a:rPr>
                  <a:t>mô</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hình</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quan</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hệ</a:t>
                </a:r>
                <a:r>
                  <a:rPr lang="en-US" sz="3000" dirty="0">
                    <a:latin typeface="iCiel Cadena" panose="02000503000000020004" pitchFamily="50" charset="0"/>
                    <a:ea typeface="Tahoma" panose="020B0604030504040204" pitchFamily="34" charset="0"/>
                    <a:cs typeface="Tahoma" panose="020B0604030504040204" pitchFamily="34" charset="0"/>
                  </a:rPr>
                  <a:t> , </a:t>
                </a:r>
                <a:r>
                  <a:rPr lang="en-US" sz="3000" dirty="0" err="1">
                    <a:latin typeface="iCiel Cadena" panose="02000503000000020004" pitchFamily="50" charset="0"/>
                    <a:ea typeface="Tahoma" panose="020B0604030504040204" pitchFamily="34" charset="0"/>
                    <a:cs typeface="Tahoma" panose="020B0604030504040204" pitchFamily="34" charset="0"/>
                  </a:rPr>
                  <a:t>về</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mặt</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cấu</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trúc</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thì</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dữ</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liệu</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được</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thể</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hiện</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trong</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các</a:t>
                </a:r>
                <a:r>
                  <a:rPr lang="en-US" sz="3000" dirty="0">
                    <a:latin typeface="iCiel Cadena" panose="02000503000000020004" pitchFamily="50" charset="0"/>
                    <a:ea typeface="Tahoma" panose="020B0604030504040204" pitchFamily="34" charset="0"/>
                    <a:cs typeface="Tahoma" panose="020B0604030504040204" pitchFamily="34" charset="0"/>
                  </a:rPr>
                  <a:t>:</a:t>
                </a:r>
              </a:p>
            </p:txBody>
          </p:sp>
        </p:grpSp>
        <p:pic>
          <p:nvPicPr>
            <p:cNvPr id="9" name="Picture 8">
              <a:extLst>
                <a:ext uri="{FF2B5EF4-FFF2-40B4-BE49-F238E27FC236}">
                  <a16:creationId xmlns:a16="http://schemas.microsoft.com/office/drawing/2014/main" id="{BA90CF18-B31B-4FFE-AF8E-D970FEA1326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rot="16200000">
              <a:off x="-165942" y="418612"/>
              <a:ext cx="2009400" cy="1377259"/>
            </a:xfrm>
            <a:prstGeom prst="rect">
              <a:avLst/>
            </a:prstGeom>
          </p:spPr>
        </p:pic>
        <p:sp>
          <p:nvSpPr>
            <p:cNvPr id="29" name="TextBox 28">
              <a:extLst>
                <a:ext uri="{FF2B5EF4-FFF2-40B4-BE49-F238E27FC236}">
                  <a16:creationId xmlns:a16="http://schemas.microsoft.com/office/drawing/2014/main" id="{784446D1-0083-4268-9941-8C7553FD46F9}"/>
                </a:ext>
              </a:extLst>
            </p:cNvPr>
            <p:cNvSpPr txBox="1"/>
            <p:nvPr/>
          </p:nvSpPr>
          <p:spPr>
            <a:xfrm>
              <a:off x="506731" y="702825"/>
              <a:ext cx="909211" cy="769441"/>
            </a:xfrm>
            <a:prstGeom prst="rect">
              <a:avLst/>
            </a:prstGeom>
            <a:noFill/>
          </p:spPr>
          <p:txBody>
            <a:bodyPr wrap="square" rtlCol="0" anchor="ctr">
              <a:spAutoFit/>
            </a:bodyPr>
            <a:lstStyle/>
            <a:p>
              <a:pPr algn="ctr"/>
              <a:r>
                <a:rPr lang="en-US" sz="3150" dirty="0">
                  <a:solidFill>
                    <a:schemeClr val="bg1"/>
                  </a:solidFill>
                  <a:latin typeface="iCiel Cadena" panose="02000503000000020004" pitchFamily="50" charset="0"/>
                </a:rPr>
                <a:t>02</a:t>
              </a:r>
            </a:p>
          </p:txBody>
        </p:sp>
      </p:grpSp>
      <p:pic>
        <p:nvPicPr>
          <p:cNvPr id="68" name="Picture 67">
            <a:extLst>
              <a:ext uri="{FF2B5EF4-FFF2-40B4-BE49-F238E27FC236}">
                <a16:creationId xmlns:a16="http://schemas.microsoft.com/office/drawing/2014/main" id="{F8ECF37D-87DA-4037-9AD8-19A7885886B6}"/>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235441" y="317603"/>
            <a:ext cx="996114" cy="996114"/>
          </a:xfrm>
          <a:prstGeom prst="rect">
            <a:avLst/>
          </a:prstGeom>
        </p:spPr>
      </p:pic>
      <p:pic>
        <p:nvPicPr>
          <p:cNvPr id="14" name="Picture 13">
            <a:extLst>
              <a:ext uri="{FF2B5EF4-FFF2-40B4-BE49-F238E27FC236}">
                <a16:creationId xmlns:a16="http://schemas.microsoft.com/office/drawing/2014/main" id="{ECFDE3CD-C082-47B5-9D9B-98E503415D3F}"/>
              </a:ext>
            </a:extLst>
          </p:cNvPr>
          <p:cNvPicPr>
            <a:picLocks noChangeAspect="1"/>
          </p:cNvPicPr>
          <p:nvPr/>
        </p:nvPicPr>
        <p:blipFill>
          <a:blip r:embed="rId18"/>
          <a:stretch>
            <a:fillRect/>
          </a:stretch>
        </p:blipFill>
        <p:spPr>
          <a:xfrm>
            <a:off x="-1245083" y="317603"/>
            <a:ext cx="996782" cy="996782"/>
          </a:xfrm>
          <a:prstGeom prst="rect">
            <a:avLst/>
          </a:prstGeom>
        </p:spPr>
      </p:pic>
      <p:pic>
        <p:nvPicPr>
          <p:cNvPr id="7" name="AmthanhThua">
            <a:hlinkClick r:id="" action="ppaction://media"/>
            <a:extLst>
              <a:ext uri="{FF2B5EF4-FFF2-40B4-BE49-F238E27FC236}">
                <a16:creationId xmlns:a16="http://schemas.microsoft.com/office/drawing/2014/main" id="{6A298B67-43A1-4AC9-AFD5-E52AFF7EC3B7}"/>
              </a:ext>
            </a:extLst>
          </p:cNvPr>
          <p:cNvPicPr>
            <a:picLocks noChangeAspect="1"/>
          </p:cNvPicPr>
          <p:nvPr>
            <a:audioFile r:link="rId2"/>
            <p:extLst>
              <p:ext uri="{DAA4B4D4-6D71-4841-9C94-3DE7FCFB9230}">
                <p14:media xmlns:p14="http://schemas.microsoft.com/office/powerpoint/2010/main" r:embed="rId1"/>
              </p:ext>
            </p:extLst>
          </p:nvPr>
        </p:nvPicPr>
        <p:blipFill>
          <a:blip r:embed="rId19"/>
          <a:stretch>
            <a:fillRect/>
          </a:stretch>
        </p:blipFill>
        <p:spPr>
          <a:xfrm>
            <a:off x="-927346" y="3305943"/>
            <a:ext cx="365522" cy="365522"/>
          </a:xfrm>
          <a:prstGeom prst="rect">
            <a:avLst/>
          </a:prstGeom>
        </p:spPr>
      </p:pic>
      <p:pic>
        <p:nvPicPr>
          <p:cNvPr id="22" name="nhacthang">
            <a:hlinkClick r:id="" action="ppaction://media"/>
            <a:extLst>
              <a:ext uri="{FF2B5EF4-FFF2-40B4-BE49-F238E27FC236}">
                <a16:creationId xmlns:a16="http://schemas.microsoft.com/office/drawing/2014/main" id="{7F4D256B-EBEA-4BF4-94EE-9E076C8DB254}"/>
              </a:ext>
            </a:extLst>
          </p:cNvPr>
          <p:cNvPicPr>
            <a:picLocks noChangeAspect="1"/>
          </p:cNvPicPr>
          <p:nvPr>
            <a:audioFile r:link="rId4"/>
            <p:extLst>
              <p:ext uri="{DAA4B4D4-6D71-4841-9C94-3DE7FCFB9230}">
                <p14:media xmlns:p14="http://schemas.microsoft.com/office/powerpoint/2010/main" r:embed="rId3"/>
              </p:ext>
            </p:extLst>
          </p:nvPr>
        </p:nvPicPr>
        <p:blipFill>
          <a:blip r:embed="rId19"/>
          <a:stretch>
            <a:fillRect/>
          </a:stretch>
        </p:blipFill>
        <p:spPr>
          <a:xfrm>
            <a:off x="-920951" y="2084348"/>
            <a:ext cx="365522" cy="365522"/>
          </a:xfrm>
          <a:prstGeom prst="rect">
            <a:avLst/>
          </a:prstGeom>
        </p:spPr>
      </p:pic>
      <p:pic>
        <p:nvPicPr>
          <p:cNvPr id="45" name="Picture 44">
            <a:hlinkClick r:id="" action="ppaction://hlinkshowjump?jump=previousslide"/>
            <a:extLst>
              <a:ext uri="{FF2B5EF4-FFF2-40B4-BE49-F238E27FC236}">
                <a16:creationId xmlns:a16="http://schemas.microsoft.com/office/drawing/2014/main" id="{D2114C23-4EA2-4CCF-B588-DC8089003ED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42511" y="973746"/>
            <a:ext cx="470917" cy="470917"/>
          </a:xfrm>
          <a:prstGeom prst="rect">
            <a:avLst/>
          </a:prstGeom>
        </p:spPr>
      </p:pic>
      <p:pic>
        <p:nvPicPr>
          <p:cNvPr id="46" name="Picture 45">
            <a:hlinkClick r:id="" action="ppaction://hlinkshowjump?jump=nextslide"/>
            <a:extLst>
              <a:ext uri="{FF2B5EF4-FFF2-40B4-BE49-F238E27FC236}">
                <a16:creationId xmlns:a16="http://schemas.microsoft.com/office/drawing/2014/main" id="{511111AB-EF03-4E46-BEE1-F19A9BB1EA2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flipH="1">
            <a:off x="8542511" y="370416"/>
            <a:ext cx="470917" cy="470917"/>
          </a:xfrm>
          <a:prstGeom prst="rect">
            <a:avLst/>
          </a:prstGeom>
        </p:spPr>
      </p:pic>
      <p:sp>
        <p:nvSpPr>
          <p:cNvPr id="8" name="TextBox 7">
            <a:extLst>
              <a:ext uri="{FF2B5EF4-FFF2-40B4-BE49-F238E27FC236}">
                <a16:creationId xmlns:a16="http://schemas.microsoft.com/office/drawing/2014/main" id="{44FBAE7B-FFBC-474D-9562-EEE690ED6027}"/>
              </a:ext>
            </a:extLst>
          </p:cNvPr>
          <p:cNvSpPr txBox="1"/>
          <p:nvPr/>
        </p:nvSpPr>
        <p:spPr>
          <a:xfrm>
            <a:off x="-1296195" y="1527748"/>
            <a:ext cx="1116011" cy="415498"/>
          </a:xfrm>
          <a:prstGeom prst="rect">
            <a:avLst/>
          </a:prstGeom>
          <a:noFill/>
        </p:spPr>
        <p:txBody>
          <a:bodyPr wrap="none" rtlCol="0">
            <a:spAutoFit/>
          </a:bodyPr>
          <a:lstStyle/>
          <a:p>
            <a:pPr algn="ctr"/>
            <a:r>
              <a:rPr lang="en-US" sz="1050" b="1" dirty="0" err="1"/>
              <a:t>Âm</a:t>
            </a:r>
            <a:r>
              <a:rPr lang="en-US" sz="1050" b="1" dirty="0"/>
              <a:t> </a:t>
            </a:r>
            <a:r>
              <a:rPr lang="en-US" sz="1050" b="1" dirty="0" err="1"/>
              <a:t>thanh</a:t>
            </a:r>
            <a:r>
              <a:rPr lang="en-US" sz="1050" b="1" dirty="0"/>
              <a:t> </a:t>
            </a:r>
          </a:p>
          <a:p>
            <a:pPr algn="ctr"/>
            <a:r>
              <a:rPr lang="en-US" sz="1050" b="1" dirty="0" err="1"/>
              <a:t>khi</a:t>
            </a:r>
            <a:r>
              <a:rPr lang="en-US" sz="1050" b="1" dirty="0"/>
              <a:t> </a:t>
            </a:r>
            <a:r>
              <a:rPr lang="en-US" sz="1050" b="1" dirty="0" err="1"/>
              <a:t>chọn</a:t>
            </a:r>
            <a:r>
              <a:rPr lang="en-US" sz="1050" b="1" dirty="0"/>
              <a:t> </a:t>
            </a:r>
            <a:r>
              <a:rPr lang="en-US" sz="1050" b="1" dirty="0" err="1"/>
              <a:t>Đúng</a:t>
            </a:r>
            <a:endParaRPr lang="en-US" sz="1050" b="1" dirty="0"/>
          </a:p>
        </p:txBody>
      </p:sp>
      <p:sp>
        <p:nvSpPr>
          <p:cNvPr id="36" name="TextBox 35">
            <a:extLst>
              <a:ext uri="{FF2B5EF4-FFF2-40B4-BE49-F238E27FC236}">
                <a16:creationId xmlns:a16="http://schemas.microsoft.com/office/drawing/2014/main" id="{096E381D-D2B1-4C19-B9E9-15E0466E4979}"/>
              </a:ext>
            </a:extLst>
          </p:cNvPr>
          <p:cNvSpPr txBox="1"/>
          <p:nvPr/>
        </p:nvSpPr>
        <p:spPr>
          <a:xfrm>
            <a:off x="-1242087" y="2646256"/>
            <a:ext cx="974947" cy="415498"/>
          </a:xfrm>
          <a:prstGeom prst="rect">
            <a:avLst/>
          </a:prstGeom>
          <a:noFill/>
        </p:spPr>
        <p:txBody>
          <a:bodyPr wrap="none" rtlCol="0">
            <a:spAutoFit/>
          </a:bodyPr>
          <a:lstStyle/>
          <a:p>
            <a:pPr algn="ctr"/>
            <a:r>
              <a:rPr lang="en-US" sz="1050" b="1" dirty="0" err="1"/>
              <a:t>Âm</a:t>
            </a:r>
            <a:r>
              <a:rPr lang="en-US" sz="1050" b="1" dirty="0"/>
              <a:t> </a:t>
            </a:r>
            <a:r>
              <a:rPr lang="en-US" sz="1050" b="1" dirty="0" err="1"/>
              <a:t>thanh</a:t>
            </a:r>
            <a:r>
              <a:rPr lang="en-US" sz="1050" b="1" dirty="0"/>
              <a:t> </a:t>
            </a:r>
          </a:p>
          <a:p>
            <a:pPr algn="ctr"/>
            <a:r>
              <a:rPr lang="en-US" sz="1050" b="1" dirty="0" err="1"/>
              <a:t>khi</a:t>
            </a:r>
            <a:r>
              <a:rPr lang="en-US" sz="1050" b="1" dirty="0"/>
              <a:t> </a:t>
            </a:r>
            <a:r>
              <a:rPr lang="en-US" sz="1050" b="1" dirty="0" err="1"/>
              <a:t>chọn</a:t>
            </a:r>
            <a:r>
              <a:rPr lang="en-US" sz="1050" b="1" dirty="0"/>
              <a:t> Sai</a:t>
            </a:r>
          </a:p>
        </p:txBody>
      </p:sp>
    </p:spTree>
    <p:extLst>
      <p:ext uri="{BB962C8B-B14F-4D97-AF65-F5344CB8AC3E}">
        <p14:creationId xmlns:p14="http://schemas.microsoft.com/office/powerpoint/2010/main" val="2019588846"/>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par>
                          <p:cTn id="13" fill="hold">
                            <p:stCondLst>
                              <p:cond delay="1000"/>
                            </p:stCondLst>
                            <p:childTnLst>
                              <p:par>
                                <p:cTn id="14" presetID="53" presetClass="entr" presetSubtype="528" fill="hold"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p:cTn id="16" dur="500" fill="hold"/>
                                        <p:tgtEl>
                                          <p:spTgt spid="15"/>
                                        </p:tgtEl>
                                        <p:attrNameLst>
                                          <p:attrName>ppt_w</p:attrName>
                                        </p:attrNameLst>
                                      </p:cBhvr>
                                      <p:tavLst>
                                        <p:tav tm="0">
                                          <p:val>
                                            <p:fltVal val="0"/>
                                          </p:val>
                                        </p:tav>
                                        <p:tav tm="100000">
                                          <p:val>
                                            <p:strVal val="#ppt_w"/>
                                          </p:val>
                                        </p:tav>
                                      </p:tavLst>
                                    </p:anim>
                                    <p:anim calcmode="lin" valueType="num">
                                      <p:cBhvr>
                                        <p:cTn id="17" dur="500" fill="hold"/>
                                        <p:tgtEl>
                                          <p:spTgt spid="15"/>
                                        </p:tgtEl>
                                        <p:attrNameLst>
                                          <p:attrName>ppt_h</p:attrName>
                                        </p:attrNameLst>
                                      </p:cBhvr>
                                      <p:tavLst>
                                        <p:tav tm="0">
                                          <p:val>
                                            <p:fltVal val="0"/>
                                          </p:val>
                                        </p:tav>
                                        <p:tav tm="100000">
                                          <p:val>
                                            <p:strVal val="#ppt_h"/>
                                          </p:val>
                                        </p:tav>
                                      </p:tavLst>
                                    </p:anim>
                                    <p:animEffect transition="in" filter="fade">
                                      <p:cBhvr>
                                        <p:cTn id="18" dur="500"/>
                                        <p:tgtEl>
                                          <p:spTgt spid="15"/>
                                        </p:tgtEl>
                                      </p:cBhvr>
                                    </p:animEffect>
                                    <p:anim calcmode="lin" valueType="num">
                                      <p:cBhvr>
                                        <p:cTn id="19" dur="500" fill="hold"/>
                                        <p:tgtEl>
                                          <p:spTgt spid="15"/>
                                        </p:tgtEl>
                                        <p:attrNameLst>
                                          <p:attrName>ppt_x</p:attrName>
                                        </p:attrNameLst>
                                      </p:cBhvr>
                                      <p:tavLst>
                                        <p:tav tm="0">
                                          <p:val>
                                            <p:fltVal val="0.5"/>
                                          </p:val>
                                        </p:tav>
                                        <p:tav tm="100000">
                                          <p:val>
                                            <p:strVal val="#ppt_x"/>
                                          </p:val>
                                        </p:tav>
                                      </p:tavLst>
                                    </p:anim>
                                    <p:anim calcmode="lin" valueType="num">
                                      <p:cBhvr>
                                        <p:cTn id="20" dur="500" fill="hold"/>
                                        <p:tgtEl>
                                          <p:spTgt spid="15"/>
                                        </p:tgtEl>
                                        <p:attrNameLst>
                                          <p:attrName>ppt_y</p:attrName>
                                        </p:attrNameLst>
                                      </p:cBhvr>
                                      <p:tavLst>
                                        <p:tav tm="0">
                                          <p:val>
                                            <p:fltVal val="0.5"/>
                                          </p:val>
                                        </p:tav>
                                        <p:tav tm="100000">
                                          <p:val>
                                            <p:strVal val="#ppt_y"/>
                                          </p:val>
                                        </p:tav>
                                      </p:tavLst>
                                    </p:anim>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000"/>
                            </p:stCondLst>
                            <p:childTnLst>
                              <p:par>
                                <p:cTn id="26" presetID="53" presetClass="entr" presetSubtype="528" fill="hold" nodeType="afterEffect">
                                  <p:stCondLst>
                                    <p:cond delay="0"/>
                                  </p:stCondLst>
                                  <p:childTnLst>
                                    <p:set>
                                      <p:cBhvr>
                                        <p:cTn id="27" dur="1" fill="hold">
                                          <p:stCondLst>
                                            <p:cond delay="0"/>
                                          </p:stCondLst>
                                        </p:cTn>
                                        <p:tgtEl>
                                          <p:spTgt spid="2"/>
                                        </p:tgtEl>
                                        <p:attrNameLst>
                                          <p:attrName>style.visibility</p:attrName>
                                        </p:attrNameLst>
                                      </p:cBhvr>
                                      <p:to>
                                        <p:strVal val="visible"/>
                                      </p:to>
                                    </p:set>
                                    <p:anim calcmode="lin" valueType="num">
                                      <p:cBhvr>
                                        <p:cTn id="28" dur="500" fill="hold"/>
                                        <p:tgtEl>
                                          <p:spTgt spid="2"/>
                                        </p:tgtEl>
                                        <p:attrNameLst>
                                          <p:attrName>ppt_w</p:attrName>
                                        </p:attrNameLst>
                                      </p:cBhvr>
                                      <p:tavLst>
                                        <p:tav tm="0">
                                          <p:val>
                                            <p:fltVal val="0"/>
                                          </p:val>
                                        </p:tav>
                                        <p:tav tm="100000">
                                          <p:val>
                                            <p:strVal val="#ppt_w"/>
                                          </p:val>
                                        </p:tav>
                                      </p:tavLst>
                                    </p:anim>
                                    <p:anim calcmode="lin" valueType="num">
                                      <p:cBhvr>
                                        <p:cTn id="29" dur="500" fill="hold"/>
                                        <p:tgtEl>
                                          <p:spTgt spid="2"/>
                                        </p:tgtEl>
                                        <p:attrNameLst>
                                          <p:attrName>ppt_h</p:attrName>
                                        </p:attrNameLst>
                                      </p:cBhvr>
                                      <p:tavLst>
                                        <p:tav tm="0">
                                          <p:val>
                                            <p:fltVal val="0"/>
                                          </p:val>
                                        </p:tav>
                                        <p:tav tm="100000">
                                          <p:val>
                                            <p:strVal val="#ppt_h"/>
                                          </p:val>
                                        </p:tav>
                                      </p:tavLst>
                                    </p:anim>
                                    <p:animEffect transition="in" filter="fade">
                                      <p:cBhvr>
                                        <p:cTn id="30" dur="500"/>
                                        <p:tgtEl>
                                          <p:spTgt spid="2"/>
                                        </p:tgtEl>
                                      </p:cBhvr>
                                    </p:animEffect>
                                    <p:anim calcmode="lin" valueType="num">
                                      <p:cBhvr>
                                        <p:cTn id="31" dur="500" fill="hold"/>
                                        <p:tgtEl>
                                          <p:spTgt spid="2"/>
                                        </p:tgtEl>
                                        <p:attrNameLst>
                                          <p:attrName>ppt_x</p:attrName>
                                        </p:attrNameLst>
                                      </p:cBhvr>
                                      <p:tavLst>
                                        <p:tav tm="0">
                                          <p:val>
                                            <p:fltVal val="0.5"/>
                                          </p:val>
                                        </p:tav>
                                        <p:tav tm="100000">
                                          <p:val>
                                            <p:strVal val="#ppt_x"/>
                                          </p:val>
                                        </p:tav>
                                      </p:tavLst>
                                    </p:anim>
                                    <p:anim calcmode="lin" valueType="num">
                                      <p:cBhvr>
                                        <p:cTn id="32" dur="500" fill="hold"/>
                                        <p:tgtEl>
                                          <p:spTgt spid="2"/>
                                        </p:tgtEl>
                                        <p:attrNameLst>
                                          <p:attrName>ppt_y</p:attrName>
                                        </p:attrNameLst>
                                      </p:cBhvr>
                                      <p:tavLst>
                                        <p:tav tm="0">
                                          <p:val>
                                            <p:fltVal val="0.5"/>
                                          </p:val>
                                        </p:tav>
                                        <p:tav tm="100000">
                                          <p:val>
                                            <p:strVal val="#ppt_y"/>
                                          </p:val>
                                        </p:tav>
                                      </p:tavLst>
                                    </p:anim>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childTnLst>
                          </p:cTn>
                        </p:par>
                        <p:par>
                          <p:cTn id="37" fill="hold">
                            <p:stCondLst>
                              <p:cond delay="3000"/>
                            </p:stCondLst>
                            <p:childTnLst>
                              <p:par>
                                <p:cTn id="38" presetID="53" presetClass="entr" presetSubtype="528" fill="hold" nodeType="afterEffect">
                                  <p:stCondLst>
                                    <p:cond delay="0"/>
                                  </p:stCondLst>
                                  <p:childTnLst>
                                    <p:set>
                                      <p:cBhvr>
                                        <p:cTn id="39" dur="1" fill="hold">
                                          <p:stCondLst>
                                            <p:cond delay="0"/>
                                          </p:stCondLst>
                                        </p:cTn>
                                        <p:tgtEl>
                                          <p:spTgt spid="20"/>
                                        </p:tgtEl>
                                        <p:attrNameLst>
                                          <p:attrName>style.visibility</p:attrName>
                                        </p:attrNameLst>
                                      </p:cBhvr>
                                      <p:to>
                                        <p:strVal val="visible"/>
                                      </p:to>
                                    </p:set>
                                    <p:anim calcmode="lin" valueType="num">
                                      <p:cBhvr>
                                        <p:cTn id="40" dur="500" fill="hold"/>
                                        <p:tgtEl>
                                          <p:spTgt spid="20"/>
                                        </p:tgtEl>
                                        <p:attrNameLst>
                                          <p:attrName>ppt_w</p:attrName>
                                        </p:attrNameLst>
                                      </p:cBhvr>
                                      <p:tavLst>
                                        <p:tav tm="0">
                                          <p:val>
                                            <p:fltVal val="0"/>
                                          </p:val>
                                        </p:tav>
                                        <p:tav tm="100000">
                                          <p:val>
                                            <p:strVal val="#ppt_w"/>
                                          </p:val>
                                        </p:tav>
                                      </p:tavLst>
                                    </p:anim>
                                    <p:anim calcmode="lin" valueType="num">
                                      <p:cBhvr>
                                        <p:cTn id="41" dur="500" fill="hold"/>
                                        <p:tgtEl>
                                          <p:spTgt spid="20"/>
                                        </p:tgtEl>
                                        <p:attrNameLst>
                                          <p:attrName>ppt_h</p:attrName>
                                        </p:attrNameLst>
                                      </p:cBhvr>
                                      <p:tavLst>
                                        <p:tav tm="0">
                                          <p:val>
                                            <p:fltVal val="0"/>
                                          </p:val>
                                        </p:tav>
                                        <p:tav tm="100000">
                                          <p:val>
                                            <p:strVal val="#ppt_h"/>
                                          </p:val>
                                        </p:tav>
                                      </p:tavLst>
                                    </p:anim>
                                    <p:animEffect transition="in" filter="fade">
                                      <p:cBhvr>
                                        <p:cTn id="42" dur="500"/>
                                        <p:tgtEl>
                                          <p:spTgt spid="20"/>
                                        </p:tgtEl>
                                      </p:cBhvr>
                                    </p:animEffect>
                                    <p:anim calcmode="lin" valueType="num">
                                      <p:cBhvr>
                                        <p:cTn id="43" dur="500" fill="hold"/>
                                        <p:tgtEl>
                                          <p:spTgt spid="20"/>
                                        </p:tgtEl>
                                        <p:attrNameLst>
                                          <p:attrName>ppt_x</p:attrName>
                                        </p:attrNameLst>
                                      </p:cBhvr>
                                      <p:tavLst>
                                        <p:tav tm="0">
                                          <p:val>
                                            <p:fltVal val="0.5"/>
                                          </p:val>
                                        </p:tav>
                                        <p:tav tm="100000">
                                          <p:val>
                                            <p:strVal val="#ppt_x"/>
                                          </p:val>
                                        </p:tav>
                                      </p:tavLst>
                                    </p:anim>
                                    <p:anim calcmode="lin" valueType="num">
                                      <p:cBhvr>
                                        <p:cTn id="44" dur="500" fill="hold"/>
                                        <p:tgtEl>
                                          <p:spTgt spid="20"/>
                                        </p:tgtEl>
                                        <p:attrNameLst>
                                          <p:attrName>ppt_y</p:attrName>
                                        </p:attrNameLst>
                                      </p:cBhvr>
                                      <p:tavLst>
                                        <p:tav tm="0">
                                          <p:val>
                                            <p:fltVal val="0.5"/>
                                          </p:val>
                                        </p:tav>
                                        <p:tav tm="100000">
                                          <p:val>
                                            <p:strVal val="#ppt_y"/>
                                          </p:val>
                                        </p:tav>
                                      </p:tavLst>
                                    </p:anim>
                                  </p:childTnLst>
                                </p:cTn>
                              </p:par>
                            </p:childTnLst>
                          </p:cTn>
                        </p:par>
                        <p:par>
                          <p:cTn id="45" fill="hold">
                            <p:stCondLst>
                              <p:cond delay="3500"/>
                            </p:stCondLst>
                            <p:childTnLst>
                              <p:par>
                                <p:cTn id="46" presetID="10" presetClass="entr" presetSubtype="0" fill="hold" nodeType="after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par>
                          <p:cTn id="49" fill="hold">
                            <p:stCondLst>
                              <p:cond delay="4000"/>
                            </p:stCondLst>
                            <p:childTnLst>
                              <p:par>
                                <p:cTn id="50" presetID="53" presetClass="entr" presetSubtype="528" fill="hold"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animEffect transition="in" filter="fade">
                                      <p:cBhvr>
                                        <p:cTn id="54" dur="500"/>
                                        <p:tgtEl>
                                          <p:spTgt spid="21"/>
                                        </p:tgtEl>
                                      </p:cBhvr>
                                    </p:animEffect>
                                    <p:anim calcmode="lin" valueType="num">
                                      <p:cBhvr>
                                        <p:cTn id="55" dur="500" fill="hold"/>
                                        <p:tgtEl>
                                          <p:spTgt spid="21"/>
                                        </p:tgtEl>
                                        <p:attrNameLst>
                                          <p:attrName>ppt_x</p:attrName>
                                        </p:attrNameLst>
                                      </p:cBhvr>
                                      <p:tavLst>
                                        <p:tav tm="0">
                                          <p:val>
                                            <p:fltVal val="0.5"/>
                                          </p:val>
                                        </p:tav>
                                        <p:tav tm="100000">
                                          <p:val>
                                            <p:strVal val="#ppt_x"/>
                                          </p:val>
                                        </p:tav>
                                      </p:tavLst>
                                    </p:anim>
                                    <p:anim calcmode="lin" valueType="num">
                                      <p:cBhvr>
                                        <p:cTn id="56" dur="500" fill="hold"/>
                                        <p:tgtEl>
                                          <p:spTgt spid="21"/>
                                        </p:tgtEl>
                                        <p:attrNameLst>
                                          <p:attrName>ppt_y</p:attrName>
                                        </p:attrNameLst>
                                      </p:cBhvr>
                                      <p:tavLst>
                                        <p:tav tm="0">
                                          <p:val>
                                            <p:fltVal val="0.5"/>
                                          </p:val>
                                        </p:tav>
                                        <p:tav tm="100000">
                                          <p:val>
                                            <p:strVal val="#ppt_y"/>
                                          </p:val>
                                        </p:tav>
                                      </p:tavLst>
                                    </p:anim>
                                  </p:childTnLst>
                                </p:cTn>
                              </p:par>
                            </p:childTnLst>
                          </p:cTn>
                        </p:par>
                        <p:par>
                          <p:cTn id="57" fill="hold">
                            <p:stCondLst>
                              <p:cond delay="4500"/>
                            </p:stCondLst>
                            <p:childTnLst>
                              <p:par>
                                <p:cTn id="58" presetID="10" presetClass="entr" presetSubtype="0" fill="hold" nodeType="after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61" restart="whenNotActive" fill="hold" evtFilter="cancelBubble" nodeType="interactiveSeq">
                <p:stCondLst>
                  <p:cond evt="onClick" delay="0">
                    <p:tgtEl>
                      <p:spTgt spid="2"/>
                    </p:tgtEl>
                  </p:cond>
                </p:stCondLst>
                <p:endSync evt="end" delay="0">
                  <p:rtn val="all"/>
                </p:endSync>
                <p:childTnLst>
                  <p:par>
                    <p:cTn id="62" fill="hold">
                      <p:stCondLst>
                        <p:cond delay="0"/>
                      </p:stCondLst>
                      <p:childTnLst>
                        <p:par>
                          <p:cTn id="63" fill="hold">
                            <p:stCondLst>
                              <p:cond delay="0"/>
                            </p:stCondLst>
                            <p:childTnLst>
                              <p:par>
                                <p:cTn id="64" presetID="26" presetClass="emph" presetSubtype="0" fill="hold" nodeType="clickEffect">
                                  <p:stCondLst>
                                    <p:cond delay="0"/>
                                  </p:stCondLst>
                                  <p:childTnLst>
                                    <p:animEffect transition="out" filter="fade">
                                      <p:cBhvr>
                                        <p:cTn id="65" dur="500" tmFilter="0, 0; .2, .5; .8, .5; 1, 0"/>
                                        <p:tgtEl>
                                          <p:spTgt spid="2"/>
                                        </p:tgtEl>
                                      </p:cBhvr>
                                    </p:animEffect>
                                    <p:animScale>
                                      <p:cBhvr>
                                        <p:cTn id="66" dur="250" autoRev="1" fill="hold"/>
                                        <p:tgtEl>
                                          <p:spTgt spid="2"/>
                                        </p:tgtEl>
                                      </p:cBhvr>
                                      <p:by x="105000" y="105000"/>
                                    </p:animScale>
                                  </p:childTnLst>
                                  <p:subTnLst>
                                    <p:audio>
                                      <p:cMediaNode>
                                        <p:cTn display="0" masterRel="sameClick">
                                          <p:stCondLst>
                                            <p:cond evt="begin" delay="0">
                                              <p:tn val="64"/>
                                            </p:cond>
                                          </p:stCondLst>
                                          <p:endCondLst>
                                            <p:cond evt="onStopAudio" delay="0">
                                              <p:tgtEl>
                                                <p:sldTgt/>
                                              </p:tgtEl>
                                            </p:cond>
                                          </p:endCondLst>
                                        </p:cTn>
                                        <p:tgtEl>
                                          <p:sndTgt r:embed="rId6" name="click.wav"/>
                                        </p:tgtEl>
                                      </p:cMediaNode>
                                    </p:audio>
                                  </p:subTnLst>
                                </p:cTn>
                              </p:par>
                            </p:childTnLst>
                          </p:cTn>
                        </p:par>
                        <p:par>
                          <p:cTn id="67" fill="hold">
                            <p:stCondLst>
                              <p:cond delay="500"/>
                            </p:stCondLst>
                            <p:childTnLst>
                              <p:par>
                                <p:cTn id="68" presetID="1" presetClass="mediacall" presetSubtype="0" fill="hold" nodeType="afterEffect">
                                  <p:stCondLst>
                                    <p:cond delay="0"/>
                                  </p:stCondLst>
                                  <p:childTnLst>
                                    <p:cmd type="call" cmd="playFrom(0.0)">
                                      <p:cBhvr>
                                        <p:cTn id="69" dur="3432" fill="hold"/>
                                        <p:tgtEl>
                                          <p:spTgt spid="22"/>
                                        </p:tgtEl>
                                      </p:cBhvr>
                                    </p:cmd>
                                  </p:childTnLst>
                                </p:cTn>
                              </p:par>
                              <p:par>
                                <p:cTn id="70" presetID="1" presetClass="entr" presetSubtype="0" fill="hold" nodeType="withEffect">
                                  <p:stCondLst>
                                    <p:cond delay="0"/>
                                  </p:stCondLst>
                                  <p:childTnLst>
                                    <p:set>
                                      <p:cBhvr>
                                        <p:cTn id="71" dur="1" fill="hold">
                                          <p:stCondLst>
                                            <p:cond delay="0"/>
                                          </p:stCondLst>
                                        </p:cTn>
                                        <p:tgtEl>
                                          <p:spTgt spid="33"/>
                                        </p:tgtEl>
                                        <p:attrNameLst>
                                          <p:attrName>style.visibility</p:attrName>
                                        </p:attrNameLst>
                                      </p:cBhvr>
                                      <p:to>
                                        <p:strVal val="visible"/>
                                      </p:to>
                                    </p:set>
                                  </p:childTnLst>
                                </p:cTn>
                              </p:par>
                              <p:par>
                                <p:cTn id="72" presetID="63" presetClass="path" presetSubtype="0" accel="50000" decel="50000" fill="hold" nodeType="withEffect">
                                  <p:stCondLst>
                                    <p:cond delay="0"/>
                                  </p:stCondLst>
                                  <p:childTnLst>
                                    <p:animMotion origin="layout" path="M -1.04167E-6 -4.81481E-6 L 0.1599 -4.81481E-6 " pathEditMode="relative" rAng="0" ptsTypes="AA">
                                      <p:cBhvr>
                                        <p:cTn id="73" dur="500" fill="hold"/>
                                        <p:tgtEl>
                                          <p:spTgt spid="68"/>
                                        </p:tgtEl>
                                        <p:attrNameLst>
                                          <p:attrName>ppt_x</p:attrName>
                                          <p:attrName>ppt_y</p:attrName>
                                        </p:attrNameLst>
                                      </p:cBhvr>
                                      <p:rCtr x="7995" y="0"/>
                                    </p:animMotion>
                                  </p:childTnLst>
                                </p:cTn>
                              </p:par>
                              <p:par>
                                <p:cTn id="74" presetID="10" presetClass="exit" presetSubtype="0" fill="hold" nodeType="withEffect">
                                  <p:stCondLst>
                                    <p:cond delay="0"/>
                                  </p:stCondLst>
                                  <p:childTnLst>
                                    <p:animEffect transition="out" filter="fade">
                                      <p:cBhvr>
                                        <p:cTn id="75" dur="500"/>
                                        <p:tgtEl>
                                          <p:spTgt spid="31"/>
                                        </p:tgtEl>
                                      </p:cBhvr>
                                    </p:animEffect>
                                    <p:set>
                                      <p:cBhvr>
                                        <p:cTn id="76" dur="1" fill="hold">
                                          <p:stCondLst>
                                            <p:cond delay="499"/>
                                          </p:stCondLst>
                                        </p:cTn>
                                        <p:tgtEl>
                                          <p:spTgt spid="31"/>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12"/>
                                        </p:tgtEl>
                                      </p:cBhvr>
                                    </p:animEffect>
                                    <p:set>
                                      <p:cBhvr>
                                        <p:cTn id="79" dur="1" fill="hold">
                                          <p:stCondLst>
                                            <p:cond delay="499"/>
                                          </p:stCondLst>
                                        </p:cTn>
                                        <p:tgtEl>
                                          <p:spTgt spid="1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2"/>
                                        </p:tgtEl>
                                      </p:cBhvr>
                                    </p:animEffect>
                                    <p:set>
                                      <p:cBhvr>
                                        <p:cTn id="82" dur="1" fill="hold">
                                          <p:stCondLst>
                                            <p:cond delay="499"/>
                                          </p:stCondLst>
                                        </p:cTn>
                                        <p:tgtEl>
                                          <p:spTgt spid="2"/>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16"/>
                                        </p:tgtEl>
                                      </p:cBhvr>
                                    </p:animEffect>
                                    <p:set>
                                      <p:cBhvr>
                                        <p:cTn id="85" dur="1" fill="hold">
                                          <p:stCondLst>
                                            <p:cond delay="499"/>
                                          </p:stCondLst>
                                        </p:cTn>
                                        <p:tgtEl>
                                          <p:spTgt spid="16"/>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15"/>
                                        </p:tgtEl>
                                      </p:cBhvr>
                                    </p:animEffect>
                                    <p:set>
                                      <p:cBhvr>
                                        <p:cTn id="88" dur="1" fill="hold">
                                          <p:stCondLst>
                                            <p:cond delay="499"/>
                                          </p:stCondLst>
                                        </p:cTn>
                                        <p:tgtEl>
                                          <p:spTgt spid="15"/>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18"/>
                                        </p:tgtEl>
                                      </p:cBhvr>
                                    </p:animEffect>
                                    <p:set>
                                      <p:cBhvr>
                                        <p:cTn id="91" dur="1" fill="hold">
                                          <p:stCondLst>
                                            <p:cond delay="499"/>
                                          </p:stCondLst>
                                        </p:cTn>
                                        <p:tgtEl>
                                          <p:spTgt spid="18"/>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20"/>
                                        </p:tgtEl>
                                      </p:cBhvr>
                                    </p:animEffect>
                                    <p:set>
                                      <p:cBhvr>
                                        <p:cTn id="94" dur="1" fill="hold">
                                          <p:stCondLst>
                                            <p:cond delay="499"/>
                                          </p:stCondLst>
                                        </p:cTn>
                                        <p:tgtEl>
                                          <p:spTgt spid="20"/>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500"/>
                                        <p:tgtEl>
                                          <p:spTgt spid="17"/>
                                        </p:tgtEl>
                                      </p:cBhvr>
                                    </p:animEffect>
                                    <p:set>
                                      <p:cBhvr>
                                        <p:cTn id="97" dur="1" fill="hold">
                                          <p:stCondLst>
                                            <p:cond delay="499"/>
                                          </p:stCondLst>
                                        </p:cTn>
                                        <p:tgtEl>
                                          <p:spTgt spid="17"/>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21"/>
                                        </p:tgtEl>
                                      </p:cBhvr>
                                    </p:animEffect>
                                    <p:set>
                                      <p:cBhvr>
                                        <p:cTn id="100" dur="1" fill="hold">
                                          <p:stCondLst>
                                            <p:cond delay="499"/>
                                          </p:stCondLst>
                                        </p:cTn>
                                        <p:tgtEl>
                                          <p:spTgt spid="21"/>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19"/>
                                        </p:tgtEl>
                                      </p:cBhvr>
                                    </p:animEffect>
                                    <p:set>
                                      <p:cBhvr>
                                        <p:cTn id="103" dur="1" fill="hold">
                                          <p:stCondLst>
                                            <p:cond delay="499"/>
                                          </p:stCondLst>
                                        </p:cTn>
                                        <p:tgtEl>
                                          <p:spTgt spid="19"/>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500"/>
                                        <p:tgtEl>
                                          <p:spTgt spid="4"/>
                                        </p:tgtEl>
                                      </p:cBhvr>
                                    </p:animEffect>
                                    <p:set>
                                      <p:cBhvr>
                                        <p:cTn id="106" dur="1" fill="hold">
                                          <p:stCondLst>
                                            <p:cond delay="499"/>
                                          </p:stCondLst>
                                        </p:cTn>
                                        <p:tgtEl>
                                          <p:spTgt spid="4"/>
                                        </p:tgtEl>
                                        <p:attrNameLst>
                                          <p:attrName>style.visibility</p:attrName>
                                        </p:attrNameLst>
                                      </p:cBhvr>
                                      <p:to>
                                        <p:strVal val="hidden"/>
                                      </p:to>
                                    </p:set>
                                  </p:childTnLst>
                                </p:cTn>
                              </p:par>
                              <p:par>
                                <p:cTn id="107" presetID="10" presetClass="exit" presetSubtype="0" fill="hold" nodeType="withEffect">
                                  <p:stCondLst>
                                    <p:cond delay="0"/>
                                  </p:stCondLst>
                                  <p:childTnLst>
                                    <p:animEffect transition="out" filter="fade">
                                      <p:cBhvr>
                                        <p:cTn id="108" dur="500"/>
                                        <p:tgtEl>
                                          <p:spTgt spid="6"/>
                                        </p:tgtEl>
                                      </p:cBhvr>
                                    </p:animEffect>
                                    <p:set>
                                      <p:cBhvr>
                                        <p:cTn id="109"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
                  </p:tgtEl>
                </p:cond>
              </p:nextCondLst>
            </p:seq>
            <p:seq concurrent="1" nextAc="seek">
              <p:cTn id="110" restart="whenNotActive" fill="hold" evtFilter="cancelBubble" nodeType="interactiveSeq">
                <p:stCondLst>
                  <p:cond evt="onClick" delay="0">
                    <p:tgtEl>
                      <p:spTgt spid="68"/>
                    </p:tgtEl>
                  </p:cond>
                </p:stCondLst>
                <p:endSync evt="end" delay="0">
                  <p:rtn val="all"/>
                </p:endSync>
                <p:childTnLst>
                  <p:par>
                    <p:cTn id="111" fill="hold">
                      <p:stCondLst>
                        <p:cond delay="0"/>
                      </p:stCondLst>
                      <p:childTnLst>
                        <p:par>
                          <p:cTn id="112" fill="hold">
                            <p:stCondLst>
                              <p:cond delay="0"/>
                            </p:stCondLst>
                            <p:childTnLst>
                              <p:par>
                                <p:cTn id="113" presetID="26" presetClass="emph" presetSubtype="0" fill="hold" nodeType="clickEffect">
                                  <p:stCondLst>
                                    <p:cond delay="0"/>
                                  </p:stCondLst>
                                  <p:childTnLst>
                                    <p:animEffect transition="out" filter="fade">
                                      <p:cBhvr>
                                        <p:cTn id="114" dur="500" tmFilter="0, 0; .2, .5; .8, .5; 1, 0"/>
                                        <p:tgtEl>
                                          <p:spTgt spid="68"/>
                                        </p:tgtEl>
                                      </p:cBhvr>
                                    </p:animEffect>
                                    <p:animScale>
                                      <p:cBhvr>
                                        <p:cTn id="115" dur="250" autoRev="1" fill="hold"/>
                                        <p:tgtEl>
                                          <p:spTgt spid="68"/>
                                        </p:tgtEl>
                                      </p:cBhvr>
                                      <p:by x="105000" y="105000"/>
                                    </p:animScale>
                                  </p:childTnLst>
                                  <p:subTnLst>
                                    <p:audio>
                                      <p:cMediaNode>
                                        <p:cTn display="0" masterRel="sameClick">
                                          <p:stCondLst>
                                            <p:cond evt="begin" delay="0">
                                              <p:tn val="113"/>
                                            </p:cond>
                                          </p:stCondLst>
                                          <p:endCondLst>
                                            <p:cond evt="onStopAudio" delay="0">
                                              <p:tgtEl>
                                                <p:sldTgt/>
                                              </p:tgtEl>
                                            </p:cond>
                                          </p:endCondLst>
                                        </p:cTn>
                                        <p:tgtEl>
                                          <p:sndTgt r:embed="rId6" name="click.wav"/>
                                        </p:tgtEl>
                                      </p:cMediaNode>
                                    </p:audio>
                                  </p:subTnLst>
                                </p:cTn>
                              </p:par>
                            </p:childTnLst>
                          </p:cTn>
                        </p:par>
                        <p:par>
                          <p:cTn id="116" fill="hold">
                            <p:stCondLst>
                              <p:cond delay="500"/>
                            </p:stCondLst>
                            <p:childTnLst>
                              <p:par>
                                <p:cTn id="117" presetID="10" presetClass="exit" presetSubtype="0" fill="hold" nodeType="afterEffect">
                                  <p:stCondLst>
                                    <p:cond delay="0"/>
                                  </p:stCondLst>
                                  <p:childTnLst>
                                    <p:animEffect transition="out" filter="fade">
                                      <p:cBhvr>
                                        <p:cTn id="118" dur="500"/>
                                        <p:tgtEl>
                                          <p:spTgt spid="33"/>
                                        </p:tgtEl>
                                      </p:cBhvr>
                                    </p:animEffect>
                                    <p:set>
                                      <p:cBhvr>
                                        <p:cTn id="119" dur="1" fill="hold">
                                          <p:stCondLst>
                                            <p:cond delay="499"/>
                                          </p:stCondLst>
                                        </p:cTn>
                                        <p:tgtEl>
                                          <p:spTgt spid="33"/>
                                        </p:tgtEl>
                                        <p:attrNameLst>
                                          <p:attrName>style.visibility</p:attrName>
                                        </p:attrNameLst>
                                      </p:cBhvr>
                                      <p:to>
                                        <p:strVal val="hidden"/>
                                      </p:to>
                                    </p:set>
                                  </p:childTnLst>
                                </p:cTn>
                              </p:par>
                              <p:par>
                                <p:cTn id="120" presetID="35" presetClass="path" presetSubtype="0" accel="50000" decel="50000" fill="hold" nodeType="withEffect">
                                  <p:stCondLst>
                                    <p:cond delay="0"/>
                                  </p:stCondLst>
                                  <p:childTnLst>
                                    <p:animMotion origin="layout" path="M 0.1599 -4.81481E-6 L -1.04167E-6 -4.81481E-6 " pathEditMode="relative" rAng="0" ptsTypes="AA">
                                      <p:cBhvr>
                                        <p:cTn id="121" dur="500" fill="hold"/>
                                        <p:tgtEl>
                                          <p:spTgt spid="68"/>
                                        </p:tgtEl>
                                        <p:attrNameLst>
                                          <p:attrName>ppt_x</p:attrName>
                                          <p:attrName>ppt_y</p:attrName>
                                        </p:attrNameLst>
                                      </p:cBhvr>
                                      <p:rCtr x="-7995" y="0"/>
                                    </p:animMotion>
                                  </p:childTnLst>
                                </p:cTn>
                              </p:par>
                              <p:par>
                                <p:cTn id="122" presetID="10" presetClass="entr" presetSubtype="0" fill="hold" nodeType="withEffect">
                                  <p:stCondLst>
                                    <p:cond delay="0"/>
                                  </p:stCondLst>
                                  <p:childTnLst>
                                    <p:set>
                                      <p:cBhvr>
                                        <p:cTn id="123" dur="1" fill="hold">
                                          <p:stCondLst>
                                            <p:cond delay="0"/>
                                          </p:stCondLst>
                                        </p:cTn>
                                        <p:tgtEl>
                                          <p:spTgt spid="31"/>
                                        </p:tgtEl>
                                        <p:attrNameLst>
                                          <p:attrName>style.visibility</p:attrName>
                                        </p:attrNameLst>
                                      </p:cBhvr>
                                      <p:to>
                                        <p:strVal val="visible"/>
                                      </p:to>
                                    </p:set>
                                    <p:animEffect transition="in" filter="fade">
                                      <p:cBhvr>
                                        <p:cTn id="124" dur="500"/>
                                        <p:tgtEl>
                                          <p:spTgt spid="31"/>
                                        </p:tgtEl>
                                      </p:cBhvr>
                                    </p:animEffect>
                                  </p:childTnLst>
                                </p:cTn>
                              </p:par>
                              <p:par>
                                <p:cTn id="125" presetID="10" presetClass="entr" presetSubtype="0" fill="hold" nodeType="withEffect">
                                  <p:stCondLst>
                                    <p:cond delay="0"/>
                                  </p:stCondLst>
                                  <p:childTnLst>
                                    <p:set>
                                      <p:cBhvr>
                                        <p:cTn id="126" dur="1" fill="hold">
                                          <p:stCondLst>
                                            <p:cond delay="0"/>
                                          </p:stCondLst>
                                        </p:cTn>
                                        <p:tgtEl>
                                          <p:spTgt spid="12"/>
                                        </p:tgtEl>
                                        <p:attrNameLst>
                                          <p:attrName>style.visibility</p:attrName>
                                        </p:attrNameLst>
                                      </p:cBhvr>
                                      <p:to>
                                        <p:strVal val="visible"/>
                                      </p:to>
                                    </p:set>
                                    <p:animEffect transition="in" filter="fade">
                                      <p:cBhvr>
                                        <p:cTn id="127" dur="500"/>
                                        <p:tgtEl>
                                          <p:spTgt spid="12"/>
                                        </p:tgtEl>
                                      </p:cBhvr>
                                    </p:animEffect>
                                  </p:childTnLst>
                                </p:cTn>
                              </p:par>
                              <p:par>
                                <p:cTn id="128" presetID="10" presetClass="entr" presetSubtype="0" fill="hold" nodeType="withEffect">
                                  <p:stCondLst>
                                    <p:cond delay="0"/>
                                  </p:stCondLst>
                                  <p:childTnLst>
                                    <p:set>
                                      <p:cBhvr>
                                        <p:cTn id="129" dur="1" fill="hold">
                                          <p:stCondLst>
                                            <p:cond delay="0"/>
                                          </p:stCondLst>
                                        </p:cTn>
                                        <p:tgtEl>
                                          <p:spTgt spid="2"/>
                                        </p:tgtEl>
                                        <p:attrNameLst>
                                          <p:attrName>style.visibility</p:attrName>
                                        </p:attrNameLst>
                                      </p:cBhvr>
                                      <p:to>
                                        <p:strVal val="visible"/>
                                      </p:to>
                                    </p:set>
                                    <p:animEffect transition="in" filter="fade">
                                      <p:cBhvr>
                                        <p:cTn id="130" dur="500"/>
                                        <p:tgtEl>
                                          <p:spTgt spid="2"/>
                                        </p:tgtEl>
                                      </p:cBhvr>
                                    </p:animEffect>
                                  </p:childTnLst>
                                </p:cTn>
                              </p:par>
                              <p:par>
                                <p:cTn id="131" presetID="10" presetClass="entr" presetSubtype="0" fill="hold" nodeType="withEffect">
                                  <p:stCondLst>
                                    <p:cond delay="0"/>
                                  </p:stCondLst>
                                  <p:childTnLst>
                                    <p:set>
                                      <p:cBhvr>
                                        <p:cTn id="132" dur="1" fill="hold">
                                          <p:stCondLst>
                                            <p:cond delay="0"/>
                                          </p:stCondLst>
                                        </p:cTn>
                                        <p:tgtEl>
                                          <p:spTgt spid="16"/>
                                        </p:tgtEl>
                                        <p:attrNameLst>
                                          <p:attrName>style.visibility</p:attrName>
                                        </p:attrNameLst>
                                      </p:cBhvr>
                                      <p:to>
                                        <p:strVal val="visible"/>
                                      </p:to>
                                    </p:set>
                                    <p:animEffect transition="in" filter="fade">
                                      <p:cBhvr>
                                        <p:cTn id="133" dur="500"/>
                                        <p:tgtEl>
                                          <p:spTgt spid="16"/>
                                        </p:tgtEl>
                                      </p:cBhvr>
                                    </p:animEffect>
                                  </p:childTnLst>
                                </p:cTn>
                              </p:par>
                              <p:par>
                                <p:cTn id="134" presetID="10" presetClass="entr" presetSubtype="0" fill="hold" nodeType="withEffect">
                                  <p:stCondLst>
                                    <p:cond delay="0"/>
                                  </p:stCondLst>
                                  <p:childTnLst>
                                    <p:set>
                                      <p:cBhvr>
                                        <p:cTn id="135" dur="1" fill="hold">
                                          <p:stCondLst>
                                            <p:cond delay="0"/>
                                          </p:stCondLst>
                                        </p:cTn>
                                        <p:tgtEl>
                                          <p:spTgt spid="4"/>
                                        </p:tgtEl>
                                        <p:attrNameLst>
                                          <p:attrName>style.visibility</p:attrName>
                                        </p:attrNameLst>
                                      </p:cBhvr>
                                      <p:to>
                                        <p:strVal val="visible"/>
                                      </p:to>
                                    </p:set>
                                    <p:animEffect transition="in" filter="fade">
                                      <p:cBhvr>
                                        <p:cTn id="136" dur="500"/>
                                        <p:tgtEl>
                                          <p:spTgt spid="4"/>
                                        </p:tgtEl>
                                      </p:cBhvr>
                                    </p:animEffect>
                                  </p:childTnLst>
                                </p:cTn>
                              </p:par>
                              <p:par>
                                <p:cTn id="137" presetID="10" presetClass="entr" presetSubtype="0" fill="hold" nodeType="withEffect">
                                  <p:stCondLst>
                                    <p:cond delay="0"/>
                                  </p:stCondLst>
                                  <p:childTnLst>
                                    <p:set>
                                      <p:cBhvr>
                                        <p:cTn id="138" dur="1" fill="hold">
                                          <p:stCondLst>
                                            <p:cond delay="0"/>
                                          </p:stCondLst>
                                        </p:cTn>
                                        <p:tgtEl>
                                          <p:spTgt spid="6"/>
                                        </p:tgtEl>
                                        <p:attrNameLst>
                                          <p:attrName>style.visibility</p:attrName>
                                        </p:attrNameLst>
                                      </p:cBhvr>
                                      <p:to>
                                        <p:strVal val="visible"/>
                                      </p:to>
                                    </p:set>
                                    <p:animEffect transition="in" filter="fade">
                                      <p:cBhvr>
                                        <p:cTn id="139" dur="500"/>
                                        <p:tgtEl>
                                          <p:spTgt spid="6"/>
                                        </p:tgtEl>
                                      </p:cBhvr>
                                    </p:animEffect>
                                  </p:childTnLst>
                                </p:cTn>
                              </p:par>
                            </p:childTnLst>
                          </p:cTn>
                        </p:par>
                      </p:childTnLst>
                    </p:cTn>
                  </p:par>
                </p:childTnLst>
              </p:cTn>
              <p:nextCondLst>
                <p:cond evt="onClick" delay="0">
                  <p:tgtEl>
                    <p:spTgt spid="68"/>
                  </p:tgtEl>
                </p:cond>
              </p:nextCondLst>
            </p:seq>
            <p:seq concurrent="1" nextAc="seek">
              <p:cTn id="140" restart="whenNotActive" fill="hold" evtFilter="cancelBubble" nodeType="interactiveSeq">
                <p:stCondLst>
                  <p:cond evt="onClick" delay="0">
                    <p:tgtEl>
                      <p:spTgt spid="15"/>
                    </p:tgtEl>
                  </p:cond>
                </p:stCondLst>
                <p:endSync evt="end" delay="0">
                  <p:rtn val="all"/>
                </p:endSync>
                <p:childTnLst>
                  <p:par>
                    <p:cTn id="141" fill="hold">
                      <p:stCondLst>
                        <p:cond delay="0"/>
                      </p:stCondLst>
                      <p:childTnLst>
                        <p:par>
                          <p:cTn id="142" fill="hold">
                            <p:stCondLst>
                              <p:cond delay="0"/>
                            </p:stCondLst>
                            <p:childTnLst>
                              <p:par>
                                <p:cTn id="143" presetID="26" presetClass="emph" presetSubtype="0" fill="hold" nodeType="clickEffect">
                                  <p:stCondLst>
                                    <p:cond delay="0"/>
                                  </p:stCondLst>
                                  <p:childTnLst>
                                    <p:animEffect transition="out" filter="fade">
                                      <p:cBhvr>
                                        <p:cTn id="144" dur="500" tmFilter="0, 0; .2, .5; .8, .5; 1, 0"/>
                                        <p:tgtEl>
                                          <p:spTgt spid="15"/>
                                        </p:tgtEl>
                                      </p:cBhvr>
                                    </p:animEffect>
                                    <p:animScale>
                                      <p:cBhvr>
                                        <p:cTn id="145" dur="250" autoRev="1" fill="hold"/>
                                        <p:tgtEl>
                                          <p:spTgt spid="15"/>
                                        </p:tgtEl>
                                      </p:cBhvr>
                                      <p:by x="105000" y="105000"/>
                                    </p:animScale>
                                  </p:childTnLst>
                                  <p:subTnLst>
                                    <p:audio>
                                      <p:cMediaNode>
                                        <p:cTn display="0" masterRel="sameClick">
                                          <p:stCondLst>
                                            <p:cond evt="begin" delay="0">
                                              <p:tn val="143"/>
                                            </p:cond>
                                          </p:stCondLst>
                                          <p:endCondLst>
                                            <p:cond evt="onStopAudio" delay="0">
                                              <p:tgtEl>
                                                <p:sldTgt/>
                                              </p:tgtEl>
                                            </p:cond>
                                          </p:endCondLst>
                                        </p:cTn>
                                        <p:tgtEl>
                                          <p:sndTgt r:embed="rId6" name="click.wav"/>
                                        </p:tgtEl>
                                      </p:cMediaNode>
                                    </p:audio>
                                  </p:subTnLst>
                                </p:cTn>
                              </p:par>
                            </p:childTnLst>
                          </p:cTn>
                        </p:par>
                        <p:par>
                          <p:cTn id="146" fill="hold">
                            <p:stCondLst>
                              <p:cond delay="500"/>
                            </p:stCondLst>
                            <p:childTnLst>
                              <p:par>
                                <p:cTn id="147" presetID="1" presetClass="mediacall" presetSubtype="0" fill="hold" nodeType="afterEffect">
                                  <p:stCondLst>
                                    <p:cond delay="0"/>
                                  </p:stCondLst>
                                  <p:childTnLst>
                                    <p:cmd type="call" cmd="playFrom(0.0)">
                                      <p:cBhvr>
                                        <p:cTn id="148" dur="4995" fill="hold"/>
                                        <p:tgtEl>
                                          <p:spTgt spid="7"/>
                                        </p:tgtEl>
                                      </p:cBhvr>
                                    </p:cmd>
                                  </p:childTnLst>
                                </p:cTn>
                              </p:par>
                              <p:par>
                                <p:cTn id="149" presetID="1" presetClass="entr" presetSubtype="0" fill="hold" nodeType="withEffect">
                                  <p:stCondLst>
                                    <p:cond delay="0"/>
                                  </p:stCondLst>
                                  <p:childTnLst>
                                    <p:set>
                                      <p:cBhvr>
                                        <p:cTn id="150" dur="1" fill="hold">
                                          <p:stCondLst>
                                            <p:cond delay="0"/>
                                          </p:stCondLst>
                                        </p:cTn>
                                        <p:tgtEl>
                                          <p:spTgt spid="13"/>
                                        </p:tgtEl>
                                        <p:attrNameLst>
                                          <p:attrName>style.visibility</p:attrName>
                                        </p:attrNameLst>
                                      </p:cBhvr>
                                      <p:to>
                                        <p:strVal val="visible"/>
                                      </p:to>
                                    </p:set>
                                  </p:childTnLst>
                                </p:cTn>
                              </p:par>
                              <p:par>
                                <p:cTn id="151" presetID="63" presetClass="path" presetSubtype="0" accel="50000" decel="50000" fill="hold" nodeType="withEffect">
                                  <p:stCondLst>
                                    <p:cond delay="0"/>
                                  </p:stCondLst>
                                  <p:childTnLst>
                                    <p:animMotion origin="layout" path="M 6.25E-7 -4.81481E-6 L 0.1599 -4.81481E-6 " pathEditMode="relative" rAng="0" ptsTypes="AA">
                                      <p:cBhvr>
                                        <p:cTn id="152" dur="500" fill="hold"/>
                                        <p:tgtEl>
                                          <p:spTgt spid="14"/>
                                        </p:tgtEl>
                                        <p:attrNameLst>
                                          <p:attrName>ppt_x</p:attrName>
                                          <p:attrName>ppt_y</p:attrName>
                                        </p:attrNameLst>
                                      </p:cBhvr>
                                      <p:rCtr x="7995" y="0"/>
                                    </p:animMotion>
                                  </p:childTnLst>
                                </p:cTn>
                              </p:par>
                              <p:par>
                                <p:cTn id="153" presetID="10" presetClass="exit" presetSubtype="0" fill="hold" nodeType="withEffect">
                                  <p:stCondLst>
                                    <p:cond delay="0"/>
                                  </p:stCondLst>
                                  <p:childTnLst>
                                    <p:animEffect transition="out" filter="fade">
                                      <p:cBhvr>
                                        <p:cTn id="154" dur="500"/>
                                        <p:tgtEl>
                                          <p:spTgt spid="31"/>
                                        </p:tgtEl>
                                      </p:cBhvr>
                                    </p:animEffect>
                                    <p:set>
                                      <p:cBhvr>
                                        <p:cTn id="155" dur="1" fill="hold">
                                          <p:stCondLst>
                                            <p:cond delay="499"/>
                                          </p:stCondLst>
                                        </p:cTn>
                                        <p:tgtEl>
                                          <p:spTgt spid="31"/>
                                        </p:tgtEl>
                                        <p:attrNameLst>
                                          <p:attrName>style.visibility</p:attrName>
                                        </p:attrNameLst>
                                      </p:cBhvr>
                                      <p:to>
                                        <p:strVal val="hidden"/>
                                      </p:to>
                                    </p:set>
                                  </p:childTnLst>
                                </p:cTn>
                              </p:par>
                              <p:par>
                                <p:cTn id="156" presetID="10" presetClass="exit" presetSubtype="0" fill="hold" nodeType="withEffect">
                                  <p:stCondLst>
                                    <p:cond delay="0"/>
                                  </p:stCondLst>
                                  <p:childTnLst>
                                    <p:animEffect transition="out" filter="fade">
                                      <p:cBhvr>
                                        <p:cTn id="157" dur="500"/>
                                        <p:tgtEl>
                                          <p:spTgt spid="12"/>
                                        </p:tgtEl>
                                      </p:cBhvr>
                                    </p:animEffect>
                                    <p:set>
                                      <p:cBhvr>
                                        <p:cTn id="158" dur="1" fill="hold">
                                          <p:stCondLst>
                                            <p:cond delay="499"/>
                                          </p:stCondLst>
                                        </p:cTn>
                                        <p:tgtEl>
                                          <p:spTgt spid="12"/>
                                        </p:tgtEl>
                                        <p:attrNameLst>
                                          <p:attrName>style.visibility</p:attrName>
                                        </p:attrNameLst>
                                      </p:cBhvr>
                                      <p:to>
                                        <p:strVal val="hidden"/>
                                      </p:to>
                                    </p:set>
                                  </p:childTnLst>
                                </p:cTn>
                              </p:par>
                              <p:par>
                                <p:cTn id="159" presetID="10" presetClass="exit" presetSubtype="0" fill="hold" nodeType="withEffect">
                                  <p:stCondLst>
                                    <p:cond delay="0"/>
                                  </p:stCondLst>
                                  <p:childTnLst>
                                    <p:animEffect transition="out" filter="fade">
                                      <p:cBhvr>
                                        <p:cTn id="160" dur="500"/>
                                        <p:tgtEl>
                                          <p:spTgt spid="2"/>
                                        </p:tgtEl>
                                      </p:cBhvr>
                                    </p:animEffect>
                                    <p:set>
                                      <p:cBhvr>
                                        <p:cTn id="161" dur="1" fill="hold">
                                          <p:stCondLst>
                                            <p:cond delay="499"/>
                                          </p:stCondLst>
                                        </p:cTn>
                                        <p:tgtEl>
                                          <p:spTgt spid="2"/>
                                        </p:tgtEl>
                                        <p:attrNameLst>
                                          <p:attrName>style.visibility</p:attrName>
                                        </p:attrNameLst>
                                      </p:cBhvr>
                                      <p:to>
                                        <p:strVal val="hidden"/>
                                      </p:to>
                                    </p:set>
                                  </p:childTnLst>
                                </p:cTn>
                              </p:par>
                              <p:par>
                                <p:cTn id="162" presetID="10" presetClass="exit" presetSubtype="0" fill="hold" nodeType="withEffect">
                                  <p:stCondLst>
                                    <p:cond delay="0"/>
                                  </p:stCondLst>
                                  <p:childTnLst>
                                    <p:animEffect transition="out" filter="fade">
                                      <p:cBhvr>
                                        <p:cTn id="163" dur="500"/>
                                        <p:tgtEl>
                                          <p:spTgt spid="16"/>
                                        </p:tgtEl>
                                      </p:cBhvr>
                                    </p:animEffect>
                                    <p:set>
                                      <p:cBhvr>
                                        <p:cTn id="164" dur="1" fill="hold">
                                          <p:stCondLst>
                                            <p:cond delay="499"/>
                                          </p:stCondLst>
                                        </p:cTn>
                                        <p:tgtEl>
                                          <p:spTgt spid="16"/>
                                        </p:tgtEl>
                                        <p:attrNameLst>
                                          <p:attrName>style.visibility</p:attrName>
                                        </p:attrNameLst>
                                      </p:cBhvr>
                                      <p:to>
                                        <p:strVal val="hidden"/>
                                      </p:to>
                                    </p:set>
                                  </p:childTnLst>
                                </p:cTn>
                              </p:par>
                              <p:par>
                                <p:cTn id="165" presetID="10" presetClass="exit" presetSubtype="0" fill="hold" nodeType="withEffect">
                                  <p:stCondLst>
                                    <p:cond delay="0"/>
                                  </p:stCondLst>
                                  <p:childTnLst>
                                    <p:animEffect transition="out" filter="fade">
                                      <p:cBhvr>
                                        <p:cTn id="166" dur="500"/>
                                        <p:tgtEl>
                                          <p:spTgt spid="15"/>
                                        </p:tgtEl>
                                      </p:cBhvr>
                                    </p:animEffect>
                                    <p:set>
                                      <p:cBhvr>
                                        <p:cTn id="167" dur="1" fill="hold">
                                          <p:stCondLst>
                                            <p:cond delay="499"/>
                                          </p:stCondLst>
                                        </p:cTn>
                                        <p:tgtEl>
                                          <p:spTgt spid="15"/>
                                        </p:tgtEl>
                                        <p:attrNameLst>
                                          <p:attrName>style.visibility</p:attrName>
                                        </p:attrNameLst>
                                      </p:cBhvr>
                                      <p:to>
                                        <p:strVal val="hidden"/>
                                      </p:to>
                                    </p:set>
                                  </p:childTnLst>
                                </p:cTn>
                              </p:par>
                              <p:par>
                                <p:cTn id="168" presetID="10" presetClass="exit" presetSubtype="0" fill="hold" nodeType="withEffect">
                                  <p:stCondLst>
                                    <p:cond delay="0"/>
                                  </p:stCondLst>
                                  <p:childTnLst>
                                    <p:animEffect transition="out" filter="fade">
                                      <p:cBhvr>
                                        <p:cTn id="169" dur="500"/>
                                        <p:tgtEl>
                                          <p:spTgt spid="18"/>
                                        </p:tgtEl>
                                      </p:cBhvr>
                                    </p:animEffect>
                                    <p:set>
                                      <p:cBhvr>
                                        <p:cTn id="170" dur="1" fill="hold">
                                          <p:stCondLst>
                                            <p:cond delay="499"/>
                                          </p:stCondLst>
                                        </p:cTn>
                                        <p:tgtEl>
                                          <p:spTgt spid="18"/>
                                        </p:tgtEl>
                                        <p:attrNameLst>
                                          <p:attrName>style.visibility</p:attrName>
                                        </p:attrNameLst>
                                      </p:cBhvr>
                                      <p:to>
                                        <p:strVal val="hidden"/>
                                      </p:to>
                                    </p:set>
                                  </p:childTnLst>
                                </p:cTn>
                              </p:par>
                              <p:par>
                                <p:cTn id="171" presetID="10" presetClass="exit" presetSubtype="0" fill="hold" nodeType="withEffect">
                                  <p:stCondLst>
                                    <p:cond delay="0"/>
                                  </p:stCondLst>
                                  <p:childTnLst>
                                    <p:animEffect transition="out" filter="fade">
                                      <p:cBhvr>
                                        <p:cTn id="172" dur="500"/>
                                        <p:tgtEl>
                                          <p:spTgt spid="20"/>
                                        </p:tgtEl>
                                      </p:cBhvr>
                                    </p:animEffect>
                                    <p:set>
                                      <p:cBhvr>
                                        <p:cTn id="173" dur="1" fill="hold">
                                          <p:stCondLst>
                                            <p:cond delay="499"/>
                                          </p:stCondLst>
                                        </p:cTn>
                                        <p:tgtEl>
                                          <p:spTgt spid="20"/>
                                        </p:tgtEl>
                                        <p:attrNameLst>
                                          <p:attrName>style.visibility</p:attrName>
                                        </p:attrNameLst>
                                      </p:cBhvr>
                                      <p:to>
                                        <p:strVal val="hidden"/>
                                      </p:to>
                                    </p:set>
                                  </p:childTnLst>
                                </p:cTn>
                              </p:par>
                              <p:par>
                                <p:cTn id="174" presetID="10" presetClass="exit" presetSubtype="0" fill="hold" nodeType="withEffect">
                                  <p:stCondLst>
                                    <p:cond delay="0"/>
                                  </p:stCondLst>
                                  <p:childTnLst>
                                    <p:animEffect transition="out" filter="fade">
                                      <p:cBhvr>
                                        <p:cTn id="175" dur="500"/>
                                        <p:tgtEl>
                                          <p:spTgt spid="17"/>
                                        </p:tgtEl>
                                      </p:cBhvr>
                                    </p:animEffect>
                                    <p:set>
                                      <p:cBhvr>
                                        <p:cTn id="176" dur="1" fill="hold">
                                          <p:stCondLst>
                                            <p:cond delay="499"/>
                                          </p:stCondLst>
                                        </p:cTn>
                                        <p:tgtEl>
                                          <p:spTgt spid="17"/>
                                        </p:tgtEl>
                                        <p:attrNameLst>
                                          <p:attrName>style.visibility</p:attrName>
                                        </p:attrNameLst>
                                      </p:cBhvr>
                                      <p:to>
                                        <p:strVal val="hidden"/>
                                      </p:to>
                                    </p:set>
                                  </p:childTnLst>
                                </p:cTn>
                              </p:par>
                              <p:par>
                                <p:cTn id="177" presetID="10" presetClass="exit" presetSubtype="0" fill="hold" nodeType="withEffect">
                                  <p:stCondLst>
                                    <p:cond delay="0"/>
                                  </p:stCondLst>
                                  <p:childTnLst>
                                    <p:animEffect transition="out" filter="fade">
                                      <p:cBhvr>
                                        <p:cTn id="178" dur="500"/>
                                        <p:tgtEl>
                                          <p:spTgt spid="21"/>
                                        </p:tgtEl>
                                      </p:cBhvr>
                                    </p:animEffect>
                                    <p:set>
                                      <p:cBhvr>
                                        <p:cTn id="179" dur="1" fill="hold">
                                          <p:stCondLst>
                                            <p:cond delay="499"/>
                                          </p:stCondLst>
                                        </p:cTn>
                                        <p:tgtEl>
                                          <p:spTgt spid="21"/>
                                        </p:tgtEl>
                                        <p:attrNameLst>
                                          <p:attrName>style.visibility</p:attrName>
                                        </p:attrNameLst>
                                      </p:cBhvr>
                                      <p:to>
                                        <p:strVal val="hidden"/>
                                      </p:to>
                                    </p:set>
                                  </p:childTnLst>
                                </p:cTn>
                              </p:par>
                              <p:par>
                                <p:cTn id="180" presetID="10" presetClass="exit" presetSubtype="0" fill="hold" nodeType="withEffect">
                                  <p:stCondLst>
                                    <p:cond delay="0"/>
                                  </p:stCondLst>
                                  <p:childTnLst>
                                    <p:animEffect transition="out" filter="fade">
                                      <p:cBhvr>
                                        <p:cTn id="181" dur="500"/>
                                        <p:tgtEl>
                                          <p:spTgt spid="19"/>
                                        </p:tgtEl>
                                      </p:cBhvr>
                                    </p:animEffect>
                                    <p:set>
                                      <p:cBhvr>
                                        <p:cTn id="182" dur="1" fill="hold">
                                          <p:stCondLst>
                                            <p:cond delay="499"/>
                                          </p:stCondLst>
                                        </p:cTn>
                                        <p:tgtEl>
                                          <p:spTgt spid="19"/>
                                        </p:tgtEl>
                                        <p:attrNameLst>
                                          <p:attrName>style.visibility</p:attrName>
                                        </p:attrNameLst>
                                      </p:cBhvr>
                                      <p:to>
                                        <p:strVal val="hidden"/>
                                      </p:to>
                                    </p:set>
                                  </p:childTnLst>
                                </p:cTn>
                              </p:par>
                              <p:par>
                                <p:cTn id="183" presetID="10" presetClass="exit" presetSubtype="0" fill="hold" nodeType="withEffect">
                                  <p:stCondLst>
                                    <p:cond delay="0"/>
                                  </p:stCondLst>
                                  <p:childTnLst>
                                    <p:animEffect transition="out" filter="fade">
                                      <p:cBhvr>
                                        <p:cTn id="184" dur="500"/>
                                        <p:tgtEl>
                                          <p:spTgt spid="4"/>
                                        </p:tgtEl>
                                      </p:cBhvr>
                                    </p:animEffect>
                                    <p:set>
                                      <p:cBhvr>
                                        <p:cTn id="185" dur="1" fill="hold">
                                          <p:stCondLst>
                                            <p:cond delay="499"/>
                                          </p:stCondLst>
                                        </p:cTn>
                                        <p:tgtEl>
                                          <p:spTgt spid="4"/>
                                        </p:tgtEl>
                                        <p:attrNameLst>
                                          <p:attrName>style.visibility</p:attrName>
                                        </p:attrNameLst>
                                      </p:cBhvr>
                                      <p:to>
                                        <p:strVal val="hidden"/>
                                      </p:to>
                                    </p:set>
                                  </p:childTnLst>
                                </p:cTn>
                              </p:par>
                              <p:par>
                                <p:cTn id="186" presetID="10" presetClass="exit" presetSubtype="0" fill="hold" nodeType="withEffect">
                                  <p:stCondLst>
                                    <p:cond delay="0"/>
                                  </p:stCondLst>
                                  <p:childTnLst>
                                    <p:animEffect transition="out" filter="fade">
                                      <p:cBhvr>
                                        <p:cTn id="187" dur="500"/>
                                        <p:tgtEl>
                                          <p:spTgt spid="6"/>
                                        </p:tgtEl>
                                      </p:cBhvr>
                                    </p:animEffect>
                                    <p:set>
                                      <p:cBhvr>
                                        <p:cTn id="188"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15"/>
                  </p:tgtEl>
                </p:cond>
              </p:nextCondLst>
            </p:seq>
            <p:seq concurrent="1" nextAc="seek">
              <p:cTn id="189" restart="whenNotActive" fill="hold" evtFilter="cancelBubble" nodeType="interactiveSeq">
                <p:stCondLst>
                  <p:cond evt="onClick" delay="0">
                    <p:tgtEl>
                      <p:spTgt spid="14"/>
                    </p:tgtEl>
                  </p:cond>
                </p:stCondLst>
                <p:endSync evt="end" delay="0">
                  <p:rtn val="all"/>
                </p:endSync>
                <p:childTnLst>
                  <p:par>
                    <p:cTn id="190" fill="hold">
                      <p:stCondLst>
                        <p:cond delay="0"/>
                      </p:stCondLst>
                      <p:childTnLst>
                        <p:par>
                          <p:cTn id="191" fill="hold">
                            <p:stCondLst>
                              <p:cond delay="0"/>
                            </p:stCondLst>
                            <p:childTnLst>
                              <p:par>
                                <p:cTn id="192" presetID="26" presetClass="emph" presetSubtype="0" fill="hold" nodeType="clickEffect">
                                  <p:stCondLst>
                                    <p:cond delay="0"/>
                                  </p:stCondLst>
                                  <p:childTnLst>
                                    <p:animEffect transition="out" filter="fade">
                                      <p:cBhvr>
                                        <p:cTn id="193" dur="500" tmFilter="0, 0; .2, .5; .8, .5; 1, 0"/>
                                        <p:tgtEl>
                                          <p:spTgt spid="14"/>
                                        </p:tgtEl>
                                      </p:cBhvr>
                                    </p:animEffect>
                                    <p:animScale>
                                      <p:cBhvr>
                                        <p:cTn id="194" dur="250" autoRev="1" fill="hold"/>
                                        <p:tgtEl>
                                          <p:spTgt spid="14"/>
                                        </p:tgtEl>
                                      </p:cBhvr>
                                      <p:by x="105000" y="105000"/>
                                    </p:animScale>
                                  </p:childTnLst>
                                  <p:subTnLst>
                                    <p:audio>
                                      <p:cMediaNode>
                                        <p:cTn display="0" masterRel="sameClick">
                                          <p:stCondLst>
                                            <p:cond evt="begin" delay="0">
                                              <p:tn val="192"/>
                                            </p:cond>
                                          </p:stCondLst>
                                          <p:endCondLst>
                                            <p:cond evt="onStopAudio" delay="0">
                                              <p:tgtEl>
                                                <p:sldTgt/>
                                              </p:tgtEl>
                                            </p:cond>
                                          </p:endCondLst>
                                        </p:cTn>
                                        <p:tgtEl>
                                          <p:sndTgt r:embed="rId6" name="click.wav"/>
                                        </p:tgtEl>
                                      </p:cMediaNode>
                                    </p:audio>
                                  </p:subTnLst>
                                </p:cTn>
                              </p:par>
                              <p:par>
                                <p:cTn id="195" presetID="35" presetClass="path" presetSubtype="0" accel="50000" decel="50000" fill="hold" nodeType="withEffect">
                                  <p:stCondLst>
                                    <p:cond delay="0"/>
                                  </p:stCondLst>
                                  <p:childTnLst>
                                    <p:animMotion origin="layout" path="M 0.1599 -4.81481E-6 L 6.25E-7 -4.81481E-6 " pathEditMode="relative" rAng="0" ptsTypes="AA">
                                      <p:cBhvr>
                                        <p:cTn id="196" dur="500" fill="hold"/>
                                        <p:tgtEl>
                                          <p:spTgt spid="14"/>
                                        </p:tgtEl>
                                        <p:attrNameLst>
                                          <p:attrName>ppt_x</p:attrName>
                                          <p:attrName>ppt_y</p:attrName>
                                        </p:attrNameLst>
                                      </p:cBhvr>
                                      <p:rCtr x="-7995" y="0"/>
                                    </p:animMotion>
                                  </p:childTnLst>
                                </p:cTn>
                              </p:par>
                            </p:childTnLst>
                          </p:cTn>
                        </p:par>
                        <p:par>
                          <p:cTn id="197" fill="hold">
                            <p:stCondLst>
                              <p:cond delay="500"/>
                            </p:stCondLst>
                            <p:childTnLst>
                              <p:par>
                                <p:cTn id="198" presetID="1" presetClass="exit" presetSubtype="0" fill="hold" nodeType="afterEffect">
                                  <p:stCondLst>
                                    <p:cond delay="0"/>
                                  </p:stCondLst>
                                  <p:childTnLst>
                                    <p:set>
                                      <p:cBhvr>
                                        <p:cTn id="199" dur="1" fill="hold">
                                          <p:stCondLst>
                                            <p:cond delay="0"/>
                                          </p:stCondLst>
                                        </p:cTn>
                                        <p:tgtEl>
                                          <p:spTgt spid="13"/>
                                        </p:tgtEl>
                                        <p:attrNameLst>
                                          <p:attrName>style.visibility</p:attrName>
                                        </p:attrNameLst>
                                      </p:cBhvr>
                                      <p:to>
                                        <p:strVal val="hidden"/>
                                      </p:to>
                                    </p:set>
                                  </p:childTnLst>
                                </p:cTn>
                              </p:par>
                              <p:par>
                                <p:cTn id="200" presetID="10" presetClass="entr" presetSubtype="0" fill="hold" nodeType="withEffect">
                                  <p:stCondLst>
                                    <p:cond delay="0"/>
                                  </p:stCondLst>
                                  <p:childTnLst>
                                    <p:set>
                                      <p:cBhvr>
                                        <p:cTn id="201" dur="1" fill="hold">
                                          <p:stCondLst>
                                            <p:cond delay="0"/>
                                          </p:stCondLst>
                                        </p:cTn>
                                        <p:tgtEl>
                                          <p:spTgt spid="31"/>
                                        </p:tgtEl>
                                        <p:attrNameLst>
                                          <p:attrName>style.visibility</p:attrName>
                                        </p:attrNameLst>
                                      </p:cBhvr>
                                      <p:to>
                                        <p:strVal val="visible"/>
                                      </p:to>
                                    </p:set>
                                    <p:animEffect transition="in" filter="fade">
                                      <p:cBhvr>
                                        <p:cTn id="202" dur="500"/>
                                        <p:tgtEl>
                                          <p:spTgt spid="31"/>
                                        </p:tgtEl>
                                      </p:cBhvr>
                                    </p:animEffect>
                                  </p:childTnLst>
                                </p:cTn>
                              </p:par>
                              <p:par>
                                <p:cTn id="203" presetID="10" presetClass="entr" presetSubtype="0" fill="hold" nodeType="withEffect">
                                  <p:stCondLst>
                                    <p:cond delay="0"/>
                                  </p:stCondLst>
                                  <p:childTnLst>
                                    <p:set>
                                      <p:cBhvr>
                                        <p:cTn id="204" dur="1" fill="hold">
                                          <p:stCondLst>
                                            <p:cond delay="0"/>
                                          </p:stCondLst>
                                        </p:cTn>
                                        <p:tgtEl>
                                          <p:spTgt spid="12"/>
                                        </p:tgtEl>
                                        <p:attrNameLst>
                                          <p:attrName>style.visibility</p:attrName>
                                        </p:attrNameLst>
                                      </p:cBhvr>
                                      <p:to>
                                        <p:strVal val="visible"/>
                                      </p:to>
                                    </p:set>
                                    <p:animEffect transition="in" filter="fade">
                                      <p:cBhvr>
                                        <p:cTn id="205" dur="500"/>
                                        <p:tgtEl>
                                          <p:spTgt spid="12"/>
                                        </p:tgtEl>
                                      </p:cBhvr>
                                    </p:animEffect>
                                  </p:childTnLst>
                                </p:cTn>
                              </p:par>
                              <p:par>
                                <p:cTn id="206" presetID="10" presetClass="entr" presetSubtype="0" fill="hold" nodeType="withEffect">
                                  <p:stCondLst>
                                    <p:cond delay="0"/>
                                  </p:stCondLst>
                                  <p:childTnLst>
                                    <p:set>
                                      <p:cBhvr>
                                        <p:cTn id="207" dur="1" fill="hold">
                                          <p:stCondLst>
                                            <p:cond delay="0"/>
                                          </p:stCondLst>
                                        </p:cTn>
                                        <p:tgtEl>
                                          <p:spTgt spid="2"/>
                                        </p:tgtEl>
                                        <p:attrNameLst>
                                          <p:attrName>style.visibility</p:attrName>
                                        </p:attrNameLst>
                                      </p:cBhvr>
                                      <p:to>
                                        <p:strVal val="visible"/>
                                      </p:to>
                                    </p:set>
                                    <p:animEffect transition="in" filter="fade">
                                      <p:cBhvr>
                                        <p:cTn id="208" dur="500"/>
                                        <p:tgtEl>
                                          <p:spTgt spid="2"/>
                                        </p:tgtEl>
                                      </p:cBhvr>
                                    </p:animEffect>
                                  </p:childTnLst>
                                </p:cTn>
                              </p:par>
                              <p:par>
                                <p:cTn id="209" presetID="10" presetClass="entr" presetSubtype="0" fill="hold" nodeType="withEffect">
                                  <p:stCondLst>
                                    <p:cond delay="0"/>
                                  </p:stCondLst>
                                  <p:childTnLst>
                                    <p:set>
                                      <p:cBhvr>
                                        <p:cTn id="210" dur="1" fill="hold">
                                          <p:stCondLst>
                                            <p:cond delay="0"/>
                                          </p:stCondLst>
                                        </p:cTn>
                                        <p:tgtEl>
                                          <p:spTgt spid="16"/>
                                        </p:tgtEl>
                                        <p:attrNameLst>
                                          <p:attrName>style.visibility</p:attrName>
                                        </p:attrNameLst>
                                      </p:cBhvr>
                                      <p:to>
                                        <p:strVal val="visible"/>
                                      </p:to>
                                    </p:set>
                                    <p:animEffect transition="in" filter="fade">
                                      <p:cBhvr>
                                        <p:cTn id="211" dur="500"/>
                                        <p:tgtEl>
                                          <p:spTgt spid="16"/>
                                        </p:tgtEl>
                                      </p:cBhvr>
                                    </p:animEffect>
                                  </p:childTnLst>
                                </p:cTn>
                              </p:par>
                              <p:par>
                                <p:cTn id="212" presetID="10" presetClass="entr" presetSubtype="0" fill="hold" nodeType="withEffect">
                                  <p:stCondLst>
                                    <p:cond delay="0"/>
                                  </p:stCondLst>
                                  <p:childTnLst>
                                    <p:set>
                                      <p:cBhvr>
                                        <p:cTn id="213" dur="1" fill="hold">
                                          <p:stCondLst>
                                            <p:cond delay="0"/>
                                          </p:stCondLst>
                                        </p:cTn>
                                        <p:tgtEl>
                                          <p:spTgt spid="15"/>
                                        </p:tgtEl>
                                        <p:attrNameLst>
                                          <p:attrName>style.visibility</p:attrName>
                                        </p:attrNameLst>
                                      </p:cBhvr>
                                      <p:to>
                                        <p:strVal val="visible"/>
                                      </p:to>
                                    </p:set>
                                    <p:animEffect transition="in" filter="fade">
                                      <p:cBhvr>
                                        <p:cTn id="214" dur="500"/>
                                        <p:tgtEl>
                                          <p:spTgt spid="15"/>
                                        </p:tgtEl>
                                      </p:cBhvr>
                                    </p:animEffect>
                                  </p:childTnLst>
                                </p:cTn>
                              </p:par>
                              <p:par>
                                <p:cTn id="215" presetID="10" presetClass="entr" presetSubtype="0" fill="hold" nodeType="withEffect">
                                  <p:stCondLst>
                                    <p:cond delay="0"/>
                                  </p:stCondLst>
                                  <p:childTnLst>
                                    <p:set>
                                      <p:cBhvr>
                                        <p:cTn id="216" dur="1" fill="hold">
                                          <p:stCondLst>
                                            <p:cond delay="0"/>
                                          </p:stCondLst>
                                        </p:cTn>
                                        <p:tgtEl>
                                          <p:spTgt spid="18"/>
                                        </p:tgtEl>
                                        <p:attrNameLst>
                                          <p:attrName>style.visibility</p:attrName>
                                        </p:attrNameLst>
                                      </p:cBhvr>
                                      <p:to>
                                        <p:strVal val="visible"/>
                                      </p:to>
                                    </p:set>
                                    <p:animEffect transition="in" filter="fade">
                                      <p:cBhvr>
                                        <p:cTn id="217" dur="500"/>
                                        <p:tgtEl>
                                          <p:spTgt spid="18"/>
                                        </p:tgtEl>
                                      </p:cBhvr>
                                    </p:animEffect>
                                  </p:childTnLst>
                                </p:cTn>
                              </p:par>
                              <p:par>
                                <p:cTn id="218" presetID="10" presetClass="entr" presetSubtype="0" fill="hold" nodeType="withEffect">
                                  <p:stCondLst>
                                    <p:cond delay="0"/>
                                  </p:stCondLst>
                                  <p:childTnLst>
                                    <p:set>
                                      <p:cBhvr>
                                        <p:cTn id="219" dur="1" fill="hold">
                                          <p:stCondLst>
                                            <p:cond delay="0"/>
                                          </p:stCondLst>
                                        </p:cTn>
                                        <p:tgtEl>
                                          <p:spTgt spid="20"/>
                                        </p:tgtEl>
                                        <p:attrNameLst>
                                          <p:attrName>style.visibility</p:attrName>
                                        </p:attrNameLst>
                                      </p:cBhvr>
                                      <p:to>
                                        <p:strVal val="visible"/>
                                      </p:to>
                                    </p:set>
                                    <p:animEffect transition="in" filter="fade">
                                      <p:cBhvr>
                                        <p:cTn id="220" dur="500"/>
                                        <p:tgtEl>
                                          <p:spTgt spid="20"/>
                                        </p:tgtEl>
                                      </p:cBhvr>
                                    </p:animEffect>
                                  </p:childTnLst>
                                </p:cTn>
                              </p:par>
                              <p:par>
                                <p:cTn id="221" presetID="10" presetClass="entr" presetSubtype="0" fill="hold" nodeType="withEffect">
                                  <p:stCondLst>
                                    <p:cond delay="0"/>
                                  </p:stCondLst>
                                  <p:childTnLst>
                                    <p:set>
                                      <p:cBhvr>
                                        <p:cTn id="222" dur="1" fill="hold">
                                          <p:stCondLst>
                                            <p:cond delay="0"/>
                                          </p:stCondLst>
                                        </p:cTn>
                                        <p:tgtEl>
                                          <p:spTgt spid="17"/>
                                        </p:tgtEl>
                                        <p:attrNameLst>
                                          <p:attrName>style.visibility</p:attrName>
                                        </p:attrNameLst>
                                      </p:cBhvr>
                                      <p:to>
                                        <p:strVal val="visible"/>
                                      </p:to>
                                    </p:set>
                                    <p:animEffect transition="in" filter="fade">
                                      <p:cBhvr>
                                        <p:cTn id="223" dur="500"/>
                                        <p:tgtEl>
                                          <p:spTgt spid="17"/>
                                        </p:tgtEl>
                                      </p:cBhvr>
                                    </p:animEffect>
                                  </p:childTnLst>
                                </p:cTn>
                              </p:par>
                              <p:par>
                                <p:cTn id="224" presetID="10" presetClass="entr" presetSubtype="0" fill="hold" nodeType="withEffect">
                                  <p:stCondLst>
                                    <p:cond delay="0"/>
                                  </p:stCondLst>
                                  <p:childTnLst>
                                    <p:set>
                                      <p:cBhvr>
                                        <p:cTn id="225" dur="1" fill="hold">
                                          <p:stCondLst>
                                            <p:cond delay="0"/>
                                          </p:stCondLst>
                                        </p:cTn>
                                        <p:tgtEl>
                                          <p:spTgt spid="21"/>
                                        </p:tgtEl>
                                        <p:attrNameLst>
                                          <p:attrName>style.visibility</p:attrName>
                                        </p:attrNameLst>
                                      </p:cBhvr>
                                      <p:to>
                                        <p:strVal val="visible"/>
                                      </p:to>
                                    </p:set>
                                    <p:animEffect transition="in" filter="fade">
                                      <p:cBhvr>
                                        <p:cTn id="226" dur="500"/>
                                        <p:tgtEl>
                                          <p:spTgt spid="21"/>
                                        </p:tgtEl>
                                      </p:cBhvr>
                                    </p:animEffect>
                                  </p:childTnLst>
                                </p:cTn>
                              </p:par>
                              <p:par>
                                <p:cTn id="227" presetID="10" presetClass="entr" presetSubtype="0" fill="hold" nodeType="withEffect">
                                  <p:stCondLst>
                                    <p:cond delay="0"/>
                                  </p:stCondLst>
                                  <p:childTnLst>
                                    <p:set>
                                      <p:cBhvr>
                                        <p:cTn id="228" dur="1" fill="hold">
                                          <p:stCondLst>
                                            <p:cond delay="0"/>
                                          </p:stCondLst>
                                        </p:cTn>
                                        <p:tgtEl>
                                          <p:spTgt spid="19"/>
                                        </p:tgtEl>
                                        <p:attrNameLst>
                                          <p:attrName>style.visibility</p:attrName>
                                        </p:attrNameLst>
                                      </p:cBhvr>
                                      <p:to>
                                        <p:strVal val="visible"/>
                                      </p:to>
                                    </p:set>
                                    <p:animEffect transition="in" filter="fade">
                                      <p:cBhvr>
                                        <p:cTn id="229" dur="500"/>
                                        <p:tgtEl>
                                          <p:spTgt spid="19"/>
                                        </p:tgtEl>
                                      </p:cBhvr>
                                    </p:animEffect>
                                  </p:childTnLst>
                                </p:cTn>
                              </p:par>
                              <p:par>
                                <p:cTn id="230" presetID="10" presetClass="entr" presetSubtype="0" fill="hold" nodeType="withEffect">
                                  <p:stCondLst>
                                    <p:cond delay="0"/>
                                  </p:stCondLst>
                                  <p:childTnLst>
                                    <p:set>
                                      <p:cBhvr>
                                        <p:cTn id="231" dur="1" fill="hold">
                                          <p:stCondLst>
                                            <p:cond delay="0"/>
                                          </p:stCondLst>
                                        </p:cTn>
                                        <p:tgtEl>
                                          <p:spTgt spid="4"/>
                                        </p:tgtEl>
                                        <p:attrNameLst>
                                          <p:attrName>style.visibility</p:attrName>
                                        </p:attrNameLst>
                                      </p:cBhvr>
                                      <p:to>
                                        <p:strVal val="visible"/>
                                      </p:to>
                                    </p:set>
                                    <p:animEffect transition="in" filter="fade">
                                      <p:cBhvr>
                                        <p:cTn id="232" dur="500"/>
                                        <p:tgtEl>
                                          <p:spTgt spid="4"/>
                                        </p:tgtEl>
                                      </p:cBhvr>
                                    </p:animEffect>
                                  </p:childTnLst>
                                </p:cTn>
                              </p:par>
                              <p:par>
                                <p:cTn id="233" presetID="10" presetClass="entr" presetSubtype="0" fill="hold" nodeType="withEffect">
                                  <p:stCondLst>
                                    <p:cond delay="0"/>
                                  </p:stCondLst>
                                  <p:childTnLst>
                                    <p:set>
                                      <p:cBhvr>
                                        <p:cTn id="234" dur="1" fill="hold">
                                          <p:stCondLst>
                                            <p:cond delay="0"/>
                                          </p:stCondLst>
                                        </p:cTn>
                                        <p:tgtEl>
                                          <p:spTgt spid="6"/>
                                        </p:tgtEl>
                                        <p:attrNameLst>
                                          <p:attrName>style.visibility</p:attrName>
                                        </p:attrNameLst>
                                      </p:cBhvr>
                                      <p:to>
                                        <p:strVal val="visible"/>
                                      </p:to>
                                    </p:set>
                                    <p:animEffect transition="in" filter="fade">
                                      <p:cBhvr>
                                        <p:cTn id="235" dur="500"/>
                                        <p:tgtEl>
                                          <p:spTgt spid="6"/>
                                        </p:tgtEl>
                                      </p:cBhvr>
                                    </p:animEffect>
                                  </p:childTnLst>
                                </p:cTn>
                              </p:par>
                            </p:childTnLst>
                          </p:cTn>
                        </p:par>
                      </p:childTnLst>
                    </p:cTn>
                  </p:par>
                </p:childTnLst>
              </p:cTn>
              <p:nextCondLst>
                <p:cond evt="onClick" delay="0">
                  <p:tgtEl>
                    <p:spTgt spid="14"/>
                  </p:tgtEl>
                </p:cond>
              </p:nextCondLst>
            </p:seq>
            <p:seq concurrent="1" nextAc="seek">
              <p:cTn id="236" restart="whenNotActive" fill="hold" evtFilter="cancelBubble" nodeType="interactiveSeq">
                <p:stCondLst>
                  <p:cond evt="onClick" delay="0">
                    <p:tgtEl>
                      <p:spTgt spid="20"/>
                    </p:tgtEl>
                  </p:cond>
                </p:stCondLst>
                <p:endSync evt="end" delay="0">
                  <p:rtn val="all"/>
                </p:endSync>
                <p:childTnLst>
                  <p:par>
                    <p:cTn id="237" fill="hold">
                      <p:stCondLst>
                        <p:cond delay="0"/>
                      </p:stCondLst>
                      <p:childTnLst>
                        <p:par>
                          <p:cTn id="238" fill="hold">
                            <p:stCondLst>
                              <p:cond delay="0"/>
                            </p:stCondLst>
                            <p:childTnLst>
                              <p:par>
                                <p:cTn id="239" presetID="26" presetClass="emph" presetSubtype="0" fill="hold" nodeType="clickEffect">
                                  <p:stCondLst>
                                    <p:cond delay="0"/>
                                  </p:stCondLst>
                                  <p:childTnLst>
                                    <p:animEffect transition="out" filter="fade">
                                      <p:cBhvr>
                                        <p:cTn id="240" dur="500" tmFilter="0, 0; .2, .5; .8, .5; 1, 0"/>
                                        <p:tgtEl>
                                          <p:spTgt spid="20"/>
                                        </p:tgtEl>
                                      </p:cBhvr>
                                    </p:animEffect>
                                    <p:animScale>
                                      <p:cBhvr>
                                        <p:cTn id="241" dur="250" autoRev="1" fill="hold"/>
                                        <p:tgtEl>
                                          <p:spTgt spid="20"/>
                                        </p:tgtEl>
                                      </p:cBhvr>
                                      <p:by x="105000" y="105000"/>
                                    </p:animScale>
                                  </p:childTnLst>
                                  <p:subTnLst>
                                    <p:audio>
                                      <p:cMediaNode>
                                        <p:cTn display="0" masterRel="sameClick">
                                          <p:stCondLst>
                                            <p:cond evt="begin" delay="0">
                                              <p:tn val="239"/>
                                            </p:cond>
                                          </p:stCondLst>
                                          <p:endCondLst>
                                            <p:cond evt="onStopAudio" delay="0">
                                              <p:tgtEl>
                                                <p:sldTgt/>
                                              </p:tgtEl>
                                            </p:cond>
                                          </p:endCondLst>
                                        </p:cTn>
                                        <p:tgtEl>
                                          <p:sndTgt r:embed="rId6" name="click.wav"/>
                                        </p:tgtEl>
                                      </p:cMediaNode>
                                    </p:audio>
                                  </p:subTnLst>
                                </p:cTn>
                              </p:par>
                            </p:childTnLst>
                          </p:cTn>
                        </p:par>
                        <p:par>
                          <p:cTn id="242" fill="hold">
                            <p:stCondLst>
                              <p:cond delay="500"/>
                            </p:stCondLst>
                            <p:childTnLst>
                              <p:par>
                                <p:cTn id="243" presetID="1" presetClass="mediacall" presetSubtype="0" fill="hold" nodeType="afterEffect">
                                  <p:stCondLst>
                                    <p:cond delay="0"/>
                                  </p:stCondLst>
                                  <p:childTnLst>
                                    <p:cmd type="call" cmd="playFrom(0.0)">
                                      <p:cBhvr>
                                        <p:cTn id="244" dur="4995" fill="hold"/>
                                        <p:tgtEl>
                                          <p:spTgt spid="7"/>
                                        </p:tgtEl>
                                      </p:cBhvr>
                                    </p:cmd>
                                  </p:childTnLst>
                                </p:cTn>
                              </p:par>
                              <p:par>
                                <p:cTn id="245" presetID="1" presetClass="entr" presetSubtype="0" fill="hold" nodeType="withEffect">
                                  <p:stCondLst>
                                    <p:cond delay="0"/>
                                  </p:stCondLst>
                                  <p:childTnLst>
                                    <p:set>
                                      <p:cBhvr>
                                        <p:cTn id="246" dur="1" fill="hold">
                                          <p:stCondLst>
                                            <p:cond delay="0"/>
                                          </p:stCondLst>
                                        </p:cTn>
                                        <p:tgtEl>
                                          <p:spTgt spid="13"/>
                                        </p:tgtEl>
                                        <p:attrNameLst>
                                          <p:attrName>style.visibility</p:attrName>
                                        </p:attrNameLst>
                                      </p:cBhvr>
                                      <p:to>
                                        <p:strVal val="visible"/>
                                      </p:to>
                                    </p:set>
                                  </p:childTnLst>
                                </p:cTn>
                              </p:par>
                              <p:par>
                                <p:cTn id="247" presetID="63" presetClass="path" presetSubtype="0" accel="50000" decel="50000" fill="hold" nodeType="withEffect">
                                  <p:stCondLst>
                                    <p:cond delay="0"/>
                                  </p:stCondLst>
                                  <p:childTnLst>
                                    <p:animMotion origin="layout" path="M 6.25E-7 -4.81481E-6 L 0.16094 -4.81481E-6 " pathEditMode="relative" rAng="0" ptsTypes="AA">
                                      <p:cBhvr>
                                        <p:cTn id="248" dur="500" fill="hold"/>
                                        <p:tgtEl>
                                          <p:spTgt spid="14"/>
                                        </p:tgtEl>
                                        <p:attrNameLst>
                                          <p:attrName>ppt_x</p:attrName>
                                          <p:attrName>ppt_y</p:attrName>
                                        </p:attrNameLst>
                                      </p:cBhvr>
                                      <p:rCtr x="7591" y="0"/>
                                    </p:animMotion>
                                  </p:childTnLst>
                                </p:cTn>
                              </p:par>
                              <p:par>
                                <p:cTn id="249" presetID="10" presetClass="exit" presetSubtype="0" fill="hold" nodeType="withEffect">
                                  <p:stCondLst>
                                    <p:cond delay="0"/>
                                  </p:stCondLst>
                                  <p:childTnLst>
                                    <p:animEffect transition="out" filter="fade">
                                      <p:cBhvr>
                                        <p:cTn id="250" dur="500"/>
                                        <p:tgtEl>
                                          <p:spTgt spid="31"/>
                                        </p:tgtEl>
                                      </p:cBhvr>
                                    </p:animEffect>
                                    <p:set>
                                      <p:cBhvr>
                                        <p:cTn id="251" dur="1" fill="hold">
                                          <p:stCondLst>
                                            <p:cond delay="499"/>
                                          </p:stCondLst>
                                        </p:cTn>
                                        <p:tgtEl>
                                          <p:spTgt spid="31"/>
                                        </p:tgtEl>
                                        <p:attrNameLst>
                                          <p:attrName>style.visibility</p:attrName>
                                        </p:attrNameLst>
                                      </p:cBhvr>
                                      <p:to>
                                        <p:strVal val="hidden"/>
                                      </p:to>
                                    </p:set>
                                  </p:childTnLst>
                                </p:cTn>
                              </p:par>
                              <p:par>
                                <p:cTn id="252" presetID="10" presetClass="exit" presetSubtype="0" fill="hold" nodeType="withEffect">
                                  <p:stCondLst>
                                    <p:cond delay="0"/>
                                  </p:stCondLst>
                                  <p:childTnLst>
                                    <p:animEffect transition="out" filter="fade">
                                      <p:cBhvr>
                                        <p:cTn id="253" dur="500"/>
                                        <p:tgtEl>
                                          <p:spTgt spid="12"/>
                                        </p:tgtEl>
                                      </p:cBhvr>
                                    </p:animEffect>
                                    <p:set>
                                      <p:cBhvr>
                                        <p:cTn id="254" dur="1" fill="hold">
                                          <p:stCondLst>
                                            <p:cond delay="499"/>
                                          </p:stCondLst>
                                        </p:cTn>
                                        <p:tgtEl>
                                          <p:spTgt spid="12"/>
                                        </p:tgtEl>
                                        <p:attrNameLst>
                                          <p:attrName>style.visibility</p:attrName>
                                        </p:attrNameLst>
                                      </p:cBhvr>
                                      <p:to>
                                        <p:strVal val="hidden"/>
                                      </p:to>
                                    </p:set>
                                  </p:childTnLst>
                                </p:cTn>
                              </p:par>
                              <p:par>
                                <p:cTn id="255" presetID="10" presetClass="exit" presetSubtype="0" fill="hold" nodeType="withEffect">
                                  <p:stCondLst>
                                    <p:cond delay="0"/>
                                  </p:stCondLst>
                                  <p:childTnLst>
                                    <p:animEffect transition="out" filter="fade">
                                      <p:cBhvr>
                                        <p:cTn id="256" dur="500"/>
                                        <p:tgtEl>
                                          <p:spTgt spid="2"/>
                                        </p:tgtEl>
                                      </p:cBhvr>
                                    </p:animEffect>
                                    <p:set>
                                      <p:cBhvr>
                                        <p:cTn id="257" dur="1" fill="hold">
                                          <p:stCondLst>
                                            <p:cond delay="499"/>
                                          </p:stCondLst>
                                        </p:cTn>
                                        <p:tgtEl>
                                          <p:spTgt spid="2"/>
                                        </p:tgtEl>
                                        <p:attrNameLst>
                                          <p:attrName>style.visibility</p:attrName>
                                        </p:attrNameLst>
                                      </p:cBhvr>
                                      <p:to>
                                        <p:strVal val="hidden"/>
                                      </p:to>
                                    </p:set>
                                  </p:childTnLst>
                                </p:cTn>
                              </p:par>
                              <p:par>
                                <p:cTn id="258" presetID="10" presetClass="exit" presetSubtype="0" fill="hold" nodeType="withEffect">
                                  <p:stCondLst>
                                    <p:cond delay="0"/>
                                  </p:stCondLst>
                                  <p:childTnLst>
                                    <p:animEffect transition="out" filter="fade">
                                      <p:cBhvr>
                                        <p:cTn id="259" dur="500"/>
                                        <p:tgtEl>
                                          <p:spTgt spid="16"/>
                                        </p:tgtEl>
                                      </p:cBhvr>
                                    </p:animEffect>
                                    <p:set>
                                      <p:cBhvr>
                                        <p:cTn id="260" dur="1" fill="hold">
                                          <p:stCondLst>
                                            <p:cond delay="499"/>
                                          </p:stCondLst>
                                        </p:cTn>
                                        <p:tgtEl>
                                          <p:spTgt spid="16"/>
                                        </p:tgtEl>
                                        <p:attrNameLst>
                                          <p:attrName>style.visibility</p:attrName>
                                        </p:attrNameLst>
                                      </p:cBhvr>
                                      <p:to>
                                        <p:strVal val="hidden"/>
                                      </p:to>
                                    </p:set>
                                  </p:childTnLst>
                                </p:cTn>
                              </p:par>
                              <p:par>
                                <p:cTn id="261" presetID="10" presetClass="exit" presetSubtype="0" fill="hold" nodeType="withEffect">
                                  <p:stCondLst>
                                    <p:cond delay="0"/>
                                  </p:stCondLst>
                                  <p:childTnLst>
                                    <p:animEffect transition="out" filter="fade">
                                      <p:cBhvr>
                                        <p:cTn id="262" dur="500"/>
                                        <p:tgtEl>
                                          <p:spTgt spid="15"/>
                                        </p:tgtEl>
                                      </p:cBhvr>
                                    </p:animEffect>
                                    <p:set>
                                      <p:cBhvr>
                                        <p:cTn id="263" dur="1" fill="hold">
                                          <p:stCondLst>
                                            <p:cond delay="499"/>
                                          </p:stCondLst>
                                        </p:cTn>
                                        <p:tgtEl>
                                          <p:spTgt spid="15"/>
                                        </p:tgtEl>
                                        <p:attrNameLst>
                                          <p:attrName>style.visibility</p:attrName>
                                        </p:attrNameLst>
                                      </p:cBhvr>
                                      <p:to>
                                        <p:strVal val="hidden"/>
                                      </p:to>
                                    </p:set>
                                  </p:childTnLst>
                                </p:cTn>
                              </p:par>
                              <p:par>
                                <p:cTn id="264" presetID="10" presetClass="exit" presetSubtype="0" fill="hold" nodeType="withEffect">
                                  <p:stCondLst>
                                    <p:cond delay="0"/>
                                  </p:stCondLst>
                                  <p:childTnLst>
                                    <p:animEffect transition="out" filter="fade">
                                      <p:cBhvr>
                                        <p:cTn id="265" dur="500"/>
                                        <p:tgtEl>
                                          <p:spTgt spid="18"/>
                                        </p:tgtEl>
                                      </p:cBhvr>
                                    </p:animEffect>
                                    <p:set>
                                      <p:cBhvr>
                                        <p:cTn id="266" dur="1" fill="hold">
                                          <p:stCondLst>
                                            <p:cond delay="499"/>
                                          </p:stCondLst>
                                        </p:cTn>
                                        <p:tgtEl>
                                          <p:spTgt spid="18"/>
                                        </p:tgtEl>
                                        <p:attrNameLst>
                                          <p:attrName>style.visibility</p:attrName>
                                        </p:attrNameLst>
                                      </p:cBhvr>
                                      <p:to>
                                        <p:strVal val="hidden"/>
                                      </p:to>
                                    </p:set>
                                  </p:childTnLst>
                                </p:cTn>
                              </p:par>
                              <p:par>
                                <p:cTn id="267" presetID="10" presetClass="exit" presetSubtype="0" fill="hold" nodeType="withEffect">
                                  <p:stCondLst>
                                    <p:cond delay="0"/>
                                  </p:stCondLst>
                                  <p:childTnLst>
                                    <p:animEffect transition="out" filter="fade">
                                      <p:cBhvr>
                                        <p:cTn id="268" dur="500"/>
                                        <p:tgtEl>
                                          <p:spTgt spid="20"/>
                                        </p:tgtEl>
                                      </p:cBhvr>
                                    </p:animEffect>
                                    <p:set>
                                      <p:cBhvr>
                                        <p:cTn id="269" dur="1" fill="hold">
                                          <p:stCondLst>
                                            <p:cond delay="499"/>
                                          </p:stCondLst>
                                        </p:cTn>
                                        <p:tgtEl>
                                          <p:spTgt spid="20"/>
                                        </p:tgtEl>
                                        <p:attrNameLst>
                                          <p:attrName>style.visibility</p:attrName>
                                        </p:attrNameLst>
                                      </p:cBhvr>
                                      <p:to>
                                        <p:strVal val="hidden"/>
                                      </p:to>
                                    </p:set>
                                  </p:childTnLst>
                                </p:cTn>
                              </p:par>
                              <p:par>
                                <p:cTn id="270" presetID="10" presetClass="exit" presetSubtype="0" fill="hold" nodeType="withEffect">
                                  <p:stCondLst>
                                    <p:cond delay="0"/>
                                  </p:stCondLst>
                                  <p:childTnLst>
                                    <p:animEffect transition="out" filter="fade">
                                      <p:cBhvr>
                                        <p:cTn id="271" dur="500"/>
                                        <p:tgtEl>
                                          <p:spTgt spid="17"/>
                                        </p:tgtEl>
                                      </p:cBhvr>
                                    </p:animEffect>
                                    <p:set>
                                      <p:cBhvr>
                                        <p:cTn id="272" dur="1" fill="hold">
                                          <p:stCondLst>
                                            <p:cond delay="499"/>
                                          </p:stCondLst>
                                        </p:cTn>
                                        <p:tgtEl>
                                          <p:spTgt spid="17"/>
                                        </p:tgtEl>
                                        <p:attrNameLst>
                                          <p:attrName>style.visibility</p:attrName>
                                        </p:attrNameLst>
                                      </p:cBhvr>
                                      <p:to>
                                        <p:strVal val="hidden"/>
                                      </p:to>
                                    </p:set>
                                  </p:childTnLst>
                                </p:cTn>
                              </p:par>
                              <p:par>
                                <p:cTn id="273" presetID="10" presetClass="exit" presetSubtype="0" fill="hold" nodeType="withEffect">
                                  <p:stCondLst>
                                    <p:cond delay="0"/>
                                  </p:stCondLst>
                                  <p:childTnLst>
                                    <p:animEffect transition="out" filter="fade">
                                      <p:cBhvr>
                                        <p:cTn id="274" dur="500"/>
                                        <p:tgtEl>
                                          <p:spTgt spid="21"/>
                                        </p:tgtEl>
                                      </p:cBhvr>
                                    </p:animEffect>
                                    <p:set>
                                      <p:cBhvr>
                                        <p:cTn id="275" dur="1" fill="hold">
                                          <p:stCondLst>
                                            <p:cond delay="499"/>
                                          </p:stCondLst>
                                        </p:cTn>
                                        <p:tgtEl>
                                          <p:spTgt spid="21"/>
                                        </p:tgtEl>
                                        <p:attrNameLst>
                                          <p:attrName>style.visibility</p:attrName>
                                        </p:attrNameLst>
                                      </p:cBhvr>
                                      <p:to>
                                        <p:strVal val="hidden"/>
                                      </p:to>
                                    </p:set>
                                  </p:childTnLst>
                                </p:cTn>
                              </p:par>
                              <p:par>
                                <p:cTn id="276" presetID="10" presetClass="exit" presetSubtype="0" fill="hold" nodeType="withEffect">
                                  <p:stCondLst>
                                    <p:cond delay="0"/>
                                  </p:stCondLst>
                                  <p:childTnLst>
                                    <p:animEffect transition="out" filter="fade">
                                      <p:cBhvr>
                                        <p:cTn id="277" dur="500"/>
                                        <p:tgtEl>
                                          <p:spTgt spid="19"/>
                                        </p:tgtEl>
                                      </p:cBhvr>
                                    </p:animEffect>
                                    <p:set>
                                      <p:cBhvr>
                                        <p:cTn id="278" dur="1" fill="hold">
                                          <p:stCondLst>
                                            <p:cond delay="499"/>
                                          </p:stCondLst>
                                        </p:cTn>
                                        <p:tgtEl>
                                          <p:spTgt spid="19"/>
                                        </p:tgtEl>
                                        <p:attrNameLst>
                                          <p:attrName>style.visibility</p:attrName>
                                        </p:attrNameLst>
                                      </p:cBhvr>
                                      <p:to>
                                        <p:strVal val="hidden"/>
                                      </p:to>
                                    </p:set>
                                  </p:childTnLst>
                                </p:cTn>
                              </p:par>
                              <p:par>
                                <p:cTn id="279" presetID="10" presetClass="exit" presetSubtype="0" fill="hold" nodeType="withEffect">
                                  <p:stCondLst>
                                    <p:cond delay="0"/>
                                  </p:stCondLst>
                                  <p:childTnLst>
                                    <p:animEffect transition="out" filter="fade">
                                      <p:cBhvr>
                                        <p:cTn id="280" dur="500"/>
                                        <p:tgtEl>
                                          <p:spTgt spid="4"/>
                                        </p:tgtEl>
                                      </p:cBhvr>
                                    </p:animEffect>
                                    <p:set>
                                      <p:cBhvr>
                                        <p:cTn id="281" dur="1" fill="hold">
                                          <p:stCondLst>
                                            <p:cond delay="499"/>
                                          </p:stCondLst>
                                        </p:cTn>
                                        <p:tgtEl>
                                          <p:spTgt spid="4"/>
                                        </p:tgtEl>
                                        <p:attrNameLst>
                                          <p:attrName>style.visibility</p:attrName>
                                        </p:attrNameLst>
                                      </p:cBhvr>
                                      <p:to>
                                        <p:strVal val="hidden"/>
                                      </p:to>
                                    </p:set>
                                  </p:childTnLst>
                                </p:cTn>
                              </p:par>
                              <p:par>
                                <p:cTn id="282" presetID="10" presetClass="exit" presetSubtype="0" fill="hold" nodeType="withEffect">
                                  <p:stCondLst>
                                    <p:cond delay="0"/>
                                  </p:stCondLst>
                                  <p:childTnLst>
                                    <p:animEffect transition="out" filter="fade">
                                      <p:cBhvr>
                                        <p:cTn id="283" dur="500"/>
                                        <p:tgtEl>
                                          <p:spTgt spid="6"/>
                                        </p:tgtEl>
                                      </p:cBhvr>
                                    </p:animEffect>
                                    <p:set>
                                      <p:cBhvr>
                                        <p:cTn id="284"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285" restart="whenNotActive" fill="hold" evtFilter="cancelBubble" nodeType="interactiveSeq">
                <p:stCondLst>
                  <p:cond evt="onClick" delay="0">
                    <p:tgtEl>
                      <p:spTgt spid="21"/>
                    </p:tgtEl>
                  </p:cond>
                </p:stCondLst>
                <p:endSync evt="end" delay="0">
                  <p:rtn val="all"/>
                </p:endSync>
                <p:childTnLst>
                  <p:par>
                    <p:cTn id="286" fill="hold">
                      <p:stCondLst>
                        <p:cond delay="0"/>
                      </p:stCondLst>
                      <p:childTnLst>
                        <p:par>
                          <p:cTn id="287" fill="hold">
                            <p:stCondLst>
                              <p:cond delay="0"/>
                            </p:stCondLst>
                            <p:childTnLst>
                              <p:par>
                                <p:cTn id="288" presetID="26" presetClass="emph" presetSubtype="0" fill="hold" nodeType="clickEffect">
                                  <p:stCondLst>
                                    <p:cond delay="0"/>
                                  </p:stCondLst>
                                  <p:childTnLst>
                                    <p:animEffect transition="out" filter="fade">
                                      <p:cBhvr>
                                        <p:cTn id="289" dur="500" tmFilter="0, 0; .2, .5; .8, .5; 1, 0"/>
                                        <p:tgtEl>
                                          <p:spTgt spid="21"/>
                                        </p:tgtEl>
                                      </p:cBhvr>
                                    </p:animEffect>
                                    <p:animScale>
                                      <p:cBhvr>
                                        <p:cTn id="290" dur="250" autoRev="1" fill="hold"/>
                                        <p:tgtEl>
                                          <p:spTgt spid="21"/>
                                        </p:tgtEl>
                                      </p:cBhvr>
                                      <p:by x="105000" y="105000"/>
                                    </p:animScale>
                                  </p:childTnLst>
                                  <p:subTnLst>
                                    <p:audio>
                                      <p:cMediaNode>
                                        <p:cTn display="0" masterRel="sameClick">
                                          <p:stCondLst>
                                            <p:cond evt="begin" delay="0">
                                              <p:tn val="288"/>
                                            </p:cond>
                                          </p:stCondLst>
                                          <p:endCondLst>
                                            <p:cond evt="onStopAudio" delay="0">
                                              <p:tgtEl>
                                                <p:sldTgt/>
                                              </p:tgtEl>
                                            </p:cond>
                                          </p:endCondLst>
                                        </p:cTn>
                                        <p:tgtEl>
                                          <p:sndTgt r:embed="rId6" name="click.wav"/>
                                        </p:tgtEl>
                                      </p:cMediaNode>
                                    </p:audio>
                                  </p:subTnLst>
                                </p:cTn>
                              </p:par>
                            </p:childTnLst>
                          </p:cTn>
                        </p:par>
                        <p:par>
                          <p:cTn id="291" fill="hold">
                            <p:stCondLst>
                              <p:cond delay="500"/>
                            </p:stCondLst>
                            <p:childTnLst>
                              <p:par>
                                <p:cTn id="292" presetID="1" presetClass="mediacall" presetSubtype="0" fill="hold" nodeType="afterEffect">
                                  <p:stCondLst>
                                    <p:cond delay="0"/>
                                  </p:stCondLst>
                                  <p:childTnLst>
                                    <p:cmd type="call" cmd="playFrom(0.0)">
                                      <p:cBhvr>
                                        <p:cTn id="293" dur="4995" fill="hold"/>
                                        <p:tgtEl>
                                          <p:spTgt spid="7"/>
                                        </p:tgtEl>
                                      </p:cBhvr>
                                    </p:cmd>
                                  </p:childTnLst>
                                </p:cTn>
                              </p:par>
                              <p:par>
                                <p:cTn id="294" presetID="1" presetClass="entr" presetSubtype="0" fill="hold" nodeType="withEffect">
                                  <p:stCondLst>
                                    <p:cond delay="0"/>
                                  </p:stCondLst>
                                  <p:childTnLst>
                                    <p:set>
                                      <p:cBhvr>
                                        <p:cTn id="295" dur="1" fill="hold">
                                          <p:stCondLst>
                                            <p:cond delay="0"/>
                                          </p:stCondLst>
                                        </p:cTn>
                                        <p:tgtEl>
                                          <p:spTgt spid="13"/>
                                        </p:tgtEl>
                                        <p:attrNameLst>
                                          <p:attrName>style.visibility</p:attrName>
                                        </p:attrNameLst>
                                      </p:cBhvr>
                                      <p:to>
                                        <p:strVal val="visible"/>
                                      </p:to>
                                    </p:set>
                                  </p:childTnLst>
                                </p:cTn>
                              </p:par>
                              <p:par>
                                <p:cTn id="296" presetID="63" presetClass="path" presetSubtype="0" accel="50000" decel="50000" fill="hold" nodeType="withEffect">
                                  <p:stCondLst>
                                    <p:cond delay="0"/>
                                  </p:stCondLst>
                                  <p:childTnLst>
                                    <p:animMotion origin="layout" path="M 6.25E-7 -4.81481E-6 L 0.16093 -4.81481E-6 " pathEditMode="relative" rAng="0" ptsTypes="AA">
                                      <p:cBhvr>
                                        <p:cTn id="297" dur="500" fill="hold"/>
                                        <p:tgtEl>
                                          <p:spTgt spid="14"/>
                                        </p:tgtEl>
                                        <p:attrNameLst>
                                          <p:attrName>ppt_x</p:attrName>
                                          <p:attrName>ppt_y</p:attrName>
                                        </p:attrNameLst>
                                      </p:cBhvr>
                                      <p:rCtr x="7956" y="0"/>
                                    </p:animMotion>
                                  </p:childTnLst>
                                </p:cTn>
                              </p:par>
                              <p:par>
                                <p:cTn id="298" presetID="10" presetClass="exit" presetSubtype="0" fill="hold" nodeType="withEffect">
                                  <p:stCondLst>
                                    <p:cond delay="0"/>
                                  </p:stCondLst>
                                  <p:childTnLst>
                                    <p:animEffect transition="out" filter="fade">
                                      <p:cBhvr>
                                        <p:cTn id="299" dur="500"/>
                                        <p:tgtEl>
                                          <p:spTgt spid="31"/>
                                        </p:tgtEl>
                                      </p:cBhvr>
                                    </p:animEffect>
                                    <p:set>
                                      <p:cBhvr>
                                        <p:cTn id="300" dur="1" fill="hold">
                                          <p:stCondLst>
                                            <p:cond delay="499"/>
                                          </p:stCondLst>
                                        </p:cTn>
                                        <p:tgtEl>
                                          <p:spTgt spid="31"/>
                                        </p:tgtEl>
                                        <p:attrNameLst>
                                          <p:attrName>style.visibility</p:attrName>
                                        </p:attrNameLst>
                                      </p:cBhvr>
                                      <p:to>
                                        <p:strVal val="hidden"/>
                                      </p:to>
                                    </p:set>
                                  </p:childTnLst>
                                </p:cTn>
                              </p:par>
                              <p:par>
                                <p:cTn id="301" presetID="10" presetClass="exit" presetSubtype="0" fill="hold" nodeType="withEffect">
                                  <p:stCondLst>
                                    <p:cond delay="0"/>
                                  </p:stCondLst>
                                  <p:childTnLst>
                                    <p:animEffect transition="out" filter="fade">
                                      <p:cBhvr>
                                        <p:cTn id="302" dur="500"/>
                                        <p:tgtEl>
                                          <p:spTgt spid="12"/>
                                        </p:tgtEl>
                                      </p:cBhvr>
                                    </p:animEffect>
                                    <p:set>
                                      <p:cBhvr>
                                        <p:cTn id="303" dur="1" fill="hold">
                                          <p:stCondLst>
                                            <p:cond delay="499"/>
                                          </p:stCondLst>
                                        </p:cTn>
                                        <p:tgtEl>
                                          <p:spTgt spid="12"/>
                                        </p:tgtEl>
                                        <p:attrNameLst>
                                          <p:attrName>style.visibility</p:attrName>
                                        </p:attrNameLst>
                                      </p:cBhvr>
                                      <p:to>
                                        <p:strVal val="hidden"/>
                                      </p:to>
                                    </p:set>
                                  </p:childTnLst>
                                </p:cTn>
                              </p:par>
                              <p:par>
                                <p:cTn id="304" presetID="10" presetClass="exit" presetSubtype="0" fill="hold" nodeType="withEffect">
                                  <p:stCondLst>
                                    <p:cond delay="0"/>
                                  </p:stCondLst>
                                  <p:childTnLst>
                                    <p:animEffect transition="out" filter="fade">
                                      <p:cBhvr>
                                        <p:cTn id="305" dur="500"/>
                                        <p:tgtEl>
                                          <p:spTgt spid="2"/>
                                        </p:tgtEl>
                                      </p:cBhvr>
                                    </p:animEffect>
                                    <p:set>
                                      <p:cBhvr>
                                        <p:cTn id="306" dur="1" fill="hold">
                                          <p:stCondLst>
                                            <p:cond delay="499"/>
                                          </p:stCondLst>
                                        </p:cTn>
                                        <p:tgtEl>
                                          <p:spTgt spid="2"/>
                                        </p:tgtEl>
                                        <p:attrNameLst>
                                          <p:attrName>style.visibility</p:attrName>
                                        </p:attrNameLst>
                                      </p:cBhvr>
                                      <p:to>
                                        <p:strVal val="hidden"/>
                                      </p:to>
                                    </p:set>
                                  </p:childTnLst>
                                </p:cTn>
                              </p:par>
                              <p:par>
                                <p:cTn id="307" presetID="10" presetClass="exit" presetSubtype="0" fill="hold" nodeType="withEffect">
                                  <p:stCondLst>
                                    <p:cond delay="0"/>
                                  </p:stCondLst>
                                  <p:childTnLst>
                                    <p:animEffect transition="out" filter="fade">
                                      <p:cBhvr>
                                        <p:cTn id="308" dur="500"/>
                                        <p:tgtEl>
                                          <p:spTgt spid="16"/>
                                        </p:tgtEl>
                                      </p:cBhvr>
                                    </p:animEffect>
                                    <p:set>
                                      <p:cBhvr>
                                        <p:cTn id="309" dur="1" fill="hold">
                                          <p:stCondLst>
                                            <p:cond delay="499"/>
                                          </p:stCondLst>
                                        </p:cTn>
                                        <p:tgtEl>
                                          <p:spTgt spid="16"/>
                                        </p:tgtEl>
                                        <p:attrNameLst>
                                          <p:attrName>style.visibility</p:attrName>
                                        </p:attrNameLst>
                                      </p:cBhvr>
                                      <p:to>
                                        <p:strVal val="hidden"/>
                                      </p:to>
                                    </p:set>
                                  </p:childTnLst>
                                </p:cTn>
                              </p:par>
                              <p:par>
                                <p:cTn id="310" presetID="10" presetClass="exit" presetSubtype="0" fill="hold" nodeType="withEffect">
                                  <p:stCondLst>
                                    <p:cond delay="0"/>
                                  </p:stCondLst>
                                  <p:childTnLst>
                                    <p:animEffect transition="out" filter="fade">
                                      <p:cBhvr>
                                        <p:cTn id="311" dur="500"/>
                                        <p:tgtEl>
                                          <p:spTgt spid="15"/>
                                        </p:tgtEl>
                                      </p:cBhvr>
                                    </p:animEffect>
                                    <p:set>
                                      <p:cBhvr>
                                        <p:cTn id="312" dur="1" fill="hold">
                                          <p:stCondLst>
                                            <p:cond delay="499"/>
                                          </p:stCondLst>
                                        </p:cTn>
                                        <p:tgtEl>
                                          <p:spTgt spid="15"/>
                                        </p:tgtEl>
                                        <p:attrNameLst>
                                          <p:attrName>style.visibility</p:attrName>
                                        </p:attrNameLst>
                                      </p:cBhvr>
                                      <p:to>
                                        <p:strVal val="hidden"/>
                                      </p:to>
                                    </p:set>
                                  </p:childTnLst>
                                </p:cTn>
                              </p:par>
                              <p:par>
                                <p:cTn id="313" presetID="10" presetClass="exit" presetSubtype="0" fill="hold" nodeType="withEffect">
                                  <p:stCondLst>
                                    <p:cond delay="0"/>
                                  </p:stCondLst>
                                  <p:childTnLst>
                                    <p:animEffect transition="out" filter="fade">
                                      <p:cBhvr>
                                        <p:cTn id="314" dur="500"/>
                                        <p:tgtEl>
                                          <p:spTgt spid="18"/>
                                        </p:tgtEl>
                                      </p:cBhvr>
                                    </p:animEffect>
                                    <p:set>
                                      <p:cBhvr>
                                        <p:cTn id="315" dur="1" fill="hold">
                                          <p:stCondLst>
                                            <p:cond delay="499"/>
                                          </p:stCondLst>
                                        </p:cTn>
                                        <p:tgtEl>
                                          <p:spTgt spid="18"/>
                                        </p:tgtEl>
                                        <p:attrNameLst>
                                          <p:attrName>style.visibility</p:attrName>
                                        </p:attrNameLst>
                                      </p:cBhvr>
                                      <p:to>
                                        <p:strVal val="hidden"/>
                                      </p:to>
                                    </p:set>
                                  </p:childTnLst>
                                </p:cTn>
                              </p:par>
                              <p:par>
                                <p:cTn id="316" presetID="10" presetClass="exit" presetSubtype="0" fill="hold" nodeType="withEffect">
                                  <p:stCondLst>
                                    <p:cond delay="0"/>
                                  </p:stCondLst>
                                  <p:childTnLst>
                                    <p:animEffect transition="out" filter="fade">
                                      <p:cBhvr>
                                        <p:cTn id="317" dur="500"/>
                                        <p:tgtEl>
                                          <p:spTgt spid="20"/>
                                        </p:tgtEl>
                                      </p:cBhvr>
                                    </p:animEffect>
                                    <p:set>
                                      <p:cBhvr>
                                        <p:cTn id="318" dur="1" fill="hold">
                                          <p:stCondLst>
                                            <p:cond delay="499"/>
                                          </p:stCondLst>
                                        </p:cTn>
                                        <p:tgtEl>
                                          <p:spTgt spid="20"/>
                                        </p:tgtEl>
                                        <p:attrNameLst>
                                          <p:attrName>style.visibility</p:attrName>
                                        </p:attrNameLst>
                                      </p:cBhvr>
                                      <p:to>
                                        <p:strVal val="hidden"/>
                                      </p:to>
                                    </p:set>
                                  </p:childTnLst>
                                </p:cTn>
                              </p:par>
                              <p:par>
                                <p:cTn id="319" presetID="10" presetClass="exit" presetSubtype="0" fill="hold" nodeType="withEffect">
                                  <p:stCondLst>
                                    <p:cond delay="0"/>
                                  </p:stCondLst>
                                  <p:childTnLst>
                                    <p:animEffect transition="out" filter="fade">
                                      <p:cBhvr>
                                        <p:cTn id="320" dur="500"/>
                                        <p:tgtEl>
                                          <p:spTgt spid="17"/>
                                        </p:tgtEl>
                                      </p:cBhvr>
                                    </p:animEffect>
                                    <p:set>
                                      <p:cBhvr>
                                        <p:cTn id="321" dur="1" fill="hold">
                                          <p:stCondLst>
                                            <p:cond delay="499"/>
                                          </p:stCondLst>
                                        </p:cTn>
                                        <p:tgtEl>
                                          <p:spTgt spid="17"/>
                                        </p:tgtEl>
                                        <p:attrNameLst>
                                          <p:attrName>style.visibility</p:attrName>
                                        </p:attrNameLst>
                                      </p:cBhvr>
                                      <p:to>
                                        <p:strVal val="hidden"/>
                                      </p:to>
                                    </p:set>
                                  </p:childTnLst>
                                </p:cTn>
                              </p:par>
                              <p:par>
                                <p:cTn id="322" presetID="10" presetClass="exit" presetSubtype="0" fill="hold" nodeType="withEffect">
                                  <p:stCondLst>
                                    <p:cond delay="0"/>
                                  </p:stCondLst>
                                  <p:childTnLst>
                                    <p:animEffect transition="out" filter="fade">
                                      <p:cBhvr>
                                        <p:cTn id="323" dur="500"/>
                                        <p:tgtEl>
                                          <p:spTgt spid="21"/>
                                        </p:tgtEl>
                                      </p:cBhvr>
                                    </p:animEffect>
                                    <p:set>
                                      <p:cBhvr>
                                        <p:cTn id="324" dur="1" fill="hold">
                                          <p:stCondLst>
                                            <p:cond delay="499"/>
                                          </p:stCondLst>
                                        </p:cTn>
                                        <p:tgtEl>
                                          <p:spTgt spid="21"/>
                                        </p:tgtEl>
                                        <p:attrNameLst>
                                          <p:attrName>style.visibility</p:attrName>
                                        </p:attrNameLst>
                                      </p:cBhvr>
                                      <p:to>
                                        <p:strVal val="hidden"/>
                                      </p:to>
                                    </p:set>
                                  </p:childTnLst>
                                </p:cTn>
                              </p:par>
                              <p:par>
                                <p:cTn id="325" presetID="10" presetClass="exit" presetSubtype="0" fill="hold" nodeType="withEffect">
                                  <p:stCondLst>
                                    <p:cond delay="0"/>
                                  </p:stCondLst>
                                  <p:childTnLst>
                                    <p:animEffect transition="out" filter="fade">
                                      <p:cBhvr>
                                        <p:cTn id="326" dur="500"/>
                                        <p:tgtEl>
                                          <p:spTgt spid="19"/>
                                        </p:tgtEl>
                                      </p:cBhvr>
                                    </p:animEffect>
                                    <p:set>
                                      <p:cBhvr>
                                        <p:cTn id="327" dur="1" fill="hold">
                                          <p:stCondLst>
                                            <p:cond delay="499"/>
                                          </p:stCondLst>
                                        </p:cTn>
                                        <p:tgtEl>
                                          <p:spTgt spid="19"/>
                                        </p:tgtEl>
                                        <p:attrNameLst>
                                          <p:attrName>style.visibility</p:attrName>
                                        </p:attrNameLst>
                                      </p:cBhvr>
                                      <p:to>
                                        <p:strVal val="hidden"/>
                                      </p:to>
                                    </p:set>
                                  </p:childTnLst>
                                </p:cTn>
                              </p:par>
                              <p:par>
                                <p:cTn id="328" presetID="10" presetClass="exit" presetSubtype="0" fill="hold" nodeType="withEffect">
                                  <p:stCondLst>
                                    <p:cond delay="0"/>
                                  </p:stCondLst>
                                  <p:childTnLst>
                                    <p:animEffect transition="out" filter="fade">
                                      <p:cBhvr>
                                        <p:cTn id="329" dur="500"/>
                                        <p:tgtEl>
                                          <p:spTgt spid="4"/>
                                        </p:tgtEl>
                                      </p:cBhvr>
                                    </p:animEffect>
                                    <p:set>
                                      <p:cBhvr>
                                        <p:cTn id="330" dur="1" fill="hold">
                                          <p:stCondLst>
                                            <p:cond delay="499"/>
                                          </p:stCondLst>
                                        </p:cTn>
                                        <p:tgtEl>
                                          <p:spTgt spid="4"/>
                                        </p:tgtEl>
                                        <p:attrNameLst>
                                          <p:attrName>style.visibility</p:attrName>
                                        </p:attrNameLst>
                                      </p:cBhvr>
                                      <p:to>
                                        <p:strVal val="hidden"/>
                                      </p:to>
                                    </p:set>
                                  </p:childTnLst>
                                </p:cTn>
                              </p:par>
                              <p:par>
                                <p:cTn id="331" presetID="10" presetClass="exit" presetSubtype="0" fill="hold" nodeType="withEffect">
                                  <p:stCondLst>
                                    <p:cond delay="0"/>
                                  </p:stCondLst>
                                  <p:childTnLst>
                                    <p:animEffect transition="out" filter="fade">
                                      <p:cBhvr>
                                        <p:cTn id="332" dur="500"/>
                                        <p:tgtEl>
                                          <p:spTgt spid="6"/>
                                        </p:tgtEl>
                                      </p:cBhvr>
                                    </p:animEffect>
                                    <p:set>
                                      <p:cBhvr>
                                        <p:cTn id="333"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1"/>
                  </p:tgtEl>
                </p:cond>
              </p:nextCondLst>
            </p:seq>
            <p:audio>
              <p:cMediaNode vol="51220">
                <p:cTn id="334" fill="hold" display="0">
                  <p:stCondLst>
                    <p:cond delay="indefinite"/>
                  </p:stCondLst>
                  <p:endCondLst>
                    <p:cond evt="onStopAudio" delay="0">
                      <p:tgtEl>
                        <p:sldTgt/>
                      </p:tgtEl>
                    </p:cond>
                  </p:endCondLst>
                </p:cTn>
                <p:tgtEl>
                  <p:spTgt spid="7"/>
                </p:tgtEl>
              </p:cMediaNode>
            </p:audio>
            <p:audio>
              <p:cMediaNode vol="46341">
                <p:cTn id="335" fill="hold" display="0">
                  <p:stCondLst>
                    <p:cond delay="indefinite"/>
                  </p:stCondLst>
                  <p:endCondLst>
                    <p:cond evt="onStopAudio" delay="0">
                      <p:tgtEl>
                        <p:sldTgt/>
                      </p:tgtEl>
                    </p:cond>
                  </p:endCondLst>
                </p:cTn>
                <p:tgtEl>
                  <p:spTgt spid="22"/>
                </p:tgtEl>
              </p:cMediaNode>
            </p:audio>
            <p:seq concurrent="1" nextAc="seek">
              <p:cTn id="336" restart="whenNotActive" fill="hold" evtFilter="cancelBubble" nodeType="interactiveSeq">
                <p:stCondLst>
                  <p:cond evt="onClick" delay="0">
                    <p:tgtEl>
                      <p:spTgt spid="46"/>
                    </p:tgtEl>
                  </p:cond>
                </p:stCondLst>
                <p:endSync evt="end" delay="0">
                  <p:rtn val="all"/>
                </p:endSync>
                <p:childTnLst>
                  <p:par>
                    <p:cTn id="337" fill="hold">
                      <p:stCondLst>
                        <p:cond delay="0"/>
                      </p:stCondLst>
                      <p:childTnLst>
                        <p:par>
                          <p:cTn id="338" fill="hold">
                            <p:stCondLst>
                              <p:cond delay="0"/>
                            </p:stCondLst>
                            <p:childTnLst>
                              <p:par>
                                <p:cTn id="339" presetID="26" presetClass="emph" presetSubtype="0" fill="hold" nodeType="clickEffect">
                                  <p:stCondLst>
                                    <p:cond delay="0"/>
                                  </p:stCondLst>
                                  <p:childTnLst>
                                    <p:animEffect transition="out" filter="fade">
                                      <p:cBhvr>
                                        <p:cTn id="340" dur="500" tmFilter="0, 0; .2, .5; .8, .5; 1, 0"/>
                                        <p:tgtEl>
                                          <p:spTgt spid="46"/>
                                        </p:tgtEl>
                                      </p:cBhvr>
                                    </p:animEffect>
                                    <p:animScale>
                                      <p:cBhvr>
                                        <p:cTn id="341" dur="250" autoRev="1" fill="hold"/>
                                        <p:tgtEl>
                                          <p:spTgt spid="46"/>
                                        </p:tgtEl>
                                      </p:cBhvr>
                                      <p:by x="105000" y="105000"/>
                                    </p:animScale>
                                  </p:childTnLst>
                                  <p:subTnLst>
                                    <p:audio>
                                      <p:cMediaNode>
                                        <p:cTn display="0" masterRel="sameClick">
                                          <p:stCondLst>
                                            <p:cond evt="begin" delay="0">
                                              <p:tn val="339"/>
                                            </p:cond>
                                          </p:stCondLst>
                                          <p:endCondLst>
                                            <p:cond evt="onStopAudio" delay="0">
                                              <p:tgtEl>
                                                <p:sldTgt/>
                                              </p:tgtEl>
                                            </p:cond>
                                          </p:endCondLst>
                                        </p:cTn>
                                        <p:tgtEl>
                                          <p:sndTgt r:embed="rId6" name="click.wav"/>
                                        </p:tgtEl>
                                      </p:cMediaNode>
                                    </p:audio>
                                  </p:subTnLst>
                                </p:cTn>
                              </p:par>
                            </p:childTnLst>
                          </p:cTn>
                        </p:par>
                      </p:childTnLst>
                    </p:cTn>
                  </p:par>
                </p:childTnLst>
              </p:cTn>
              <p:nextCondLst>
                <p:cond evt="onClick" delay="0">
                  <p:tgtEl>
                    <p:spTgt spid="46"/>
                  </p:tgtEl>
                </p:cond>
              </p:nextCondLst>
            </p:seq>
            <p:seq concurrent="1" nextAc="seek">
              <p:cTn id="342" restart="whenNotActive" fill="hold" evtFilter="cancelBubble" nodeType="interactiveSeq">
                <p:stCondLst>
                  <p:cond evt="onClick" delay="0">
                    <p:tgtEl>
                      <p:spTgt spid="45"/>
                    </p:tgtEl>
                  </p:cond>
                </p:stCondLst>
                <p:endSync evt="end" delay="0">
                  <p:rtn val="all"/>
                </p:endSync>
                <p:childTnLst>
                  <p:par>
                    <p:cTn id="343" fill="hold">
                      <p:stCondLst>
                        <p:cond delay="0"/>
                      </p:stCondLst>
                      <p:childTnLst>
                        <p:par>
                          <p:cTn id="344" fill="hold">
                            <p:stCondLst>
                              <p:cond delay="0"/>
                            </p:stCondLst>
                            <p:childTnLst>
                              <p:par>
                                <p:cTn id="345" presetID="26" presetClass="emph" presetSubtype="0" fill="hold" nodeType="clickEffect">
                                  <p:stCondLst>
                                    <p:cond delay="0"/>
                                  </p:stCondLst>
                                  <p:childTnLst>
                                    <p:animEffect transition="out" filter="fade">
                                      <p:cBhvr>
                                        <p:cTn id="346" dur="500" tmFilter="0, 0; .2, .5; .8, .5; 1, 0"/>
                                        <p:tgtEl>
                                          <p:spTgt spid="45"/>
                                        </p:tgtEl>
                                      </p:cBhvr>
                                    </p:animEffect>
                                    <p:animScale>
                                      <p:cBhvr>
                                        <p:cTn id="347" dur="250" autoRev="1" fill="hold"/>
                                        <p:tgtEl>
                                          <p:spTgt spid="45"/>
                                        </p:tgtEl>
                                      </p:cBhvr>
                                      <p:by x="105000" y="105000"/>
                                    </p:animScale>
                                  </p:childTnLst>
                                  <p:subTnLst>
                                    <p:audio>
                                      <p:cMediaNode>
                                        <p:cTn display="0" masterRel="sameClick">
                                          <p:stCondLst>
                                            <p:cond evt="begin" delay="0">
                                              <p:tn val="345"/>
                                            </p:cond>
                                          </p:stCondLst>
                                          <p:endCondLst>
                                            <p:cond evt="onStopAudio" delay="0">
                                              <p:tgtEl>
                                                <p:sldTgt/>
                                              </p:tgtEl>
                                            </p:cond>
                                          </p:endCondLst>
                                        </p:cTn>
                                        <p:tgtEl>
                                          <p:sndTgt r:embed="rId6" name="click.wav"/>
                                        </p:tgtEl>
                                      </p:cMediaNode>
                                    </p:audio>
                                  </p:subTnLst>
                                </p:cTn>
                              </p:par>
                            </p:childTnLst>
                          </p:cTn>
                        </p:par>
                      </p:childTnLst>
                    </p:cTn>
                  </p:par>
                </p:childTnLst>
              </p:cTn>
              <p:nextCondLst>
                <p:cond evt="onClick" delay="0">
                  <p:tgtEl>
                    <p:spTgt spid="45"/>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5CA96DE-78A4-4D71-9018-4AC46FF435DE}"/>
              </a:ext>
            </a:extLst>
          </p:cNvPr>
          <p:cNvPicPr>
            <a:picLocks noChangeAspect="1"/>
          </p:cNvPicPr>
          <p:nvPr/>
        </p:nvPicPr>
        <p:blipFill>
          <a:blip r:embed="rId7"/>
          <a:stretch>
            <a:fillRect/>
          </a:stretch>
        </p:blipFill>
        <p:spPr>
          <a:xfrm>
            <a:off x="-7503" y="-1393287"/>
            <a:ext cx="9151502" cy="6536787"/>
          </a:xfrm>
          <a:prstGeom prst="rect">
            <a:avLst/>
          </a:prstGeom>
        </p:spPr>
      </p:pic>
      <p:pic>
        <p:nvPicPr>
          <p:cNvPr id="33" name="Picture 32">
            <a:extLst>
              <a:ext uri="{FF2B5EF4-FFF2-40B4-BE49-F238E27FC236}">
                <a16:creationId xmlns:a16="http://schemas.microsoft.com/office/drawing/2014/main" id="{734ECCA8-0C93-4070-BC07-21CD5B1A208E}"/>
              </a:ext>
            </a:extLst>
          </p:cNvPr>
          <p:cNvPicPr>
            <a:picLocks noChangeAspect="1"/>
          </p:cNvPicPr>
          <p:nvPr/>
        </p:nvPicPr>
        <p:blipFill>
          <a:blip r:embed="rId8"/>
          <a:stretch>
            <a:fillRect/>
          </a:stretch>
        </p:blipFill>
        <p:spPr>
          <a:xfrm>
            <a:off x="0" y="-1387928"/>
            <a:ext cx="9144000" cy="6531428"/>
          </a:xfrm>
          <a:prstGeom prst="rect">
            <a:avLst/>
          </a:prstGeom>
        </p:spPr>
      </p:pic>
      <p:pic>
        <p:nvPicPr>
          <p:cNvPr id="4" name="Picture 3">
            <a:extLst>
              <a:ext uri="{FF2B5EF4-FFF2-40B4-BE49-F238E27FC236}">
                <a16:creationId xmlns:a16="http://schemas.microsoft.com/office/drawing/2014/main" id="{BDC1A603-354F-435D-AEB7-58626DEC55F5}"/>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502" y="-1393849"/>
            <a:ext cx="9151502" cy="6535951"/>
          </a:xfrm>
          <a:prstGeom prst="rect">
            <a:avLst/>
          </a:prstGeom>
        </p:spPr>
      </p:pic>
      <p:pic>
        <p:nvPicPr>
          <p:cNvPr id="21" name="Picture 20">
            <a:extLst>
              <a:ext uri="{FF2B5EF4-FFF2-40B4-BE49-F238E27FC236}">
                <a16:creationId xmlns:a16="http://schemas.microsoft.com/office/drawing/2014/main" id="{101CE774-744F-4C7A-9955-F73491C34842}"/>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4635252" y="2289232"/>
            <a:ext cx="1001354" cy="727011"/>
          </a:xfrm>
          <a:prstGeom prst="rect">
            <a:avLst/>
          </a:prstGeom>
        </p:spPr>
      </p:pic>
      <p:pic>
        <p:nvPicPr>
          <p:cNvPr id="20" name="Picture 19">
            <a:extLst>
              <a:ext uri="{FF2B5EF4-FFF2-40B4-BE49-F238E27FC236}">
                <a16:creationId xmlns:a16="http://schemas.microsoft.com/office/drawing/2014/main" id="{DB788A32-C95B-4003-9294-ED973E5BF647}"/>
              </a:ext>
            </a:extLst>
          </p:cNvPr>
          <p:cNvPicPr>
            <a:picLocks noChangeAspect="1"/>
          </p:cNvPicPr>
          <p:nvPr/>
        </p:nvPicPr>
        <p:blipFill>
          <a:blip r:embed="rId11"/>
          <a:stretch>
            <a:fillRect/>
          </a:stretch>
        </p:blipFill>
        <p:spPr>
          <a:xfrm>
            <a:off x="3405479" y="3911986"/>
            <a:ext cx="1010500" cy="722438"/>
          </a:xfrm>
          <a:prstGeom prst="rect">
            <a:avLst/>
          </a:prstGeom>
        </p:spPr>
      </p:pic>
      <p:pic>
        <p:nvPicPr>
          <p:cNvPr id="15" name="Picture 14">
            <a:extLst>
              <a:ext uri="{FF2B5EF4-FFF2-40B4-BE49-F238E27FC236}">
                <a16:creationId xmlns:a16="http://schemas.microsoft.com/office/drawing/2014/main" id="{C9D7EF65-CD86-4DEA-82CE-78B4750B4F6D}"/>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3403178" y="2279446"/>
            <a:ext cx="1007692" cy="727011"/>
          </a:xfrm>
          <a:prstGeom prst="rect">
            <a:avLst/>
          </a:prstGeom>
        </p:spPr>
      </p:pic>
      <p:pic>
        <p:nvPicPr>
          <p:cNvPr id="42" name="Picture 41">
            <a:hlinkClick r:id="" action="ppaction://hlinkshowjump?jump=previousslide"/>
            <a:extLst>
              <a:ext uri="{FF2B5EF4-FFF2-40B4-BE49-F238E27FC236}">
                <a16:creationId xmlns:a16="http://schemas.microsoft.com/office/drawing/2014/main" id="{0DA4475E-149A-4F41-8C70-3D0078930FA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542511" y="973746"/>
            <a:ext cx="470917" cy="470917"/>
          </a:xfrm>
          <a:prstGeom prst="rect">
            <a:avLst/>
          </a:prstGeom>
        </p:spPr>
      </p:pic>
      <p:pic>
        <p:nvPicPr>
          <p:cNvPr id="44" name="Picture 43">
            <a:hlinkClick r:id="" action="ppaction://hlinkshowjump?jump=nextslide"/>
            <a:extLst>
              <a:ext uri="{FF2B5EF4-FFF2-40B4-BE49-F238E27FC236}">
                <a16:creationId xmlns:a16="http://schemas.microsoft.com/office/drawing/2014/main" id="{4B2FD2F9-215A-4CF1-B8A2-FDBAAC8A715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flipH="1">
            <a:off x="8542511" y="370416"/>
            <a:ext cx="470917" cy="470917"/>
          </a:xfrm>
          <a:prstGeom prst="rect">
            <a:avLst/>
          </a:prstGeom>
        </p:spPr>
      </p:pic>
      <p:pic>
        <p:nvPicPr>
          <p:cNvPr id="2" name="Picture 1">
            <a:extLst>
              <a:ext uri="{FF2B5EF4-FFF2-40B4-BE49-F238E27FC236}">
                <a16:creationId xmlns:a16="http://schemas.microsoft.com/office/drawing/2014/main" id="{CD62D86A-FAC6-4AAB-B7AD-13AF6333299A}"/>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4593550" y="3905178"/>
            <a:ext cx="1001354" cy="727010"/>
          </a:xfrm>
          <a:prstGeom prst="rect">
            <a:avLst/>
          </a:prstGeom>
        </p:spPr>
      </p:pic>
      <p:cxnSp>
        <p:nvCxnSpPr>
          <p:cNvPr id="6" name="Straight Connector 5">
            <a:extLst>
              <a:ext uri="{FF2B5EF4-FFF2-40B4-BE49-F238E27FC236}">
                <a16:creationId xmlns:a16="http://schemas.microsoft.com/office/drawing/2014/main" id="{3EF2F97A-9E2C-4C1B-9BA8-A29231423BAA}"/>
              </a:ext>
            </a:extLst>
          </p:cNvPr>
          <p:cNvCxnSpPr>
            <a:cxnSpLocks/>
          </p:cNvCxnSpPr>
          <p:nvPr/>
        </p:nvCxnSpPr>
        <p:spPr>
          <a:xfrm>
            <a:off x="0" y="0"/>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DBC6A1B7-E8F3-46D7-A22A-84F8AB3A969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81637" y="2814360"/>
            <a:ext cx="877141" cy="1097626"/>
          </a:xfrm>
          <a:prstGeom prst="rect">
            <a:avLst/>
          </a:prstGeom>
        </p:spPr>
      </p:pic>
      <p:grpSp>
        <p:nvGrpSpPr>
          <p:cNvPr id="16" name="Group 15">
            <a:extLst>
              <a:ext uri="{FF2B5EF4-FFF2-40B4-BE49-F238E27FC236}">
                <a16:creationId xmlns:a16="http://schemas.microsoft.com/office/drawing/2014/main" id="{2125B487-0096-4B93-AE2A-35F664CA4945}"/>
              </a:ext>
            </a:extLst>
          </p:cNvPr>
          <p:cNvGrpSpPr/>
          <p:nvPr/>
        </p:nvGrpSpPr>
        <p:grpSpPr>
          <a:xfrm>
            <a:off x="5525217" y="3504784"/>
            <a:ext cx="3297456" cy="1403313"/>
            <a:chOff x="418429" y="2465042"/>
            <a:chExt cx="4396608" cy="1871084"/>
          </a:xfrm>
        </p:grpSpPr>
        <p:sp>
          <p:nvSpPr>
            <p:cNvPr id="26" name="Freeform: Shape 25">
              <a:extLst>
                <a:ext uri="{FF2B5EF4-FFF2-40B4-BE49-F238E27FC236}">
                  <a16:creationId xmlns:a16="http://schemas.microsoft.com/office/drawing/2014/main" id="{DE107CBF-D45A-4821-9AF9-91E811B920BF}"/>
                </a:ext>
              </a:extLst>
            </p:cNvPr>
            <p:cNvSpPr/>
            <p:nvPr/>
          </p:nvSpPr>
          <p:spPr>
            <a:xfrm>
              <a:off x="418429" y="2465042"/>
              <a:ext cx="4396608"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dirty="0"/>
            </a:p>
          </p:txBody>
        </p:sp>
        <p:sp>
          <p:nvSpPr>
            <p:cNvPr id="11" name="Rectangle: Rounded Corners 10">
              <a:extLst>
                <a:ext uri="{FF2B5EF4-FFF2-40B4-BE49-F238E27FC236}">
                  <a16:creationId xmlns:a16="http://schemas.microsoft.com/office/drawing/2014/main" id="{2D476256-F649-440E-8CB6-34553EE46959}"/>
                </a:ext>
              </a:extLst>
            </p:cNvPr>
            <p:cNvSpPr/>
            <p:nvPr/>
          </p:nvSpPr>
          <p:spPr>
            <a:xfrm>
              <a:off x="765958" y="2492017"/>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Tất</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cả</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đáp</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á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trên</a:t>
              </a:r>
              <a:endPar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endParaRPr>
            </a:p>
          </p:txBody>
        </p:sp>
      </p:grpSp>
      <p:grpSp>
        <p:nvGrpSpPr>
          <p:cNvPr id="17" name="Group 16">
            <a:extLst>
              <a:ext uri="{FF2B5EF4-FFF2-40B4-BE49-F238E27FC236}">
                <a16:creationId xmlns:a16="http://schemas.microsoft.com/office/drawing/2014/main" id="{3F6095D1-5BDA-4028-80BF-CF720429106A}"/>
              </a:ext>
            </a:extLst>
          </p:cNvPr>
          <p:cNvGrpSpPr/>
          <p:nvPr/>
        </p:nvGrpSpPr>
        <p:grpSpPr>
          <a:xfrm>
            <a:off x="310298" y="3488704"/>
            <a:ext cx="3300980" cy="1397954"/>
            <a:chOff x="413731" y="4651605"/>
            <a:chExt cx="4401306" cy="1863939"/>
          </a:xfrm>
        </p:grpSpPr>
        <p:sp>
          <p:nvSpPr>
            <p:cNvPr id="30" name="Freeform: Shape 29">
              <a:extLst>
                <a:ext uri="{FF2B5EF4-FFF2-40B4-BE49-F238E27FC236}">
                  <a16:creationId xmlns:a16="http://schemas.microsoft.com/office/drawing/2014/main" id="{18151A68-8ABC-4A1D-8A5B-E03CCFBD3F59}"/>
                </a:ext>
              </a:extLst>
            </p:cNvPr>
            <p:cNvSpPr/>
            <p:nvPr/>
          </p:nvSpPr>
          <p:spPr>
            <a:xfrm flipH="1">
              <a:off x="428436" y="4651605"/>
              <a:ext cx="4386601"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7" name="Rectangle: Rounded Corners 36">
              <a:extLst>
                <a:ext uri="{FF2B5EF4-FFF2-40B4-BE49-F238E27FC236}">
                  <a16:creationId xmlns:a16="http://schemas.microsoft.com/office/drawing/2014/main" id="{E5506EB0-83F9-49CB-A1BA-DE0BD904E95B}"/>
                </a:ext>
              </a:extLst>
            </p:cNvPr>
            <p:cNvSpPr/>
            <p:nvPr/>
          </p:nvSpPr>
          <p:spPr>
            <a:xfrm>
              <a:off x="413731" y="4651957"/>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Xóa</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bả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ghi</a:t>
              </a:r>
              <a:endPar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endParaRPr>
            </a:p>
          </p:txBody>
        </p:sp>
      </p:grpSp>
      <p:grpSp>
        <p:nvGrpSpPr>
          <p:cNvPr id="18" name="Group 17">
            <a:extLst>
              <a:ext uri="{FF2B5EF4-FFF2-40B4-BE49-F238E27FC236}">
                <a16:creationId xmlns:a16="http://schemas.microsoft.com/office/drawing/2014/main" id="{3B4C7E7A-5F81-463B-9FDA-5F8A47FCDC1D}"/>
              </a:ext>
            </a:extLst>
          </p:cNvPr>
          <p:cNvGrpSpPr/>
          <p:nvPr/>
        </p:nvGrpSpPr>
        <p:grpSpPr>
          <a:xfrm>
            <a:off x="313769" y="1835226"/>
            <a:ext cx="3307782" cy="1398290"/>
            <a:chOff x="7363195" y="2465042"/>
            <a:chExt cx="4410376" cy="1864387"/>
          </a:xfrm>
        </p:grpSpPr>
        <p:sp>
          <p:nvSpPr>
            <p:cNvPr id="58" name="Freeform: Shape 57">
              <a:extLst>
                <a:ext uri="{FF2B5EF4-FFF2-40B4-BE49-F238E27FC236}">
                  <a16:creationId xmlns:a16="http://schemas.microsoft.com/office/drawing/2014/main" id="{F2A6F710-A8CF-4338-BF74-99DD36D700F5}"/>
                </a:ext>
              </a:extLst>
            </p:cNvPr>
            <p:cNvSpPr/>
            <p:nvPr/>
          </p:nvSpPr>
          <p:spPr>
            <a:xfrm flipH="1">
              <a:off x="7376963" y="2465042"/>
              <a:ext cx="4396608"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dirty="0"/>
            </a:p>
          </p:txBody>
        </p:sp>
        <p:sp>
          <p:nvSpPr>
            <p:cNvPr id="38" name="Rectangle: Rounded Corners 37">
              <a:extLst>
                <a:ext uri="{FF2B5EF4-FFF2-40B4-BE49-F238E27FC236}">
                  <a16:creationId xmlns:a16="http://schemas.microsoft.com/office/drawing/2014/main" id="{556501E9-9FDB-43AC-A584-2F09815162C2}"/>
                </a:ext>
              </a:extLst>
            </p:cNvPr>
            <p:cNvSpPr/>
            <p:nvPr/>
          </p:nvSpPr>
          <p:spPr>
            <a:xfrm>
              <a:off x="7363195" y="2485320"/>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Sửa</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bả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ghi</a:t>
              </a:r>
              <a:endPar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endParaRPr>
            </a:p>
          </p:txBody>
        </p:sp>
      </p:grpSp>
      <p:grpSp>
        <p:nvGrpSpPr>
          <p:cNvPr id="19" name="Group 18">
            <a:extLst>
              <a:ext uri="{FF2B5EF4-FFF2-40B4-BE49-F238E27FC236}">
                <a16:creationId xmlns:a16="http://schemas.microsoft.com/office/drawing/2014/main" id="{F1EA9857-F9FD-46FE-98C0-E0E88372E3CE}"/>
              </a:ext>
            </a:extLst>
          </p:cNvPr>
          <p:cNvGrpSpPr/>
          <p:nvPr/>
        </p:nvGrpSpPr>
        <p:grpSpPr>
          <a:xfrm>
            <a:off x="5527178" y="1838148"/>
            <a:ext cx="3302796" cy="1397954"/>
            <a:chOff x="7386970" y="4651605"/>
            <a:chExt cx="4403728" cy="1863939"/>
          </a:xfrm>
        </p:grpSpPr>
        <p:sp>
          <p:nvSpPr>
            <p:cNvPr id="59" name="Freeform: Shape 58">
              <a:extLst>
                <a:ext uri="{FF2B5EF4-FFF2-40B4-BE49-F238E27FC236}">
                  <a16:creationId xmlns:a16="http://schemas.microsoft.com/office/drawing/2014/main" id="{D460C3EE-DC44-4D12-870D-2DE09B68AF9B}"/>
                </a:ext>
              </a:extLst>
            </p:cNvPr>
            <p:cNvSpPr/>
            <p:nvPr/>
          </p:nvSpPr>
          <p:spPr>
            <a:xfrm>
              <a:off x="7386970" y="4651605"/>
              <a:ext cx="4386601"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9" name="Rectangle: Rounded Corners 38">
              <a:extLst>
                <a:ext uri="{FF2B5EF4-FFF2-40B4-BE49-F238E27FC236}">
                  <a16:creationId xmlns:a16="http://schemas.microsoft.com/office/drawing/2014/main" id="{007442A2-F9C5-43FF-810D-EFCA0A5691BC}"/>
                </a:ext>
              </a:extLst>
            </p:cNvPr>
            <p:cNvSpPr/>
            <p:nvPr/>
          </p:nvSpPr>
          <p:spPr>
            <a:xfrm>
              <a:off x="7755387" y="4651791"/>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Thêm</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bả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ghi</a:t>
              </a:r>
              <a:endPar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endParaRPr>
            </a:p>
          </p:txBody>
        </p:sp>
      </p:grpSp>
      <p:grpSp>
        <p:nvGrpSpPr>
          <p:cNvPr id="31" name="Group 30">
            <a:extLst>
              <a:ext uri="{FF2B5EF4-FFF2-40B4-BE49-F238E27FC236}">
                <a16:creationId xmlns:a16="http://schemas.microsoft.com/office/drawing/2014/main" id="{7FE0546E-6488-491E-8AA1-277B5CEB2FD6}"/>
              </a:ext>
            </a:extLst>
          </p:cNvPr>
          <p:cNvGrpSpPr/>
          <p:nvPr/>
        </p:nvGrpSpPr>
        <p:grpSpPr>
          <a:xfrm>
            <a:off x="116364" y="119285"/>
            <a:ext cx="8345605" cy="1507050"/>
            <a:chOff x="150128" y="102542"/>
            <a:chExt cx="11127473" cy="2009400"/>
          </a:xfrm>
        </p:grpSpPr>
        <p:grpSp>
          <p:nvGrpSpPr>
            <p:cNvPr id="10" name="Group 9">
              <a:extLst>
                <a:ext uri="{FF2B5EF4-FFF2-40B4-BE49-F238E27FC236}">
                  <a16:creationId xmlns:a16="http://schemas.microsoft.com/office/drawing/2014/main" id="{F8E54022-CBBB-4124-B256-472085A25CC7}"/>
                </a:ext>
              </a:extLst>
            </p:cNvPr>
            <p:cNvGrpSpPr/>
            <p:nvPr/>
          </p:nvGrpSpPr>
          <p:grpSpPr>
            <a:xfrm>
              <a:off x="1107065" y="248000"/>
              <a:ext cx="10170536" cy="1863939"/>
              <a:chOff x="1107064" y="247999"/>
              <a:chExt cx="10404597" cy="1863939"/>
            </a:xfrm>
          </p:grpSpPr>
          <p:pic>
            <p:nvPicPr>
              <p:cNvPr id="3" name="Picture 2">
                <a:extLst>
                  <a:ext uri="{FF2B5EF4-FFF2-40B4-BE49-F238E27FC236}">
                    <a16:creationId xmlns:a16="http://schemas.microsoft.com/office/drawing/2014/main" id="{CBD9B5C9-CA06-4115-934D-476E7C9299B8}"/>
                  </a:ext>
                </a:extLst>
              </p:cNvPr>
              <p:cNvPicPr>
                <a:picLocks noChangeAspect="1"/>
              </p:cNvPicPr>
              <p:nvPr/>
            </p:nvPicPr>
            <p:blipFill>
              <a:blip r:embed="rId16"/>
              <a:stretch>
                <a:fillRect/>
              </a:stretch>
            </p:blipFill>
            <p:spPr>
              <a:xfrm>
                <a:off x="1107064" y="247999"/>
                <a:ext cx="10404597" cy="1863939"/>
              </a:xfrm>
              <a:prstGeom prst="rect">
                <a:avLst/>
              </a:prstGeom>
            </p:spPr>
          </p:pic>
          <p:sp>
            <p:nvSpPr>
              <p:cNvPr id="5" name="Rectangle 4">
                <a:extLst>
                  <a:ext uri="{FF2B5EF4-FFF2-40B4-BE49-F238E27FC236}">
                    <a16:creationId xmlns:a16="http://schemas.microsoft.com/office/drawing/2014/main" id="{68CCCB1E-5D6D-4B1D-94ED-906BCD4A2D0C}"/>
                  </a:ext>
                </a:extLst>
              </p:cNvPr>
              <p:cNvSpPr/>
              <p:nvPr/>
            </p:nvSpPr>
            <p:spPr>
              <a:xfrm>
                <a:off x="1527388" y="359923"/>
                <a:ext cx="9698331" cy="1620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a:latin typeface="iCiel Cadena" panose="02000503000000020004" pitchFamily="50" charset="0"/>
                    <a:ea typeface="Tahoma" panose="020B0604030504040204" pitchFamily="34" charset="0"/>
                    <a:cs typeface="Tahoma" panose="020B0604030504040204" pitchFamily="34" charset="0"/>
                  </a:rPr>
                  <a:t>Thao </a:t>
                </a:r>
                <a:r>
                  <a:rPr lang="en-US" sz="3000" dirty="0" err="1">
                    <a:latin typeface="iCiel Cadena" panose="02000503000000020004" pitchFamily="50" charset="0"/>
                    <a:ea typeface="Tahoma" panose="020B0604030504040204" pitchFamily="34" charset="0"/>
                    <a:cs typeface="Tahoma" panose="020B0604030504040204" pitchFamily="34" charset="0"/>
                  </a:rPr>
                  <a:t>tác</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trên</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dữ</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liệu</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có</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thể</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là</a:t>
                </a:r>
                <a:endParaRPr lang="en-US" sz="3000" dirty="0">
                  <a:latin typeface="iCiel Cadena" panose="02000503000000020004" pitchFamily="50" charset="0"/>
                  <a:ea typeface="Tahoma" panose="020B0604030504040204" pitchFamily="34" charset="0"/>
                  <a:cs typeface="Tahoma" panose="020B0604030504040204" pitchFamily="34" charset="0"/>
                </a:endParaRPr>
              </a:p>
            </p:txBody>
          </p:sp>
        </p:grpSp>
        <p:pic>
          <p:nvPicPr>
            <p:cNvPr id="9" name="Picture 8">
              <a:extLst>
                <a:ext uri="{FF2B5EF4-FFF2-40B4-BE49-F238E27FC236}">
                  <a16:creationId xmlns:a16="http://schemas.microsoft.com/office/drawing/2014/main" id="{BA90CF18-B31B-4FFE-AF8E-D970FEA1326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rot="16200000">
              <a:off x="-165942" y="418612"/>
              <a:ext cx="2009400" cy="1377259"/>
            </a:xfrm>
            <a:prstGeom prst="rect">
              <a:avLst/>
            </a:prstGeom>
          </p:spPr>
        </p:pic>
        <p:sp>
          <p:nvSpPr>
            <p:cNvPr id="29" name="TextBox 28">
              <a:extLst>
                <a:ext uri="{FF2B5EF4-FFF2-40B4-BE49-F238E27FC236}">
                  <a16:creationId xmlns:a16="http://schemas.microsoft.com/office/drawing/2014/main" id="{784446D1-0083-4268-9941-8C7553FD46F9}"/>
                </a:ext>
              </a:extLst>
            </p:cNvPr>
            <p:cNvSpPr txBox="1"/>
            <p:nvPr/>
          </p:nvSpPr>
          <p:spPr>
            <a:xfrm>
              <a:off x="506731" y="702825"/>
              <a:ext cx="909211" cy="769441"/>
            </a:xfrm>
            <a:prstGeom prst="rect">
              <a:avLst/>
            </a:prstGeom>
            <a:noFill/>
          </p:spPr>
          <p:txBody>
            <a:bodyPr wrap="square" rtlCol="0" anchor="ctr">
              <a:spAutoFit/>
            </a:bodyPr>
            <a:lstStyle/>
            <a:p>
              <a:pPr algn="ctr"/>
              <a:r>
                <a:rPr lang="en-US" sz="3150" dirty="0">
                  <a:solidFill>
                    <a:schemeClr val="bg1"/>
                  </a:solidFill>
                  <a:latin typeface="iCiel Cadena" panose="02000503000000020004" pitchFamily="50" charset="0"/>
                </a:rPr>
                <a:t>03</a:t>
              </a:r>
            </a:p>
          </p:txBody>
        </p:sp>
      </p:grpSp>
      <p:pic>
        <p:nvPicPr>
          <p:cNvPr id="68" name="Picture 67">
            <a:extLst>
              <a:ext uri="{FF2B5EF4-FFF2-40B4-BE49-F238E27FC236}">
                <a16:creationId xmlns:a16="http://schemas.microsoft.com/office/drawing/2014/main" id="{F8ECF37D-87DA-4037-9AD8-19A7885886B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235441" y="317603"/>
            <a:ext cx="996114" cy="996114"/>
          </a:xfrm>
          <a:prstGeom prst="rect">
            <a:avLst/>
          </a:prstGeom>
        </p:spPr>
      </p:pic>
      <p:pic>
        <p:nvPicPr>
          <p:cNvPr id="14" name="Picture 13">
            <a:extLst>
              <a:ext uri="{FF2B5EF4-FFF2-40B4-BE49-F238E27FC236}">
                <a16:creationId xmlns:a16="http://schemas.microsoft.com/office/drawing/2014/main" id="{ECFDE3CD-C082-47B5-9D9B-98E503415D3F}"/>
              </a:ext>
            </a:extLst>
          </p:cNvPr>
          <p:cNvPicPr>
            <a:picLocks noChangeAspect="1"/>
          </p:cNvPicPr>
          <p:nvPr/>
        </p:nvPicPr>
        <p:blipFill>
          <a:blip r:embed="rId18"/>
          <a:stretch>
            <a:fillRect/>
          </a:stretch>
        </p:blipFill>
        <p:spPr>
          <a:xfrm>
            <a:off x="-1245083" y="317603"/>
            <a:ext cx="996782" cy="996782"/>
          </a:xfrm>
          <a:prstGeom prst="rect">
            <a:avLst/>
          </a:prstGeom>
        </p:spPr>
      </p:pic>
      <p:pic>
        <p:nvPicPr>
          <p:cNvPr id="7" name="AmthanhThua">
            <a:hlinkClick r:id="" action="ppaction://media"/>
            <a:extLst>
              <a:ext uri="{FF2B5EF4-FFF2-40B4-BE49-F238E27FC236}">
                <a16:creationId xmlns:a16="http://schemas.microsoft.com/office/drawing/2014/main" id="{6A298B67-43A1-4AC9-AFD5-E52AFF7EC3B7}"/>
              </a:ext>
            </a:extLst>
          </p:cNvPr>
          <p:cNvPicPr>
            <a:picLocks noChangeAspect="1"/>
          </p:cNvPicPr>
          <p:nvPr>
            <a:audioFile r:link="rId2"/>
            <p:extLst>
              <p:ext uri="{DAA4B4D4-6D71-4841-9C94-3DE7FCFB9230}">
                <p14:media xmlns:p14="http://schemas.microsoft.com/office/powerpoint/2010/main" r:embed="rId1"/>
              </p:ext>
            </p:extLst>
          </p:nvPr>
        </p:nvPicPr>
        <p:blipFill>
          <a:blip r:embed="rId19"/>
          <a:stretch>
            <a:fillRect/>
          </a:stretch>
        </p:blipFill>
        <p:spPr>
          <a:xfrm>
            <a:off x="-930966" y="1928458"/>
            <a:ext cx="365522" cy="365522"/>
          </a:xfrm>
          <a:prstGeom prst="rect">
            <a:avLst/>
          </a:prstGeom>
        </p:spPr>
      </p:pic>
      <p:pic>
        <p:nvPicPr>
          <p:cNvPr id="22" name="nhacthang">
            <a:hlinkClick r:id="" action="ppaction://media"/>
            <a:extLst>
              <a:ext uri="{FF2B5EF4-FFF2-40B4-BE49-F238E27FC236}">
                <a16:creationId xmlns:a16="http://schemas.microsoft.com/office/drawing/2014/main" id="{7F4D256B-EBEA-4BF4-94EE-9E076C8DB254}"/>
              </a:ext>
            </a:extLst>
          </p:cNvPr>
          <p:cNvPicPr>
            <a:picLocks noChangeAspect="1"/>
          </p:cNvPicPr>
          <p:nvPr>
            <a:audioFile r:link="rId4"/>
            <p:extLst>
              <p:ext uri="{DAA4B4D4-6D71-4841-9C94-3DE7FCFB9230}">
                <p14:media xmlns:p14="http://schemas.microsoft.com/office/powerpoint/2010/main" r:embed="rId3"/>
              </p:ext>
            </p:extLst>
          </p:nvPr>
        </p:nvPicPr>
        <p:blipFill>
          <a:blip r:embed="rId19"/>
          <a:stretch>
            <a:fillRect/>
          </a:stretch>
        </p:blipFill>
        <p:spPr>
          <a:xfrm>
            <a:off x="-915823" y="2631598"/>
            <a:ext cx="365522" cy="365522"/>
          </a:xfrm>
          <a:prstGeom prst="rect">
            <a:avLst/>
          </a:prstGeom>
        </p:spPr>
      </p:pic>
    </p:spTree>
    <p:extLst>
      <p:ext uri="{BB962C8B-B14F-4D97-AF65-F5344CB8AC3E}">
        <p14:creationId xmlns:p14="http://schemas.microsoft.com/office/powerpoint/2010/main" val="2644410988"/>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par>
                          <p:cTn id="13" fill="hold">
                            <p:stCondLst>
                              <p:cond delay="1000"/>
                            </p:stCondLst>
                            <p:childTnLst>
                              <p:par>
                                <p:cTn id="14" presetID="53" presetClass="entr" presetSubtype="528" fill="hold"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p:cTn id="16" dur="500" fill="hold"/>
                                        <p:tgtEl>
                                          <p:spTgt spid="15"/>
                                        </p:tgtEl>
                                        <p:attrNameLst>
                                          <p:attrName>ppt_w</p:attrName>
                                        </p:attrNameLst>
                                      </p:cBhvr>
                                      <p:tavLst>
                                        <p:tav tm="0">
                                          <p:val>
                                            <p:fltVal val="0"/>
                                          </p:val>
                                        </p:tav>
                                        <p:tav tm="100000">
                                          <p:val>
                                            <p:strVal val="#ppt_w"/>
                                          </p:val>
                                        </p:tav>
                                      </p:tavLst>
                                    </p:anim>
                                    <p:anim calcmode="lin" valueType="num">
                                      <p:cBhvr>
                                        <p:cTn id="17" dur="500" fill="hold"/>
                                        <p:tgtEl>
                                          <p:spTgt spid="15"/>
                                        </p:tgtEl>
                                        <p:attrNameLst>
                                          <p:attrName>ppt_h</p:attrName>
                                        </p:attrNameLst>
                                      </p:cBhvr>
                                      <p:tavLst>
                                        <p:tav tm="0">
                                          <p:val>
                                            <p:fltVal val="0"/>
                                          </p:val>
                                        </p:tav>
                                        <p:tav tm="100000">
                                          <p:val>
                                            <p:strVal val="#ppt_h"/>
                                          </p:val>
                                        </p:tav>
                                      </p:tavLst>
                                    </p:anim>
                                    <p:animEffect transition="in" filter="fade">
                                      <p:cBhvr>
                                        <p:cTn id="18" dur="500"/>
                                        <p:tgtEl>
                                          <p:spTgt spid="15"/>
                                        </p:tgtEl>
                                      </p:cBhvr>
                                    </p:animEffect>
                                    <p:anim calcmode="lin" valueType="num">
                                      <p:cBhvr>
                                        <p:cTn id="19" dur="500" fill="hold"/>
                                        <p:tgtEl>
                                          <p:spTgt spid="15"/>
                                        </p:tgtEl>
                                        <p:attrNameLst>
                                          <p:attrName>ppt_x</p:attrName>
                                        </p:attrNameLst>
                                      </p:cBhvr>
                                      <p:tavLst>
                                        <p:tav tm="0">
                                          <p:val>
                                            <p:fltVal val="0.5"/>
                                          </p:val>
                                        </p:tav>
                                        <p:tav tm="100000">
                                          <p:val>
                                            <p:strVal val="#ppt_x"/>
                                          </p:val>
                                        </p:tav>
                                      </p:tavLst>
                                    </p:anim>
                                    <p:anim calcmode="lin" valueType="num">
                                      <p:cBhvr>
                                        <p:cTn id="20" dur="500" fill="hold"/>
                                        <p:tgtEl>
                                          <p:spTgt spid="15"/>
                                        </p:tgtEl>
                                        <p:attrNameLst>
                                          <p:attrName>ppt_y</p:attrName>
                                        </p:attrNameLst>
                                      </p:cBhvr>
                                      <p:tavLst>
                                        <p:tav tm="0">
                                          <p:val>
                                            <p:fltVal val="0.5"/>
                                          </p:val>
                                        </p:tav>
                                        <p:tav tm="100000">
                                          <p:val>
                                            <p:strVal val="#ppt_y"/>
                                          </p:val>
                                        </p:tav>
                                      </p:tavLst>
                                    </p:anim>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000"/>
                            </p:stCondLst>
                            <p:childTnLst>
                              <p:par>
                                <p:cTn id="26" presetID="53" presetClass="entr" presetSubtype="528"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anim calcmode="lin" valueType="num">
                                      <p:cBhvr>
                                        <p:cTn id="28" dur="500" fill="hold"/>
                                        <p:tgtEl>
                                          <p:spTgt spid="21"/>
                                        </p:tgtEl>
                                        <p:attrNameLst>
                                          <p:attrName>ppt_w</p:attrName>
                                        </p:attrNameLst>
                                      </p:cBhvr>
                                      <p:tavLst>
                                        <p:tav tm="0">
                                          <p:val>
                                            <p:fltVal val="0"/>
                                          </p:val>
                                        </p:tav>
                                        <p:tav tm="100000">
                                          <p:val>
                                            <p:strVal val="#ppt_w"/>
                                          </p:val>
                                        </p:tav>
                                      </p:tavLst>
                                    </p:anim>
                                    <p:anim calcmode="lin" valueType="num">
                                      <p:cBhvr>
                                        <p:cTn id="29" dur="500" fill="hold"/>
                                        <p:tgtEl>
                                          <p:spTgt spid="21"/>
                                        </p:tgtEl>
                                        <p:attrNameLst>
                                          <p:attrName>ppt_h</p:attrName>
                                        </p:attrNameLst>
                                      </p:cBhvr>
                                      <p:tavLst>
                                        <p:tav tm="0">
                                          <p:val>
                                            <p:fltVal val="0"/>
                                          </p:val>
                                        </p:tav>
                                        <p:tav tm="100000">
                                          <p:val>
                                            <p:strVal val="#ppt_h"/>
                                          </p:val>
                                        </p:tav>
                                      </p:tavLst>
                                    </p:anim>
                                    <p:animEffect transition="in" filter="fade">
                                      <p:cBhvr>
                                        <p:cTn id="30" dur="500"/>
                                        <p:tgtEl>
                                          <p:spTgt spid="21"/>
                                        </p:tgtEl>
                                      </p:cBhvr>
                                    </p:animEffect>
                                    <p:anim calcmode="lin" valueType="num">
                                      <p:cBhvr>
                                        <p:cTn id="31" dur="500" fill="hold"/>
                                        <p:tgtEl>
                                          <p:spTgt spid="21"/>
                                        </p:tgtEl>
                                        <p:attrNameLst>
                                          <p:attrName>ppt_x</p:attrName>
                                        </p:attrNameLst>
                                      </p:cBhvr>
                                      <p:tavLst>
                                        <p:tav tm="0">
                                          <p:val>
                                            <p:fltVal val="0.5"/>
                                          </p:val>
                                        </p:tav>
                                        <p:tav tm="100000">
                                          <p:val>
                                            <p:strVal val="#ppt_x"/>
                                          </p:val>
                                        </p:tav>
                                      </p:tavLst>
                                    </p:anim>
                                    <p:anim calcmode="lin" valueType="num">
                                      <p:cBhvr>
                                        <p:cTn id="32" dur="500" fill="hold"/>
                                        <p:tgtEl>
                                          <p:spTgt spid="21"/>
                                        </p:tgtEl>
                                        <p:attrNameLst>
                                          <p:attrName>ppt_y</p:attrName>
                                        </p:attrNameLst>
                                      </p:cBhvr>
                                      <p:tavLst>
                                        <p:tav tm="0">
                                          <p:val>
                                            <p:fltVal val="0.5"/>
                                          </p:val>
                                        </p:tav>
                                        <p:tav tm="100000">
                                          <p:val>
                                            <p:strVal val="#ppt_y"/>
                                          </p:val>
                                        </p:tav>
                                      </p:tavLst>
                                    </p:anim>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childTnLst>
                          </p:cTn>
                        </p:par>
                        <p:par>
                          <p:cTn id="37" fill="hold">
                            <p:stCondLst>
                              <p:cond delay="3000"/>
                            </p:stCondLst>
                            <p:childTnLst>
                              <p:par>
                                <p:cTn id="38" presetID="53" presetClass="entr" presetSubtype="528" fill="hold" nodeType="afterEffect">
                                  <p:stCondLst>
                                    <p:cond delay="0"/>
                                  </p:stCondLst>
                                  <p:childTnLst>
                                    <p:set>
                                      <p:cBhvr>
                                        <p:cTn id="39" dur="1" fill="hold">
                                          <p:stCondLst>
                                            <p:cond delay="0"/>
                                          </p:stCondLst>
                                        </p:cTn>
                                        <p:tgtEl>
                                          <p:spTgt spid="20"/>
                                        </p:tgtEl>
                                        <p:attrNameLst>
                                          <p:attrName>style.visibility</p:attrName>
                                        </p:attrNameLst>
                                      </p:cBhvr>
                                      <p:to>
                                        <p:strVal val="visible"/>
                                      </p:to>
                                    </p:set>
                                    <p:anim calcmode="lin" valueType="num">
                                      <p:cBhvr>
                                        <p:cTn id="40" dur="500" fill="hold"/>
                                        <p:tgtEl>
                                          <p:spTgt spid="20"/>
                                        </p:tgtEl>
                                        <p:attrNameLst>
                                          <p:attrName>ppt_w</p:attrName>
                                        </p:attrNameLst>
                                      </p:cBhvr>
                                      <p:tavLst>
                                        <p:tav tm="0">
                                          <p:val>
                                            <p:fltVal val="0"/>
                                          </p:val>
                                        </p:tav>
                                        <p:tav tm="100000">
                                          <p:val>
                                            <p:strVal val="#ppt_w"/>
                                          </p:val>
                                        </p:tav>
                                      </p:tavLst>
                                    </p:anim>
                                    <p:anim calcmode="lin" valueType="num">
                                      <p:cBhvr>
                                        <p:cTn id="41" dur="500" fill="hold"/>
                                        <p:tgtEl>
                                          <p:spTgt spid="20"/>
                                        </p:tgtEl>
                                        <p:attrNameLst>
                                          <p:attrName>ppt_h</p:attrName>
                                        </p:attrNameLst>
                                      </p:cBhvr>
                                      <p:tavLst>
                                        <p:tav tm="0">
                                          <p:val>
                                            <p:fltVal val="0"/>
                                          </p:val>
                                        </p:tav>
                                        <p:tav tm="100000">
                                          <p:val>
                                            <p:strVal val="#ppt_h"/>
                                          </p:val>
                                        </p:tav>
                                      </p:tavLst>
                                    </p:anim>
                                    <p:animEffect transition="in" filter="fade">
                                      <p:cBhvr>
                                        <p:cTn id="42" dur="500"/>
                                        <p:tgtEl>
                                          <p:spTgt spid="20"/>
                                        </p:tgtEl>
                                      </p:cBhvr>
                                    </p:animEffect>
                                    <p:anim calcmode="lin" valueType="num">
                                      <p:cBhvr>
                                        <p:cTn id="43" dur="500" fill="hold"/>
                                        <p:tgtEl>
                                          <p:spTgt spid="20"/>
                                        </p:tgtEl>
                                        <p:attrNameLst>
                                          <p:attrName>ppt_x</p:attrName>
                                        </p:attrNameLst>
                                      </p:cBhvr>
                                      <p:tavLst>
                                        <p:tav tm="0">
                                          <p:val>
                                            <p:fltVal val="0.5"/>
                                          </p:val>
                                        </p:tav>
                                        <p:tav tm="100000">
                                          <p:val>
                                            <p:strVal val="#ppt_x"/>
                                          </p:val>
                                        </p:tav>
                                      </p:tavLst>
                                    </p:anim>
                                    <p:anim calcmode="lin" valueType="num">
                                      <p:cBhvr>
                                        <p:cTn id="44" dur="500" fill="hold"/>
                                        <p:tgtEl>
                                          <p:spTgt spid="20"/>
                                        </p:tgtEl>
                                        <p:attrNameLst>
                                          <p:attrName>ppt_y</p:attrName>
                                        </p:attrNameLst>
                                      </p:cBhvr>
                                      <p:tavLst>
                                        <p:tav tm="0">
                                          <p:val>
                                            <p:fltVal val="0.5"/>
                                          </p:val>
                                        </p:tav>
                                        <p:tav tm="100000">
                                          <p:val>
                                            <p:strVal val="#ppt_y"/>
                                          </p:val>
                                        </p:tav>
                                      </p:tavLst>
                                    </p:anim>
                                  </p:childTnLst>
                                </p:cTn>
                              </p:par>
                            </p:childTnLst>
                          </p:cTn>
                        </p:par>
                        <p:par>
                          <p:cTn id="45" fill="hold">
                            <p:stCondLst>
                              <p:cond delay="3500"/>
                            </p:stCondLst>
                            <p:childTnLst>
                              <p:par>
                                <p:cTn id="46" presetID="10" presetClass="entr" presetSubtype="0" fill="hold" nodeType="after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par>
                          <p:cTn id="49" fill="hold">
                            <p:stCondLst>
                              <p:cond delay="4000"/>
                            </p:stCondLst>
                            <p:childTnLst>
                              <p:par>
                                <p:cTn id="50" presetID="53" presetClass="entr" presetSubtype="528" fill="hold" nodeType="afterEffect">
                                  <p:stCondLst>
                                    <p:cond delay="0"/>
                                  </p:stCondLst>
                                  <p:childTnLst>
                                    <p:set>
                                      <p:cBhvr>
                                        <p:cTn id="51" dur="1" fill="hold">
                                          <p:stCondLst>
                                            <p:cond delay="0"/>
                                          </p:stCondLst>
                                        </p:cTn>
                                        <p:tgtEl>
                                          <p:spTgt spid="2"/>
                                        </p:tgtEl>
                                        <p:attrNameLst>
                                          <p:attrName>style.visibility</p:attrName>
                                        </p:attrNameLst>
                                      </p:cBhvr>
                                      <p:to>
                                        <p:strVal val="visible"/>
                                      </p:to>
                                    </p:set>
                                    <p:anim calcmode="lin" valueType="num">
                                      <p:cBhvr>
                                        <p:cTn id="52" dur="500" fill="hold"/>
                                        <p:tgtEl>
                                          <p:spTgt spid="2"/>
                                        </p:tgtEl>
                                        <p:attrNameLst>
                                          <p:attrName>ppt_w</p:attrName>
                                        </p:attrNameLst>
                                      </p:cBhvr>
                                      <p:tavLst>
                                        <p:tav tm="0">
                                          <p:val>
                                            <p:fltVal val="0"/>
                                          </p:val>
                                        </p:tav>
                                        <p:tav tm="100000">
                                          <p:val>
                                            <p:strVal val="#ppt_w"/>
                                          </p:val>
                                        </p:tav>
                                      </p:tavLst>
                                    </p:anim>
                                    <p:anim calcmode="lin" valueType="num">
                                      <p:cBhvr>
                                        <p:cTn id="53" dur="500" fill="hold"/>
                                        <p:tgtEl>
                                          <p:spTgt spid="2"/>
                                        </p:tgtEl>
                                        <p:attrNameLst>
                                          <p:attrName>ppt_h</p:attrName>
                                        </p:attrNameLst>
                                      </p:cBhvr>
                                      <p:tavLst>
                                        <p:tav tm="0">
                                          <p:val>
                                            <p:fltVal val="0"/>
                                          </p:val>
                                        </p:tav>
                                        <p:tav tm="100000">
                                          <p:val>
                                            <p:strVal val="#ppt_h"/>
                                          </p:val>
                                        </p:tav>
                                      </p:tavLst>
                                    </p:anim>
                                    <p:animEffect transition="in" filter="fade">
                                      <p:cBhvr>
                                        <p:cTn id="54" dur="500"/>
                                        <p:tgtEl>
                                          <p:spTgt spid="2"/>
                                        </p:tgtEl>
                                      </p:cBhvr>
                                    </p:animEffect>
                                    <p:anim calcmode="lin" valueType="num">
                                      <p:cBhvr>
                                        <p:cTn id="55" dur="500" fill="hold"/>
                                        <p:tgtEl>
                                          <p:spTgt spid="2"/>
                                        </p:tgtEl>
                                        <p:attrNameLst>
                                          <p:attrName>ppt_x</p:attrName>
                                        </p:attrNameLst>
                                      </p:cBhvr>
                                      <p:tavLst>
                                        <p:tav tm="0">
                                          <p:val>
                                            <p:fltVal val="0.5"/>
                                          </p:val>
                                        </p:tav>
                                        <p:tav tm="100000">
                                          <p:val>
                                            <p:strVal val="#ppt_x"/>
                                          </p:val>
                                        </p:tav>
                                      </p:tavLst>
                                    </p:anim>
                                    <p:anim calcmode="lin" valueType="num">
                                      <p:cBhvr>
                                        <p:cTn id="56" dur="500" fill="hold"/>
                                        <p:tgtEl>
                                          <p:spTgt spid="2"/>
                                        </p:tgtEl>
                                        <p:attrNameLst>
                                          <p:attrName>ppt_y</p:attrName>
                                        </p:attrNameLst>
                                      </p:cBhvr>
                                      <p:tavLst>
                                        <p:tav tm="0">
                                          <p:val>
                                            <p:fltVal val="0.5"/>
                                          </p:val>
                                        </p:tav>
                                        <p:tav tm="100000">
                                          <p:val>
                                            <p:strVal val="#ppt_y"/>
                                          </p:val>
                                        </p:tav>
                                      </p:tavLst>
                                    </p:anim>
                                  </p:childTnLst>
                                </p:cTn>
                              </p:par>
                            </p:childTnLst>
                          </p:cTn>
                        </p:par>
                        <p:par>
                          <p:cTn id="57" fill="hold">
                            <p:stCondLst>
                              <p:cond delay="4500"/>
                            </p:stCondLst>
                            <p:childTnLst>
                              <p:par>
                                <p:cTn id="58" presetID="10" presetClass="entr" presetSubtype="0" fill="hold" nodeType="after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61" restart="whenNotActive" fill="hold" evtFilter="cancelBubble" nodeType="interactiveSeq">
                <p:stCondLst>
                  <p:cond evt="onClick" delay="0">
                    <p:tgtEl>
                      <p:spTgt spid="2"/>
                    </p:tgtEl>
                  </p:cond>
                </p:stCondLst>
                <p:endSync evt="end" delay="0">
                  <p:rtn val="all"/>
                </p:endSync>
                <p:childTnLst>
                  <p:par>
                    <p:cTn id="62" fill="hold">
                      <p:stCondLst>
                        <p:cond delay="0"/>
                      </p:stCondLst>
                      <p:childTnLst>
                        <p:par>
                          <p:cTn id="63" fill="hold">
                            <p:stCondLst>
                              <p:cond delay="0"/>
                            </p:stCondLst>
                            <p:childTnLst>
                              <p:par>
                                <p:cTn id="64" presetID="26" presetClass="emph" presetSubtype="0" fill="hold" nodeType="clickEffect">
                                  <p:stCondLst>
                                    <p:cond delay="0"/>
                                  </p:stCondLst>
                                  <p:childTnLst>
                                    <p:animEffect transition="out" filter="fade">
                                      <p:cBhvr>
                                        <p:cTn id="65" dur="500" tmFilter="0, 0; .2, .5; .8, .5; 1, 0"/>
                                        <p:tgtEl>
                                          <p:spTgt spid="2"/>
                                        </p:tgtEl>
                                      </p:cBhvr>
                                    </p:animEffect>
                                    <p:animScale>
                                      <p:cBhvr>
                                        <p:cTn id="66" dur="250" autoRev="1" fill="hold"/>
                                        <p:tgtEl>
                                          <p:spTgt spid="2"/>
                                        </p:tgtEl>
                                      </p:cBhvr>
                                      <p:by x="105000" y="105000"/>
                                    </p:animScale>
                                  </p:childTnLst>
                                  <p:subTnLst>
                                    <p:audio>
                                      <p:cMediaNode>
                                        <p:cTn display="0" masterRel="sameClick">
                                          <p:stCondLst>
                                            <p:cond evt="begin" delay="0">
                                              <p:tn val="64"/>
                                            </p:cond>
                                          </p:stCondLst>
                                          <p:endCondLst>
                                            <p:cond evt="onStopAudio" delay="0">
                                              <p:tgtEl>
                                                <p:sldTgt/>
                                              </p:tgtEl>
                                            </p:cond>
                                          </p:endCondLst>
                                        </p:cTn>
                                        <p:tgtEl>
                                          <p:sndTgt r:embed="rId6" name="click.wav"/>
                                        </p:tgtEl>
                                      </p:cMediaNode>
                                    </p:audio>
                                  </p:subTnLst>
                                </p:cTn>
                              </p:par>
                            </p:childTnLst>
                          </p:cTn>
                        </p:par>
                        <p:par>
                          <p:cTn id="67" fill="hold">
                            <p:stCondLst>
                              <p:cond delay="500"/>
                            </p:stCondLst>
                            <p:childTnLst>
                              <p:par>
                                <p:cTn id="68" presetID="1" presetClass="mediacall" presetSubtype="0" fill="hold" nodeType="afterEffect">
                                  <p:stCondLst>
                                    <p:cond delay="0"/>
                                  </p:stCondLst>
                                  <p:childTnLst>
                                    <p:cmd type="call" cmd="playFrom(0.0)">
                                      <p:cBhvr>
                                        <p:cTn id="69" dur="3432" fill="hold"/>
                                        <p:tgtEl>
                                          <p:spTgt spid="22"/>
                                        </p:tgtEl>
                                      </p:cBhvr>
                                    </p:cmd>
                                  </p:childTnLst>
                                </p:cTn>
                              </p:par>
                              <p:par>
                                <p:cTn id="70" presetID="1" presetClass="entr" presetSubtype="0" fill="hold" nodeType="withEffect">
                                  <p:stCondLst>
                                    <p:cond delay="0"/>
                                  </p:stCondLst>
                                  <p:childTnLst>
                                    <p:set>
                                      <p:cBhvr>
                                        <p:cTn id="71" dur="1" fill="hold">
                                          <p:stCondLst>
                                            <p:cond delay="0"/>
                                          </p:stCondLst>
                                        </p:cTn>
                                        <p:tgtEl>
                                          <p:spTgt spid="33"/>
                                        </p:tgtEl>
                                        <p:attrNameLst>
                                          <p:attrName>style.visibility</p:attrName>
                                        </p:attrNameLst>
                                      </p:cBhvr>
                                      <p:to>
                                        <p:strVal val="visible"/>
                                      </p:to>
                                    </p:set>
                                  </p:childTnLst>
                                </p:cTn>
                              </p:par>
                              <p:par>
                                <p:cTn id="72" presetID="63" presetClass="path" presetSubtype="0" accel="50000" decel="50000" fill="hold" nodeType="withEffect">
                                  <p:stCondLst>
                                    <p:cond delay="0"/>
                                  </p:stCondLst>
                                  <p:childTnLst>
                                    <p:animMotion origin="layout" path="M -1.04167E-6 -4.81481E-6 L 0.1599 -4.81481E-6 " pathEditMode="relative" rAng="0" ptsTypes="AA">
                                      <p:cBhvr>
                                        <p:cTn id="73" dur="500" fill="hold"/>
                                        <p:tgtEl>
                                          <p:spTgt spid="68"/>
                                        </p:tgtEl>
                                        <p:attrNameLst>
                                          <p:attrName>ppt_x</p:attrName>
                                          <p:attrName>ppt_y</p:attrName>
                                        </p:attrNameLst>
                                      </p:cBhvr>
                                      <p:rCtr x="7995" y="0"/>
                                    </p:animMotion>
                                  </p:childTnLst>
                                </p:cTn>
                              </p:par>
                              <p:par>
                                <p:cTn id="74" presetID="10" presetClass="exit" presetSubtype="0" fill="hold" nodeType="withEffect">
                                  <p:stCondLst>
                                    <p:cond delay="0"/>
                                  </p:stCondLst>
                                  <p:childTnLst>
                                    <p:animEffect transition="out" filter="fade">
                                      <p:cBhvr>
                                        <p:cTn id="75" dur="500"/>
                                        <p:tgtEl>
                                          <p:spTgt spid="31"/>
                                        </p:tgtEl>
                                      </p:cBhvr>
                                    </p:animEffect>
                                    <p:set>
                                      <p:cBhvr>
                                        <p:cTn id="76" dur="1" fill="hold">
                                          <p:stCondLst>
                                            <p:cond delay="499"/>
                                          </p:stCondLst>
                                        </p:cTn>
                                        <p:tgtEl>
                                          <p:spTgt spid="31"/>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12"/>
                                        </p:tgtEl>
                                      </p:cBhvr>
                                    </p:animEffect>
                                    <p:set>
                                      <p:cBhvr>
                                        <p:cTn id="79" dur="1" fill="hold">
                                          <p:stCondLst>
                                            <p:cond delay="499"/>
                                          </p:stCondLst>
                                        </p:cTn>
                                        <p:tgtEl>
                                          <p:spTgt spid="1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2"/>
                                        </p:tgtEl>
                                      </p:cBhvr>
                                    </p:animEffect>
                                    <p:set>
                                      <p:cBhvr>
                                        <p:cTn id="82" dur="1" fill="hold">
                                          <p:stCondLst>
                                            <p:cond delay="499"/>
                                          </p:stCondLst>
                                        </p:cTn>
                                        <p:tgtEl>
                                          <p:spTgt spid="2"/>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16"/>
                                        </p:tgtEl>
                                      </p:cBhvr>
                                    </p:animEffect>
                                    <p:set>
                                      <p:cBhvr>
                                        <p:cTn id="85" dur="1" fill="hold">
                                          <p:stCondLst>
                                            <p:cond delay="499"/>
                                          </p:stCondLst>
                                        </p:cTn>
                                        <p:tgtEl>
                                          <p:spTgt spid="16"/>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15"/>
                                        </p:tgtEl>
                                      </p:cBhvr>
                                    </p:animEffect>
                                    <p:set>
                                      <p:cBhvr>
                                        <p:cTn id="88" dur="1" fill="hold">
                                          <p:stCondLst>
                                            <p:cond delay="499"/>
                                          </p:stCondLst>
                                        </p:cTn>
                                        <p:tgtEl>
                                          <p:spTgt spid="15"/>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18"/>
                                        </p:tgtEl>
                                      </p:cBhvr>
                                    </p:animEffect>
                                    <p:set>
                                      <p:cBhvr>
                                        <p:cTn id="91" dur="1" fill="hold">
                                          <p:stCondLst>
                                            <p:cond delay="499"/>
                                          </p:stCondLst>
                                        </p:cTn>
                                        <p:tgtEl>
                                          <p:spTgt spid="18"/>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20"/>
                                        </p:tgtEl>
                                      </p:cBhvr>
                                    </p:animEffect>
                                    <p:set>
                                      <p:cBhvr>
                                        <p:cTn id="94" dur="1" fill="hold">
                                          <p:stCondLst>
                                            <p:cond delay="499"/>
                                          </p:stCondLst>
                                        </p:cTn>
                                        <p:tgtEl>
                                          <p:spTgt spid="20"/>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500"/>
                                        <p:tgtEl>
                                          <p:spTgt spid="17"/>
                                        </p:tgtEl>
                                      </p:cBhvr>
                                    </p:animEffect>
                                    <p:set>
                                      <p:cBhvr>
                                        <p:cTn id="97" dur="1" fill="hold">
                                          <p:stCondLst>
                                            <p:cond delay="499"/>
                                          </p:stCondLst>
                                        </p:cTn>
                                        <p:tgtEl>
                                          <p:spTgt spid="17"/>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21"/>
                                        </p:tgtEl>
                                      </p:cBhvr>
                                    </p:animEffect>
                                    <p:set>
                                      <p:cBhvr>
                                        <p:cTn id="100" dur="1" fill="hold">
                                          <p:stCondLst>
                                            <p:cond delay="499"/>
                                          </p:stCondLst>
                                        </p:cTn>
                                        <p:tgtEl>
                                          <p:spTgt spid="21"/>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19"/>
                                        </p:tgtEl>
                                      </p:cBhvr>
                                    </p:animEffect>
                                    <p:set>
                                      <p:cBhvr>
                                        <p:cTn id="103" dur="1" fill="hold">
                                          <p:stCondLst>
                                            <p:cond delay="499"/>
                                          </p:stCondLst>
                                        </p:cTn>
                                        <p:tgtEl>
                                          <p:spTgt spid="19"/>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500"/>
                                        <p:tgtEl>
                                          <p:spTgt spid="4"/>
                                        </p:tgtEl>
                                      </p:cBhvr>
                                    </p:animEffect>
                                    <p:set>
                                      <p:cBhvr>
                                        <p:cTn id="106" dur="1" fill="hold">
                                          <p:stCondLst>
                                            <p:cond delay="499"/>
                                          </p:stCondLst>
                                        </p:cTn>
                                        <p:tgtEl>
                                          <p:spTgt spid="4"/>
                                        </p:tgtEl>
                                        <p:attrNameLst>
                                          <p:attrName>style.visibility</p:attrName>
                                        </p:attrNameLst>
                                      </p:cBhvr>
                                      <p:to>
                                        <p:strVal val="hidden"/>
                                      </p:to>
                                    </p:set>
                                  </p:childTnLst>
                                </p:cTn>
                              </p:par>
                              <p:par>
                                <p:cTn id="107" presetID="10" presetClass="exit" presetSubtype="0" fill="hold" nodeType="withEffect">
                                  <p:stCondLst>
                                    <p:cond delay="0"/>
                                  </p:stCondLst>
                                  <p:childTnLst>
                                    <p:animEffect transition="out" filter="fade">
                                      <p:cBhvr>
                                        <p:cTn id="108" dur="500"/>
                                        <p:tgtEl>
                                          <p:spTgt spid="6"/>
                                        </p:tgtEl>
                                      </p:cBhvr>
                                    </p:animEffect>
                                    <p:set>
                                      <p:cBhvr>
                                        <p:cTn id="109"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
                  </p:tgtEl>
                </p:cond>
              </p:nextCondLst>
            </p:seq>
            <p:seq concurrent="1" nextAc="seek">
              <p:cTn id="110" restart="whenNotActive" fill="hold" evtFilter="cancelBubble" nodeType="interactiveSeq">
                <p:stCondLst>
                  <p:cond evt="onClick" delay="0">
                    <p:tgtEl>
                      <p:spTgt spid="68"/>
                    </p:tgtEl>
                  </p:cond>
                </p:stCondLst>
                <p:endSync evt="end" delay="0">
                  <p:rtn val="all"/>
                </p:endSync>
                <p:childTnLst>
                  <p:par>
                    <p:cTn id="111" fill="hold">
                      <p:stCondLst>
                        <p:cond delay="0"/>
                      </p:stCondLst>
                      <p:childTnLst>
                        <p:par>
                          <p:cTn id="112" fill="hold">
                            <p:stCondLst>
                              <p:cond delay="0"/>
                            </p:stCondLst>
                            <p:childTnLst>
                              <p:par>
                                <p:cTn id="113" presetID="26" presetClass="emph" presetSubtype="0" fill="hold" nodeType="clickEffect">
                                  <p:stCondLst>
                                    <p:cond delay="0"/>
                                  </p:stCondLst>
                                  <p:childTnLst>
                                    <p:animEffect transition="out" filter="fade">
                                      <p:cBhvr>
                                        <p:cTn id="114" dur="500" tmFilter="0, 0; .2, .5; .8, .5; 1, 0"/>
                                        <p:tgtEl>
                                          <p:spTgt spid="68"/>
                                        </p:tgtEl>
                                      </p:cBhvr>
                                    </p:animEffect>
                                    <p:animScale>
                                      <p:cBhvr>
                                        <p:cTn id="115" dur="250" autoRev="1" fill="hold"/>
                                        <p:tgtEl>
                                          <p:spTgt spid="68"/>
                                        </p:tgtEl>
                                      </p:cBhvr>
                                      <p:by x="105000" y="105000"/>
                                    </p:animScale>
                                  </p:childTnLst>
                                  <p:subTnLst>
                                    <p:audio>
                                      <p:cMediaNode>
                                        <p:cTn display="0" masterRel="sameClick">
                                          <p:stCondLst>
                                            <p:cond evt="begin" delay="0">
                                              <p:tn val="113"/>
                                            </p:cond>
                                          </p:stCondLst>
                                          <p:endCondLst>
                                            <p:cond evt="onStopAudio" delay="0">
                                              <p:tgtEl>
                                                <p:sldTgt/>
                                              </p:tgtEl>
                                            </p:cond>
                                          </p:endCondLst>
                                        </p:cTn>
                                        <p:tgtEl>
                                          <p:sndTgt r:embed="rId6" name="click.wav"/>
                                        </p:tgtEl>
                                      </p:cMediaNode>
                                    </p:audio>
                                  </p:subTnLst>
                                </p:cTn>
                              </p:par>
                            </p:childTnLst>
                          </p:cTn>
                        </p:par>
                        <p:par>
                          <p:cTn id="116" fill="hold">
                            <p:stCondLst>
                              <p:cond delay="500"/>
                            </p:stCondLst>
                            <p:childTnLst>
                              <p:par>
                                <p:cTn id="117" presetID="10" presetClass="exit" presetSubtype="0" fill="hold" nodeType="afterEffect">
                                  <p:stCondLst>
                                    <p:cond delay="0"/>
                                  </p:stCondLst>
                                  <p:childTnLst>
                                    <p:animEffect transition="out" filter="fade">
                                      <p:cBhvr>
                                        <p:cTn id="118" dur="500"/>
                                        <p:tgtEl>
                                          <p:spTgt spid="33"/>
                                        </p:tgtEl>
                                      </p:cBhvr>
                                    </p:animEffect>
                                    <p:set>
                                      <p:cBhvr>
                                        <p:cTn id="119" dur="1" fill="hold">
                                          <p:stCondLst>
                                            <p:cond delay="499"/>
                                          </p:stCondLst>
                                        </p:cTn>
                                        <p:tgtEl>
                                          <p:spTgt spid="33"/>
                                        </p:tgtEl>
                                        <p:attrNameLst>
                                          <p:attrName>style.visibility</p:attrName>
                                        </p:attrNameLst>
                                      </p:cBhvr>
                                      <p:to>
                                        <p:strVal val="hidden"/>
                                      </p:to>
                                    </p:set>
                                  </p:childTnLst>
                                </p:cTn>
                              </p:par>
                              <p:par>
                                <p:cTn id="120" presetID="35" presetClass="path" presetSubtype="0" accel="50000" decel="50000" fill="hold" nodeType="withEffect">
                                  <p:stCondLst>
                                    <p:cond delay="0"/>
                                  </p:stCondLst>
                                  <p:childTnLst>
                                    <p:animMotion origin="layout" path="M 0.1599 -4.81481E-6 L -1.04167E-6 -4.81481E-6 " pathEditMode="relative" rAng="0" ptsTypes="AA">
                                      <p:cBhvr>
                                        <p:cTn id="121" dur="500" fill="hold"/>
                                        <p:tgtEl>
                                          <p:spTgt spid="68"/>
                                        </p:tgtEl>
                                        <p:attrNameLst>
                                          <p:attrName>ppt_x</p:attrName>
                                          <p:attrName>ppt_y</p:attrName>
                                        </p:attrNameLst>
                                      </p:cBhvr>
                                      <p:rCtr x="-7995" y="0"/>
                                    </p:animMotion>
                                  </p:childTnLst>
                                </p:cTn>
                              </p:par>
                              <p:par>
                                <p:cTn id="122" presetID="10" presetClass="entr" presetSubtype="0" fill="hold" nodeType="withEffect">
                                  <p:stCondLst>
                                    <p:cond delay="0"/>
                                  </p:stCondLst>
                                  <p:childTnLst>
                                    <p:set>
                                      <p:cBhvr>
                                        <p:cTn id="123" dur="1" fill="hold">
                                          <p:stCondLst>
                                            <p:cond delay="0"/>
                                          </p:stCondLst>
                                        </p:cTn>
                                        <p:tgtEl>
                                          <p:spTgt spid="31"/>
                                        </p:tgtEl>
                                        <p:attrNameLst>
                                          <p:attrName>style.visibility</p:attrName>
                                        </p:attrNameLst>
                                      </p:cBhvr>
                                      <p:to>
                                        <p:strVal val="visible"/>
                                      </p:to>
                                    </p:set>
                                    <p:animEffect transition="in" filter="fade">
                                      <p:cBhvr>
                                        <p:cTn id="124" dur="500"/>
                                        <p:tgtEl>
                                          <p:spTgt spid="31"/>
                                        </p:tgtEl>
                                      </p:cBhvr>
                                    </p:animEffect>
                                  </p:childTnLst>
                                </p:cTn>
                              </p:par>
                              <p:par>
                                <p:cTn id="125" presetID="10" presetClass="entr" presetSubtype="0" fill="hold" nodeType="withEffect">
                                  <p:stCondLst>
                                    <p:cond delay="0"/>
                                  </p:stCondLst>
                                  <p:childTnLst>
                                    <p:set>
                                      <p:cBhvr>
                                        <p:cTn id="126" dur="1" fill="hold">
                                          <p:stCondLst>
                                            <p:cond delay="0"/>
                                          </p:stCondLst>
                                        </p:cTn>
                                        <p:tgtEl>
                                          <p:spTgt spid="12"/>
                                        </p:tgtEl>
                                        <p:attrNameLst>
                                          <p:attrName>style.visibility</p:attrName>
                                        </p:attrNameLst>
                                      </p:cBhvr>
                                      <p:to>
                                        <p:strVal val="visible"/>
                                      </p:to>
                                    </p:set>
                                    <p:animEffect transition="in" filter="fade">
                                      <p:cBhvr>
                                        <p:cTn id="127" dur="500"/>
                                        <p:tgtEl>
                                          <p:spTgt spid="12"/>
                                        </p:tgtEl>
                                      </p:cBhvr>
                                    </p:animEffect>
                                  </p:childTnLst>
                                </p:cTn>
                              </p:par>
                              <p:par>
                                <p:cTn id="128" presetID="10" presetClass="entr" presetSubtype="0" fill="hold" nodeType="withEffect">
                                  <p:stCondLst>
                                    <p:cond delay="0"/>
                                  </p:stCondLst>
                                  <p:childTnLst>
                                    <p:set>
                                      <p:cBhvr>
                                        <p:cTn id="129" dur="1" fill="hold">
                                          <p:stCondLst>
                                            <p:cond delay="0"/>
                                          </p:stCondLst>
                                        </p:cTn>
                                        <p:tgtEl>
                                          <p:spTgt spid="2"/>
                                        </p:tgtEl>
                                        <p:attrNameLst>
                                          <p:attrName>style.visibility</p:attrName>
                                        </p:attrNameLst>
                                      </p:cBhvr>
                                      <p:to>
                                        <p:strVal val="visible"/>
                                      </p:to>
                                    </p:set>
                                    <p:animEffect transition="in" filter="fade">
                                      <p:cBhvr>
                                        <p:cTn id="130" dur="500"/>
                                        <p:tgtEl>
                                          <p:spTgt spid="2"/>
                                        </p:tgtEl>
                                      </p:cBhvr>
                                    </p:animEffect>
                                  </p:childTnLst>
                                </p:cTn>
                              </p:par>
                              <p:par>
                                <p:cTn id="131" presetID="10" presetClass="entr" presetSubtype="0" fill="hold" nodeType="withEffect">
                                  <p:stCondLst>
                                    <p:cond delay="0"/>
                                  </p:stCondLst>
                                  <p:childTnLst>
                                    <p:set>
                                      <p:cBhvr>
                                        <p:cTn id="132" dur="1" fill="hold">
                                          <p:stCondLst>
                                            <p:cond delay="0"/>
                                          </p:stCondLst>
                                        </p:cTn>
                                        <p:tgtEl>
                                          <p:spTgt spid="16"/>
                                        </p:tgtEl>
                                        <p:attrNameLst>
                                          <p:attrName>style.visibility</p:attrName>
                                        </p:attrNameLst>
                                      </p:cBhvr>
                                      <p:to>
                                        <p:strVal val="visible"/>
                                      </p:to>
                                    </p:set>
                                    <p:animEffect transition="in" filter="fade">
                                      <p:cBhvr>
                                        <p:cTn id="133" dur="500"/>
                                        <p:tgtEl>
                                          <p:spTgt spid="16"/>
                                        </p:tgtEl>
                                      </p:cBhvr>
                                    </p:animEffect>
                                  </p:childTnLst>
                                </p:cTn>
                              </p:par>
                              <p:par>
                                <p:cTn id="134" presetID="10" presetClass="entr" presetSubtype="0" fill="hold" nodeType="withEffect">
                                  <p:stCondLst>
                                    <p:cond delay="0"/>
                                  </p:stCondLst>
                                  <p:childTnLst>
                                    <p:set>
                                      <p:cBhvr>
                                        <p:cTn id="135" dur="1" fill="hold">
                                          <p:stCondLst>
                                            <p:cond delay="0"/>
                                          </p:stCondLst>
                                        </p:cTn>
                                        <p:tgtEl>
                                          <p:spTgt spid="4"/>
                                        </p:tgtEl>
                                        <p:attrNameLst>
                                          <p:attrName>style.visibility</p:attrName>
                                        </p:attrNameLst>
                                      </p:cBhvr>
                                      <p:to>
                                        <p:strVal val="visible"/>
                                      </p:to>
                                    </p:set>
                                    <p:animEffect transition="in" filter="fade">
                                      <p:cBhvr>
                                        <p:cTn id="136" dur="500"/>
                                        <p:tgtEl>
                                          <p:spTgt spid="4"/>
                                        </p:tgtEl>
                                      </p:cBhvr>
                                    </p:animEffect>
                                  </p:childTnLst>
                                </p:cTn>
                              </p:par>
                              <p:par>
                                <p:cTn id="137" presetID="10" presetClass="entr" presetSubtype="0" fill="hold" nodeType="withEffect">
                                  <p:stCondLst>
                                    <p:cond delay="0"/>
                                  </p:stCondLst>
                                  <p:childTnLst>
                                    <p:set>
                                      <p:cBhvr>
                                        <p:cTn id="138" dur="1" fill="hold">
                                          <p:stCondLst>
                                            <p:cond delay="0"/>
                                          </p:stCondLst>
                                        </p:cTn>
                                        <p:tgtEl>
                                          <p:spTgt spid="6"/>
                                        </p:tgtEl>
                                        <p:attrNameLst>
                                          <p:attrName>style.visibility</p:attrName>
                                        </p:attrNameLst>
                                      </p:cBhvr>
                                      <p:to>
                                        <p:strVal val="visible"/>
                                      </p:to>
                                    </p:set>
                                    <p:animEffect transition="in" filter="fade">
                                      <p:cBhvr>
                                        <p:cTn id="139" dur="500"/>
                                        <p:tgtEl>
                                          <p:spTgt spid="6"/>
                                        </p:tgtEl>
                                      </p:cBhvr>
                                    </p:animEffect>
                                  </p:childTnLst>
                                </p:cTn>
                              </p:par>
                            </p:childTnLst>
                          </p:cTn>
                        </p:par>
                      </p:childTnLst>
                    </p:cTn>
                  </p:par>
                </p:childTnLst>
              </p:cTn>
              <p:nextCondLst>
                <p:cond evt="onClick" delay="0">
                  <p:tgtEl>
                    <p:spTgt spid="68"/>
                  </p:tgtEl>
                </p:cond>
              </p:nextCondLst>
            </p:seq>
            <p:seq concurrent="1" nextAc="seek">
              <p:cTn id="140" restart="whenNotActive" fill="hold" evtFilter="cancelBubble" nodeType="interactiveSeq">
                <p:stCondLst>
                  <p:cond evt="onClick" delay="0">
                    <p:tgtEl>
                      <p:spTgt spid="15"/>
                    </p:tgtEl>
                  </p:cond>
                </p:stCondLst>
                <p:endSync evt="end" delay="0">
                  <p:rtn val="all"/>
                </p:endSync>
                <p:childTnLst>
                  <p:par>
                    <p:cTn id="141" fill="hold">
                      <p:stCondLst>
                        <p:cond delay="0"/>
                      </p:stCondLst>
                      <p:childTnLst>
                        <p:par>
                          <p:cTn id="142" fill="hold">
                            <p:stCondLst>
                              <p:cond delay="0"/>
                            </p:stCondLst>
                            <p:childTnLst>
                              <p:par>
                                <p:cTn id="143" presetID="26" presetClass="emph" presetSubtype="0" fill="hold" nodeType="clickEffect">
                                  <p:stCondLst>
                                    <p:cond delay="0"/>
                                  </p:stCondLst>
                                  <p:childTnLst>
                                    <p:animEffect transition="out" filter="fade">
                                      <p:cBhvr>
                                        <p:cTn id="144" dur="500" tmFilter="0, 0; .2, .5; .8, .5; 1, 0"/>
                                        <p:tgtEl>
                                          <p:spTgt spid="15"/>
                                        </p:tgtEl>
                                      </p:cBhvr>
                                    </p:animEffect>
                                    <p:animScale>
                                      <p:cBhvr>
                                        <p:cTn id="145" dur="250" autoRev="1" fill="hold"/>
                                        <p:tgtEl>
                                          <p:spTgt spid="15"/>
                                        </p:tgtEl>
                                      </p:cBhvr>
                                      <p:by x="105000" y="105000"/>
                                    </p:animScale>
                                  </p:childTnLst>
                                  <p:subTnLst>
                                    <p:audio>
                                      <p:cMediaNode>
                                        <p:cTn display="0" masterRel="sameClick">
                                          <p:stCondLst>
                                            <p:cond evt="begin" delay="0">
                                              <p:tn val="143"/>
                                            </p:cond>
                                          </p:stCondLst>
                                          <p:endCondLst>
                                            <p:cond evt="onStopAudio" delay="0">
                                              <p:tgtEl>
                                                <p:sldTgt/>
                                              </p:tgtEl>
                                            </p:cond>
                                          </p:endCondLst>
                                        </p:cTn>
                                        <p:tgtEl>
                                          <p:sndTgt r:embed="rId6" name="click.wav"/>
                                        </p:tgtEl>
                                      </p:cMediaNode>
                                    </p:audio>
                                  </p:subTnLst>
                                </p:cTn>
                              </p:par>
                            </p:childTnLst>
                          </p:cTn>
                        </p:par>
                        <p:par>
                          <p:cTn id="146" fill="hold">
                            <p:stCondLst>
                              <p:cond delay="500"/>
                            </p:stCondLst>
                            <p:childTnLst>
                              <p:par>
                                <p:cTn id="147" presetID="1" presetClass="mediacall" presetSubtype="0" fill="hold" nodeType="afterEffect">
                                  <p:stCondLst>
                                    <p:cond delay="0"/>
                                  </p:stCondLst>
                                  <p:childTnLst>
                                    <p:cmd type="call" cmd="playFrom(0.0)">
                                      <p:cBhvr>
                                        <p:cTn id="148" dur="4995" fill="hold"/>
                                        <p:tgtEl>
                                          <p:spTgt spid="7"/>
                                        </p:tgtEl>
                                      </p:cBhvr>
                                    </p:cmd>
                                  </p:childTnLst>
                                </p:cTn>
                              </p:par>
                              <p:par>
                                <p:cTn id="149" presetID="1" presetClass="entr" presetSubtype="0" fill="hold" nodeType="withEffect">
                                  <p:stCondLst>
                                    <p:cond delay="0"/>
                                  </p:stCondLst>
                                  <p:childTnLst>
                                    <p:set>
                                      <p:cBhvr>
                                        <p:cTn id="150" dur="1" fill="hold">
                                          <p:stCondLst>
                                            <p:cond delay="0"/>
                                          </p:stCondLst>
                                        </p:cTn>
                                        <p:tgtEl>
                                          <p:spTgt spid="13"/>
                                        </p:tgtEl>
                                        <p:attrNameLst>
                                          <p:attrName>style.visibility</p:attrName>
                                        </p:attrNameLst>
                                      </p:cBhvr>
                                      <p:to>
                                        <p:strVal val="visible"/>
                                      </p:to>
                                    </p:set>
                                  </p:childTnLst>
                                </p:cTn>
                              </p:par>
                              <p:par>
                                <p:cTn id="151" presetID="63" presetClass="path" presetSubtype="0" accel="50000" decel="50000" fill="hold" nodeType="withEffect">
                                  <p:stCondLst>
                                    <p:cond delay="0"/>
                                  </p:stCondLst>
                                  <p:childTnLst>
                                    <p:animMotion origin="layout" path="M 6.25E-7 -4.81481E-6 L 0.1599 -4.81481E-6 " pathEditMode="relative" rAng="0" ptsTypes="AA">
                                      <p:cBhvr>
                                        <p:cTn id="152" dur="500" fill="hold"/>
                                        <p:tgtEl>
                                          <p:spTgt spid="14"/>
                                        </p:tgtEl>
                                        <p:attrNameLst>
                                          <p:attrName>ppt_x</p:attrName>
                                          <p:attrName>ppt_y</p:attrName>
                                        </p:attrNameLst>
                                      </p:cBhvr>
                                      <p:rCtr x="7995" y="0"/>
                                    </p:animMotion>
                                  </p:childTnLst>
                                </p:cTn>
                              </p:par>
                              <p:par>
                                <p:cTn id="153" presetID="10" presetClass="exit" presetSubtype="0" fill="hold" nodeType="withEffect">
                                  <p:stCondLst>
                                    <p:cond delay="0"/>
                                  </p:stCondLst>
                                  <p:childTnLst>
                                    <p:animEffect transition="out" filter="fade">
                                      <p:cBhvr>
                                        <p:cTn id="154" dur="500"/>
                                        <p:tgtEl>
                                          <p:spTgt spid="31"/>
                                        </p:tgtEl>
                                      </p:cBhvr>
                                    </p:animEffect>
                                    <p:set>
                                      <p:cBhvr>
                                        <p:cTn id="155" dur="1" fill="hold">
                                          <p:stCondLst>
                                            <p:cond delay="499"/>
                                          </p:stCondLst>
                                        </p:cTn>
                                        <p:tgtEl>
                                          <p:spTgt spid="31"/>
                                        </p:tgtEl>
                                        <p:attrNameLst>
                                          <p:attrName>style.visibility</p:attrName>
                                        </p:attrNameLst>
                                      </p:cBhvr>
                                      <p:to>
                                        <p:strVal val="hidden"/>
                                      </p:to>
                                    </p:set>
                                  </p:childTnLst>
                                </p:cTn>
                              </p:par>
                              <p:par>
                                <p:cTn id="156" presetID="10" presetClass="exit" presetSubtype="0" fill="hold" nodeType="withEffect">
                                  <p:stCondLst>
                                    <p:cond delay="0"/>
                                  </p:stCondLst>
                                  <p:childTnLst>
                                    <p:animEffect transition="out" filter="fade">
                                      <p:cBhvr>
                                        <p:cTn id="157" dur="500"/>
                                        <p:tgtEl>
                                          <p:spTgt spid="12"/>
                                        </p:tgtEl>
                                      </p:cBhvr>
                                    </p:animEffect>
                                    <p:set>
                                      <p:cBhvr>
                                        <p:cTn id="158" dur="1" fill="hold">
                                          <p:stCondLst>
                                            <p:cond delay="499"/>
                                          </p:stCondLst>
                                        </p:cTn>
                                        <p:tgtEl>
                                          <p:spTgt spid="12"/>
                                        </p:tgtEl>
                                        <p:attrNameLst>
                                          <p:attrName>style.visibility</p:attrName>
                                        </p:attrNameLst>
                                      </p:cBhvr>
                                      <p:to>
                                        <p:strVal val="hidden"/>
                                      </p:to>
                                    </p:set>
                                  </p:childTnLst>
                                </p:cTn>
                              </p:par>
                              <p:par>
                                <p:cTn id="159" presetID="10" presetClass="exit" presetSubtype="0" fill="hold" nodeType="withEffect">
                                  <p:stCondLst>
                                    <p:cond delay="0"/>
                                  </p:stCondLst>
                                  <p:childTnLst>
                                    <p:animEffect transition="out" filter="fade">
                                      <p:cBhvr>
                                        <p:cTn id="160" dur="500"/>
                                        <p:tgtEl>
                                          <p:spTgt spid="2"/>
                                        </p:tgtEl>
                                      </p:cBhvr>
                                    </p:animEffect>
                                    <p:set>
                                      <p:cBhvr>
                                        <p:cTn id="161" dur="1" fill="hold">
                                          <p:stCondLst>
                                            <p:cond delay="499"/>
                                          </p:stCondLst>
                                        </p:cTn>
                                        <p:tgtEl>
                                          <p:spTgt spid="2"/>
                                        </p:tgtEl>
                                        <p:attrNameLst>
                                          <p:attrName>style.visibility</p:attrName>
                                        </p:attrNameLst>
                                      </p:cBhvr>
                                      <p:to>
                                        <p:strVal val="hidden"/>
                                      </p:to>
                                    </p:set>
                                  </p:childTnLst>
                                </p:cTn>
                              </p:par>
                              <p:par>
                                <p:cTn id="162" presetID="10" presetClass="exit" presetSubtype="0" fill="hold" nodeType="withEffect">
                                  <p:stCondLst>
                                    <p:cond delay="0"/>
                                  </p:stCondLst>
                                  <p:childTnLst>
                                    <p:animEffect transition="out" filter="fade">
                                      <p:cBhvr>
                                        <p:cTn id="163" dur="500"/>
                                        <p:tgtEl>
                                          <p:spTgt spid="16"/>
                                        </p:tgtEl>
                                      </p:cBhvr>
                                    </p:animEffect>
                                    <p:set>
                                      <p:cBhvr>
                                        <p:cTn id="164" dur="1" fill="hold">
                                          <p:stCondLst>
                                            <p:cond delay="499"/>
                                          </p:stCondLst>
                                        </p:cTn>
                                        <p:tgtEl>
                                          <p:spTgt spid="16"/>
                                        </p:tgtEl>
                                        <p:attrNameLst>
                                          <p:attrName>style.visibility</p:attrName>
                                        </p:attrNameLst>
                                      </p:cBhvr>
                                      <p:to>
                                        <p:strVal val="hidden"/>
                                      </p:to>
                                    </p:set>
                                  </p:childTnLst>
                                </p:cTn>
                              </p:par>
                              <p:par>
                                <p:cTn id="165" presetID="10" presetClass="exit" presetSubtype="0" fill="hold" nodeType="withEffect">
                                  <p:stCondLst>
                                    <p:cond delay="0"/>
                                  </p:stCondLst>
                                  <p:childTnLst>
                                    <p:animEffect transition="out" filter="fade">
                                      <p:cBhvr>
                                        <p:cTn id="166" dur="500"/>
                                        <p:tgtEl>
                                          <p:spTgt spid="15"/>
                                        </p:tgtEl>
                                      </p:cBhvr>
                                    </p:animEffect>
                                    <p:set>
                                      <p:cBhvr>
                                        <p:cTn id="167" dur="1" fill="hold">
                                          <p:stCondLst>
                                            <p:cond delay="499"/>
                                          </p:stCondLst>
                                        </p:cTn>
                                        <p:tgtEl>
                                          <p:spTgt spid="15"/>
                                        </p:tgtEl>
                                        <p:attrNameLst>
                                          <p:attrName>style.visibility</p:attrName>
                                        </p:attrNameLst>
                                      </p:cBhvr>
                                      <p:to>
                                        <p:strVal val="hidden"/>
                                      </p:to>
                                    </p:set>
                                  </p:childTnLst>
                                </p:cTn>
                              </p:par>
                              <p:par>
                                <p:cTn id="168" presetID="10" presetClass="exit" presetSubtype="0" fill="hold" nodeType="withEffect">
                                  <p:stCondLst>
                                    <p:cond delay="0"/>
                                  </p:stCondLst>
                                  <p:childTnLst>
                                    <p:animEffect transition="out" filter="fade">
                                      <p:cBhvr>
                                        <p:cTn id="169" dur="500"/>
                                        <p:tgtEl>
                                          <p:spTgt spid="18"/>
                                        </p:tgtEl>
                                      </p:cBhvr>
                                    </p:animEffect>
                                    <p:set>
                                      <p:cBhvr>
                                        <p:cTn id="170" dur="1" fill="hold">
                                          <p:stCondLst>
                                            <p:cond delay="499"/>
                                          </p:stCondLst>
                                        </p:cTn>
                                        <p:tgtEl>
                                          <p:spTgt spid="18"/>
                                        </p:tgtEl>
                                        <p:attrNameLst>
                                          <p:attrName>style.visibility</p:attrName>
                                        </p:attrNameLst>
                                      </p:cBhvr>
                                      <p:to>
                                        <p:strVal val="hidden"/>
                                      </p:to>
                                    </p:set>
                                  </p:childTnLst>
                                </p:cTn>
                              </p:par>
                              <p:par>
                                <p:cTn id="171" presetID="10" presetClass="exit" presetSubtype="0" fill="hold" nodeType="withEffect">
                                  <p:stCondLst>
                                    <p:cond delay="0"/>
                                  </p:stCondLst>
                                  <p:childTnLst>
                                    <p:animEffect transition="out" filter="fade">
                                      <p:cBhvr>
                                        <p:cTn id="172" dur="500"/>
                                        <p:tgtEl>
                                          <p:spTgt spid="20"/>
                                        </p:tgtEl>
                                      </p:cBhvr>
                                    </p:animEffect>
                                    <p:set>
                                      <p:cBhvr>
                                        <p:cTn id="173" dur="1" fill="hold">
                                          <p:stCondLst>
                                            <p:cond delay="499"/>
                                          </p:stCondLst>
                                        </p:cTn>
                                        <p:tgtEl>
                                          <p:spTgt spid="20"/>
                                        </p:tgtEl>
                                        <p:attrNameLst>
                                          <p:attrName>style.visibility</p:attrName>
                                        </p:attrNameLst>
                                      </p:cBhvr>
                                      <p:to>
                                        <p:strVal val="hidden"/>
                                      </p:to>
                                    </p:set>
                                  </p:childTnLst>
                                </p:cTn>
                              </p:par>
                              <p:par>
                                <p:cTn id="174" presetID="10" presetClass="exit" presetSubtype="0" fill="hold" nodeType="withEffect">
                                  <p:stCondLst>
                                    <p:cond delay="0"/>
                                  </p:stCondLst>
                                  <p:childTnLst>
                                    <p:animEffect transition="out" filter="fade">
                                      <p:cBhvr>
                                        <p:cTn id="175" dur="500"/>
                                        <p:tgtEl>
                                          <p:spTgt spid="17"/>
                                        </p:tgtEl>
                                      </p:cBhvr>
                                    </p:animEffect>
                                    <p:set>
                                      <p:cBhvr>
                                        <p:cTn id="176" dur="1" fill="hold">
                                          <p:stCondLst>
                                            <p:cond delay="499"/>
                                          </p:stCondLst>
                                        </p:cTn>
                                        <p:tgtEl>
                                          <p:spTgt spid="17"/>
                                        </p:tgtEl>
                                        <p:attrNameLst>
                                          <p:attrName>style.visibility</p:attrName>
                                        </p:attrNameLst>
                                      </p:cBhvr>
                                      <p:to>
                                        <p:strVal val="hidden"/>
                                      </p:to>
                                    </p:set>
                                  </p:childTnLst>
                                </p:cTn>
                              </p:par>
                              <p:par>
                                <p:cTn id="177" presetID="10" presetClass="exit" presetSubtype="0" fill="hold" nodeType="withEffect">
                                  <p:stCondLst>
                                    <p:cond delay="0"/>
                                  </p:stCondLst>
                                  <p:childTnLst>
                                    <p:animEffect transition="out" filter="fade">
                                      <p:cBhvr>
                                        <p:cTn id="178" dur="500"/>
                                        <p:tgtEl>
                                          <p:spTgt spid="21"/>
                                        </p:tgtEl>
                                      </p:cBhvr>
                                    </p:animEffect>
                                    <p:set>
                                      <p:cBhvr>
                                        <p:cTn id="179" dur="1" fill="hold">
                                          <p:stCondLst>
                                            <p:cond delay="499"/>
                                          </p:stCondLst>
                                        </p:cTn>
                                        <p:tgtEl>
                                          <p:spTgt spid="21"/>
                                        </p:tgtEl>
                                        <p:attrNameLst>
                                          <p:attrName>style.visibility</p:attrName>
                                        </p:attrNameLst>
                                      </p:cBhvr>
                                      <p:to>
                                        <p:strVal val="hidden"/>
                                      </p:to>
                                    </p:set>
                                  </p:childTnLst>
                                </p:cTn>
                              </p:par>
                              <p:par>
                                <p:cTn id="180" presetID="10" presetClass="exit" presetSubtype="0" fill="hold" nodeType="withEffect">
                                  <p:stCondLst>
                                    <p:cond delay="0"/>
                                  </p:stCondLst>
                                  <p:childTnLst>
                                    <p:animEffect transition="out" filter="fade">
                                      <p:cBhvr>
                                        <p:cTn id="181" dur="500"/>
                                        <p:tgtEl>
                                          <p:spTgt spid="19"/>
                                        </p:tgtEl>
                                      </p:cBhvr>
                                    </p:animEffect>
                                    <p:set>
                                      <p:cBhvr>
                                        <p:cTn id="182" dur="1" fill="hold">
                                          <p:stCondLst>
                                            <p:cond delay="499"/>
                                          </p:stCondLst>
                                        </p:cTn>
                                        <p:tgtEl>
                                          <p:spTgt spid="19"/>
                                        </p:tgtEl>
                                        <p:attrNameLst>
                                          <p:attrName>style.visibility</p:attrName>
                                        </p:attrNameLst>
                                      </p:cBhvr>
                                      <p:to>
                                        <p:strVal val="hidden"/>
                                      </p:to>
                                    </p:set>
                                  </p:childTnLst>
                                </p:cTn>
                              </p:par>
                              <p:par>
                                <p:cTn id="183" presetID="10" presetClass="exit" presetSubtype="0" fill="hold" nodeType="withEffect">
                                  <p:stCondLst>
                                    <p:cond delay="0"/>
                                  </p:stCondLst>
                                  <p:childTnLst>
                                    <p:animEffect transition="out" filter="fade">
                                      <p:cBhvr>
                                        <p:cTn id="184" dur="500"/>
                                        <p:tgtEl>
                                          <p:spTgt spid="4"/>
                                        </p:tgtEl>
                                      </p:cBhvr>
                                    </p:animEffect>
                                    <p:set>
                                      <p:cBhvr>
                                        <p:cTn id="185" dur="1" fill="hold">
                                          <p:stCondLst>
                                            <p:cond delay="499"/>
                                          </p:stCondLst>
                                        </p:cTn>
                                        <p:tgtEl>
                                          <p:spTgt spid="4"/>
                                        </p:tgtEl>
                                        <p:attrNameLst>
                                          <p:attrName>style.visibility</p:attrName>
                                        </p:attrNameLst>
                                      </p:cBhvr>
                                      <p:to>
                                        <p:strVal val="hidden"/>
                                      </p:to>
                                    </p:set>
                                  </p:childTnLst>
                                </p:cTn>
                              </p:par>
                              <p:par>
                                <p:cTn id="186" presetID="10" presetClass="exit" presetSubtype="0" fill="hold" nodeType="withEffect">
                                  <p:stCondLst>
                                    <p:cond delay="0"/>
                                  </p:stCondLst>
                                  <p:childTnLst>
                                    <p:animEffect transition="out" filter="fade">
                                      <p:cBhvr>
                                        <p:cTn id="187" dur="500"/>
                                        <p:tgtEl>
                                          <p:spTgt spid="6"/>
                                        </p:tgtEl>
                                      </p:cBhvr>
                                    </p:animEffect>
                                    <p:set>
                                      <p:cBhvr>
                                        <p:cTn id="188"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15"/>
                  </p:tgtEl>
                </p:cond>
              </p:nextCondLst>
            </p:seq>
            <p:seq concurrent="1" nextAc="seek">
              <p:cTn id="189" restart="whenNotActive" fill="hold" evtFilter="cancelBubble" nodeType="interactiveSeq">
                <p:stCondLst>
                  <p:cond evt="onClick" delay="0">
                    <p:tgtEl>
                      <p:spTgt spid="14"/>
                    </p:tgtEl>
                  </p:cond>
                </p:stCondLst>
                <p:endSync evt="end" delay="0">
                  <p:rtn val="all"/>
                </p:endSync>
                <p:childTnLst>
                  <p:par>
                    <p:cTn id="190" fill="hold">
                      <p:stCondLst>
                        <p:cond delay="0"/>
                      </p:stCondLst>
                      <p:childTnLst>
                        <p:par>
                          <p:cTn id="191" fill="hold">
                            <p:stCondLst>
                              <p:cond delay="0"/>
                            </p:stCondLst>
                            <p:childTnLst>
                              <p:par>
                                <p:cTn id="192" presetID="26" presetClass="emph" presetSubtype="0" fill="hold" nodeType="clickEffect">
                                  <p:stCondLst>
                                    <p:cond delay="0"/>
                                  </p:stCondLst>
                                  <p:childTnLst>
                                    <p:animEffect transition="out" filter="fade">
                                      <p:cBhvr>
                                        <p:cTn id="193" dur="500" tmFilter="0, 0; .2, .5; .8, .5; 1, 0"/>
                                        <p:tgtEl>
                                          <p:spTgt spid="14"/>
                                        </p:tgtEl>
                                      </p:cBhvr>
                                    </p:animEffect>
                                    <p:animScale>
                                      <p:cBhvr>
                                        <p:cTn id="194" dur="250" autoRev="1" fill="hold"/>
                                        <p:tgtEl>
                                          <p:spTgt spid="14"/>
                                        </p:tgtEl>
                                      </p:cBhvr>
                                      <p:by x="105000" y="105000"/>
                                    </p:animScale>
                                  </p:childTnLst>
                                  <p:subTnLst>
                                    <p:audio>
                                      <p:cMediaNode>
                                        <p:cTn display="0" masterRel="sameClick">
                                          <p:stCondLst>
                                            <p:cond evt="begin" delay="0">
                                              <p:tn val="192"/>
                                            </p:cond>
                                          </p:stCondLst>
                                          <p:endCondLst>
                                            <p:cond evt="onStopAudio" delay="0">
                                              <p:tgtEl>
                                                <p:sldTgt/>
                                              </p:tgtEl>
                                            </p:cond>
                                          </p:endCondLst>
                                        </p:cTn>
                                        <p:tgtEl>
                                          <p:sndTgt r:embed="rId6" name="click.wav"/>
                                        </p:tgtEl>
                                      </p:cMediaNode>
                                    </p:audio>
                                  </p:subTnLst>
                                </p:cTn>
                              </p:par>
                              <p:par>
                                <p:cTn id="195" presetID="35" presetClass="path" presetSubtype="0" accel="50000" decel="50000" fill="hold" nodeType="withEffect">
                                  <p:stCondLst>
                                    <p:cond delay="0"/>
                                  </p:stCondLst>
                                  <p:childTnLst>
                                    <p:animMotion origin="layout" path="M 0.1599 -4.81481E-6 L 6.25E-7 -4.81481E-6 " pathEditMode="relative" rAng="0" ptsTypes="AA">
                                      <p:cBhvr>
                                        <p:cTn id="196" dur="500" fill="hold"/>
                                        <p:tgtEl>
                                          <p:spTgt spid="14"/>
                                        </p:tgtEl>
                                        <p:attrNameLst>
                                          <p:attrName>ppt_x</p:attrName>
                                          <p:attrName>ppt_y</p:attrName>
                                        </p:attrNameLst>
                                      </p:cBhvr>
                                      <p:rCtr x="-7995" y="0"/>
                                    </p:animMotion>
                                  </p:childTnLst>
                                </p:cTn>
                              </p:par>
                            </p:childTnLst>
                          </p:cTn>
                        </p:par>
                        <p:par>
                          <p:cTn id="197" fill="hold">
                            <p:stCondLst>
                              <p:cond delay="500"/>
                            </p:stCondLst>
                            <p:childTnLst>
                              <p:par>
                                <p:cTn id="198" presetID="1" presetClass="exit" presetSubtype="0" fill="hold" nodeType="afterEffect">
                                  <p:stCondLst>
                                    <p:cond delay="0"/>
                                  </p:stCondLst>
                                  <p:childTnLst>
                                    <p:set>
                                      <p:cBhvr>
                                        <p:cTn id="199" dur="1" fill="hold">
                                          <p:stCondLst>
                                            <p:cond delay="0"/>
                                          </p:stCondLst>
                                        </p:cTn>
                                        <p:tgtEl>
                                          <p:spTgt spid="13"/>
                                        </p:tgtEl>
                                        <p:attrNameLst>
                                          <p:attrName>style.visibility</p:attrName>
                                        </p:attrNameLst>
                                      </p:cBhvr>
                                      <p:to>
                                        <p:strVal val="hidden"/>
                                      </p:to>
                                    </p:set>
                                  </p:childTnLst>
                                </p:cTn>
                              </p:par>
                              <p:par>
                                <p:cTn id="200" presetID="10" presetClass="entr" presetSubtype="0" fill="hold" nodeType="withEffect">
                                  <p:stCondLst>
                                    <p:cond delay="0"/>
                                  </p:stCondLst>
                                  <p:childTnLst>
                                    <p:set>
                                      <p:cBhvr>
                                        <p:cTn id="201" dur="1" fill="hold">
                                          <p:stCondLst>
                                            <p:cond delay="0"/>
                                          </p:stCondLst>
                                        </p:cTn>
                                        <p:tgtEl>
                                          <p:spTgt spid="31"/>
                                        </p:tgtEl>
                                        <p:attrNameLst>
                                          <p:attrName>style.visibility</p:attrName>
                                        </p:attrNameLst>
                                      </p:cBhvr>
                                      <p:to>
                                        <p:strVal val="visible"/>
                                      </p:to>
                                    </p:set>
                                    <p:animEffect transition="in" filter="fade">
                                      <p:cBhvr>
                                        <p:cTn id="202" dur="500"/>
                                        <p:tgtEl>
                                          <p:spTgt spid="31"/>
                                        </p:tgtEl>
                                      </p:cBhvr>
                                    </p:animEffect>
                                  </p:childTnLst>
                                </p:cTn>
                              </p:par>
                              <p:par>
                                <p:cTn id="203" presetID="10" presetClass="entr" presetSubtype="0" fill="hold" nodeType="withEffect">
                                  <p:stCondLst>
                                    <p:cond delay="0"/>
                                  </p:stCondLst>
                                  <p:childTnLst>
                                    <p:set>
                                      <p:cBhvr>
                                        <p:cTn id="204" dur="1" fill="hold">
                                          <p:stCondLst>
                                            <p:cond delay="0"/>
                                          </p:stCondLst>
                                        </p:cTn>
                                        <p:tgtEl>
                                          <p:spTgt spid="12"/>
                                        </p:tgtEl>
                                        <p:attrNameLst>
                                          <p:attrName>style.visibility</p:attrName>
                                        </p:attrNameLst>
                                      </p:cBhvr>
                                      <p:to>
                                        <p:strVal val="visible"/>
                                      </p:to>
                                    </p:set>
                                    <p:animEffect transition="in" filter="fade">
                                      <p:cBhvr>
                                        <p:cTn id="205" dur="500"/>
                                        <p:tgtEl>
                                          <p:spTgt spid="12"/>
                                        </p:tgtEl>
                                      </p:cBhvr>
                                    </p:animEffect>
                                  </p:childTnLst>
                                </p:cTn>
                              </p:par>
                              <p:par>
                                <p:cTn id="206" presetID="10" presetClass="entr" presetSubtype="0" fill="hold" nodeType="withEffect">
                                  <p:stCondLst>
                                    <p:cond delay="0"/>
                                  </p:stCondLst>
                                  <p:childTnLst>
                                    <p:set>
                                      <p:cBhvr>
                                        <p:cTn id="207" dur="1" fill="hold">
                                          <p:stCondLst>
                                            <p:cond delay="0"/>
                                          </p:stCondLst>
                                        </p:cTn>
                                        <p:tgtEl>
                                          <p:spTgt spid="2"/>
                                        </p:tgtEl>
                                        <p:attrNameLst>
                                          <p:attrName>style.visibility</p:attrName>
                                        </p:attrNameLst>
                                      </p:cBhvr>
                                      <p:to>
                                        <p:strVal val="visible"/>
                                      </p:to>
                                    </p:set>
                                    <p:animEffect transition="in" filter="fade">
                                      <p:cBhvr>
                                        <p:cTn id="208" dur="500"/>
                                        <p:tgtEl>
                                          <p:spTgt spid="2"/>
                                        </p:tgtEl>
                                      </p:cBhvr>
                                    </p:animEffect>
                                  </p:childTnLst>
                                </p:cTn>
                              </p:par>
                              <p:par>
                                <p:cTn id="209" presetID="10" presetClass="entr" presetSubtype="0" fill="hold" nodeType="withEffect">
                                  <p:stCondLst>
                                    <p:cond delay="0"/>
                                  </p:stCondLst>
                                  <p:childTnLst>
                                    <p:set>
                                      <p:cBhvr>
                                        <p:cTn id="210" dur="1" fill="hold">
                                          <p:stCondLst>
                                            <p:cond delay="0"/>
                                          </p:stCondLst>
                                        </p:cTn>
                                        <p:tgtEl>
                                          <p:spTgt spid="16"/>
                                        </p:tgtEl>
                                        <p:attrNameLst>
                                          <p:attrName>style.visibility</p:attrName>
                                        </p:attrNameLst>
                                      </p:cBhvr>
                                      <p:to>
                                        <p:strVal val="visible"/>
                                      </p:to>
                                    </p:set>
                                    <p:animEffect transition="in" filter="fade">
                                      <p:cBhvr>
                                        <p:cTn id="211" dur="500"/>
                                        <p:tgtEl>
                                          <p:spTgt spid="16"/>
                                        </p:tgtEl>
                                      </p:cBhvr>
                                    </p:animEffect>
                                  </p:childTnLst>
                                </p:cTn>
                              </p:par>
                              <p:par>
                                <p:cTn id="212" presetID="10" presetClass="entr" presetSubtype="0" fill="hold" nodeType="withEffect">
                                  <p:stCondLst>
                                    <p:cond delay="0"/>
                                  </p:stCondLst>
                                  <p:childTnLst>
                                    <p:set>
                                      <p:cBhvr>
                                        <p:cTn id="213" dur="1" fill="hold">
                                          <p:stCondLst>
                                            <p:cond delay="0"/>
                                          </p:stCondLst>
                                        </p:cTn>
                                        <p:tgtEl>
                                          <p:spTgt spid="15"/>
                                        </p:tgtEl>
                                        <p:attrNameLst>
                                          <p:attrName>style.visibility</p:attrName>
                                        </p:attrNameLst>
                                      </p:cBhvr>
                                      <p:to>
                                        <p:strVal val="visible"/>
                                      </p:to>
                                    </p:set>
                                    <p:animEffect transition="in" filter="fade">
                                      <p:cBhvr>
                                        <p:cTn id="214" dur="500"/>
                                        <p:tgtEl>
                                          <p:spTgt spid="15"/>
                                        </p:tgtEl>
                                      </p:cBhvr>
                                    </p:animEffect>
                                  </p:childTnLst>
                                </p:cTn>
                              </p:par>
                              <p:par>
                                <p:cTn id="215" presetID="10" presetClass="entr" presetSubtype="0" fill="hold" nodeType="withEffect">
                                  <p:stCondLst>
                                    <p:cond delay="0"/>
                                  </p:stCondLst>
                                  <p:childTnLst>
                                    <p:set>
                                      <p:cBhvr>
                                        <p:cTn id="216" dur="1" fill="hold">
                                          <p:stCondLst>
                                            <p:cond delay="0"/>
                                          </p:stCondLst>
                                        </p:cTn>
                                        <p:tgtEl>
                                          <p:spTgt spid="18"/>
                                        </p:tgtEl>
                                        <p:attrNameLst>
                                          <p:attrName>style.visibility</p:attrName>
                                        </p:attrNameLst>
                                      </p:cBhvr>
                                      <p:to>
                                        <p:strVal val="visible"/>
                                      </p:to>
                                    </p:set>
                                    <p:animEffect transition="in" filter="fade">
                                      <p:cBhvr>
                                        <p:cTn id="217" dur="500"/>
                                        <p:tgtEl>
                                          <p:spTgt spid="18"/>
                                        </p:tgtEl>
                                      </p:cBhvr>
                                    </p:animEffect>
                                  </p:childTnLst>
                                </p:cTn>
                              </p:par>
                              <p:par>
                                <p:cTn id="218" presetID="10" presetClass="entr" presetSubtype="0" fill="hold" nodeType="withEffect">
                                  <p:stCondLst>
                                    <p:cond delay="0"/>
                                  </p:stCondLst>
                                  <p:childTnLst>
                                    <p:set>
                                      <p:cBhvr>
                                        <p:cTn id="219" dur="1" fill="hold">
                                          <p:stCondLst>
                                            <p:cond delay="0"/>
                                          </p:stCondLst>
                                        </p:cTn>
                                        <p:tgtEl>
                                          <p:spTgt spid="20"/>
                                        </p:tgtEl>
                                        <p:attrNameLst>
                                          <p:attrName>style.visibility</p:attrName>
                                        </p:attrNameLst>
                                      </p:cBhvr>
                                      <p:to>
                                        <p:strVal val="visible"/>
                                      </p:to>
                                    </p:set>
                                    <p:animEffect transition="in" filter="fade">
                                      <p:cBhvr>
                                        <p:cTn id="220" dur="500"/>
                                        <p:tgtEl>
                                          <p:spTgt spid="20"/>
                                        </p:tgtEl>
                                      </p:cBhvr>
                                    </p:animEffect>
                                  </p:childTnLst>
                                </p:cTn>
                              </p:par>
                              <p:par>
                                <p:cTn id="221" presetID="10" presetClass="entr" presetSubtype="0" fill="hold" nodeType="withEffect">
                                  <p:stCondLst>
                                    <p:cond delay="0"/>
                                  </p:stCondLst>
                                  <p:childTnLst>
                                    <p:set>
                                      <p:cBhvr>
                                        <p:cTn id="222" dur="1" fill="hold">
                                          <p:stCondLst>
                                            <p:cond delay="0"/>
                                          </p:stCondLst>
                                        </p:cTn>
                                        <p:tgtEl>
                                          <p:spTgt spid="17"/>
                                        </p:tgtEl>
                                        <p:attrNameLst>
                                          <p:attrName>style.visibility</p:attrName>
                                        </p:attrNameLst>
                                      </p:cBhvr>
                                      <p:to>
                                        <p:strVal val="visible"/>
                                      </p:to>
                                    </p:set>
                                    <p:animEffect transition="in" filter="fade">
                                      <p:cBhvr>
                                        <p:cTn id="223" dur="500"/>
                                        <p:tgtEl>
                                          <p:spTgt spid="17"/>
                                        </p:tgtEl>
                                      </p:cBhvr>
                                    </p:animEffect>
                                  </p:childTnLst>
                                </p:cTn>
                              </p:par>
                              <p:par>
                                <p:cTn id="224" presetID="10" presetClass="entr" presetSubtype="0" fill="hold" nodeType="withEffect">
                                  <p:stCondLst>
                                    <p:cond delay="0"/>
                                  </p:stCondLst>
                                  <p:childTnLst>
                                    <p:set>
                                      <p:cBhvr>
                                        <p:cTn id="225" dur="1" fill="hold">
                                          <p:stCondLst>
                                            <p:cond delay="0"/>
                                          </p:stCondLst>
                                        </p:cTn>
                                        <p:tgtEl>
                                          <p:spTgt spid="21"/>
                                        </p:tgtEl>
                                        <p:attrNameLst>
                                          <p:attrName>style.visibility</p:attrName>
                                        </p:attrNameLst>
                                      </p:cBhvr>
                                      <p:to>
                                        <p:strVal val="visible"/>
                                      </p:to>
                                    </p:set>
                                    <p:animEffect transition="in" filter="fade">
                                      <p:cBhvr>
                                        <p:cTn id="226" dur="500"/>
                                        <p:tgtEl>
                                          <p:spTgt spid="21"/>
                                        </p:tgtEl>
                                      </p:cBhvr>
                                    </p:animEffect>
                                  </p:childTnLst>
                                </p:cTn>
                              </p:par>
                              <p:par>
                                <p:cTn id="227" presetID="10" presetClass="entr" presetSubtype="0" fill="hold" nodeType="withEffect">
                                  <p:stCondLst>
                                    <p:cond delay="0"/>
                                  </p:stCondLst>
                                  <p:childTnLst>
                                    <p:set>
                                      <p:cBhvr>
                                        <p:cTn id="228" dur="1" fill="hold">
                                          <p:stCondLst>
                                            <p:cond delay="0"/>
                                          </p:stCondLst>
                                        </p:cTn>
                                        <p:tgtEl>
                                          <p:spTgt spid="19"/>
                                        </p:tgtEl>
                                        <p:attrNameLst>
                                          <p:attrName>style.visibility</p:attrName>
                                        </p:attrNameLst>
                                      </p:cBhvr>
                                      <p:to>
                                        <p:strVal val="visible"/>
                                      </p:to>
                                    </p:set>
                                    <p:animEffect transition="in" filter="fade">
                                      <p:cBhvr>
                                        <p:cTn id="229" dur="500"/>
                                        <p:tgtEl>
                                          <p:spTgt spid="19"/>
                                        </p:tgtEl>
                                      </p:cBhvr>
                                    </p:animEffect>
                                  </p:childTnLst>
                                </p:cTn>
                              </p:par>
                              <p:par>
                                <p:cTn id="230" presetID="10" presetClass="entr" presetSubtype="0" fill="hold" nodeType="withEffect">
                                  <p:stCondLst>
                                    <p:cond delay="0"/>
                                  </p:stCondLst>
                                  <p:childTnLst>
                                    <p:set>
                                      <p:cBhvr>
                                        <p:cTn id="231" dur="1" fill="hold">
                                          <p:stCondLst>
                                            <p:cond delay="0"/>
                                          </p:stCondLst>
                                        </p:cTn>
                                        <p:tgtEl>
                                          <p:spTgt spid="4"/>
                                        </p:tgtEl>
                                        <p:attrNameLst>
                                          <p:attrName>style.visibility</p:attrName>
                                        </p:attrNameLst>
                                      </p:cBhvr>
                                      <p:to>
                                        <p:strVal val="visible"/>
                                      </p:to>
                                    </p:set>
                                    <p:animEffect transition="in" filter="fade">
                                      <p:cBhvr>
                                        <p:cTn id="232" dur="500"/>
                                        <p:tgtEl>
                                          <p:spTgt spid="4"/>
                                        </p:tgtEl>
                                      </p:cBhvr>
                                    </p:animEffect>
                                  </p:childTnLst>
                                </p:cTn>
                              </p:par>
                              <p:par>
                                <p:cTn id="233" presetID="10" presetClass="entr" presetSubtype="0" fill="hold" nodeType="withEffect">
                                  <p:stCondLst>
                                    <p:cond delay="0"/>
                                  </p:stCondLst>
                                  <p:childTnLst>
                                    <p:set>
                                      <p:cBhvr>
                                        <p:cTn id="234" dur="1" fill="hold">
                                          <p:stCondLst>
                                            <p:cond delay="0"/>
                                          </p:stCondLst>
                                        </p:cTn>
                                        <p:tgtEl>
                                          <p:spTgt spid="6"/>
                                        </p:tgtEl>
                                        <p:attrNameLst>
                                          <p:attrName>style.visibility</p:attrName>
                                        </p:attrNameLst>
                                      </p:cBhvr>
                                      <p:to>
                                        <p:strVal val="visible"/>
                                      </p:to>
                                    </p:set>
                                    <p:animEffect transition="in" filter="fade">
                                      <p:cBhvr>
                                        <p:cTn id="235" dur="500"/>
                                        <p:tgtEl>
                                          <p:spTgt spid="6"/>
                                        </p:tgtEl>
                                      </p:cBhvr>
                                    </p:animEffect>
                                  </p:childTnLst>
                                </p:cTn>
                              </p:par>
                            </p:childTnLst>
                          </p:cTn>
                        </p:par>
                      </p:childTnLst>
                    </p:cTn>
                  </p:par>
                </p:childTnLst>
              </p:cTn>
              <p:nextCondLst>
                <p:cond evt="onClick" delay="0">
                  <p:tgtEl>
                    <p:spTgt spid="14"/>
                  </p:tgtEl>
                </p:cond>
              </p:nextCondLst>
            </p:seq>
            <p:seq concurrent="1" nextAc="seek">
              <p:cTn id="236" restart="whenNotActive" fill="hold" evtFilter="cancelBubble" nodeType="interactiveSeq">
                <p:stCondLst>
                  <p:cond evt="onClick" delay="0">
                    <p:tgtEl>
                      <p:spTgt spid="20"/>
                    </p:tgtEl>
                  </p:cond>
                </p:stCondLst>
                <p:endSync evt="end" delay="0">
                  <p:rtn val="all"/>
                </p:endSync>
                <p:childTnLst>
                  <p:par>
                    <p:cTn id="237" fill="hold">
                      <p:stCondLst>
                        <p:cond delay="0"/>
                      </p:stCondLst>
                      <p:childTnLst>
                        <p:par>
                          <p:cTn id="238" fill="hold">
                            <p:stCondLst>
                              <p:cond delay="0"/>
                            </p:stCondLst>
                            <p:childTnLst>
                              <p:par>
                                <p:cTn id="239" presetID="26" presetClass="emph" presetSubtype="0" fill="hold" nodeType="clickEffect">
                                  <p:stCondLst>
                                    <p:cond delay="0"/>
                                  </p:stCondLst>
                                  <p:childTnLst>
                                    <p:animEffect transition="out" filter="fade">
                                      <p:cBhvr>
                                        <p:cTn id="240" dur="500" tmFilter="0, 0; .2, .5; .8, .5; 1, 0"/>
                                        <p:tgtEl>
                                          <p:spTgt spid="20"/>
                                        </p:tgtEl>
                                      </p:cBhvr>
                                    </p:animEffect>
                                    <p:animScale>
                                      <p:cBhvr>
                                        <p:cTn id="241" dur="250" autoRev="1" fill="hold"/>
                                        <p:tgtEl>
                                          <p:spTgt spid="20"/>
                                        </p:tgtEl>
                                      </p:cBhvr>
                                      <p:by x="105000" y="105000"/>
                                    </p:animScale>
                                  </p:childTnLst>
                                  <p:subTnLst>
                                    <p:audio>
                                      <p:cMediaNode>
                                        <p:cTn display="0" masterRel="sameClick">
                                          <p:stCondLst>
                                            <p:cond evt="begin" delay="0">
                                              <p:tn val="239"/>
                                            </p:cond>
                                          </p:stCondLst>
                                          <p:endCondLst>
                                            <p:cond evt="onStopAudio" delay="0">
                                              <p:tgtEl>
                                                <p:sldTgt/>
                                              </p:tgtEl>
                                            </p:cond>
                                          </p:endCondLst>
                                        </p:cTn>
                                        <p:tgtEl>
                                          <p:sndTgt r:embed="rId6" name="click.wav"/>
                                        </p:tgtEl>
                                      </p:cMediaNode>
                                    </p:audio>
                                  </p:subTnLst>
                                </p:cTn>
                              </p:par>
                            </p:childTnLst>
                          </p:cTn>
                        </p:par>
                        <p:par>
                          <p:cTn id="242" fill="hold">
                            <p:stCondLst>
                              <p:cond delay="500"/>
                            </p:stCondLst>
                            <p:childTnLst>
                              <p:par>
                                <p:cTn id="243" presetID="1" presetClass="mediacall" presetSubtype="0" fill="hold" nodeType="afterEffect">
                                  <p:stCondLst>
                                    <p:cond delay="0"/>
                                  </p:stCondLst>
                                  <p:childTnLst>
                                    <p:cmd type="call" cmd="playFrom(0.0)">
                                      <p:cBhvr>
                                        <p:cTn id="244" dur="4995" fill="hold"/>
                                        <p:tgtEl>
                                          <p:spTgt spid="7"/>
                                        </p:tgtEl>
                                      </p:cBhvr>
                                    </p:cmd>
                                  </p:childTnLst>
                                </p:cTn>
                              </p:par>
                              <p:par>
                                <p:cTn id="245" presetID="1" presetClass="entr" presetSubtype="0" fill="hold" nodeType="withEffect">
                                  <p:stCondLst>
                                    <p:cond delay="0"/>
                                  </p:stCondLst>
                                  <p:childTnLst>
                                    <p:set>
                                      <p:cBhvr>
                                        <p:cTn id="246" dur="1" fill="hold">
                                          <p:stCondLst>
                                            <p:cond delay="0"/>
                                          </p:stCondLst>
                                        </p:cTn>
                                        <p:tgtEl>
                                          <p:spTgt spid="13"/>
                                        </p:tgtEl>
                                        <p:attrNameLst>
                                          <p:attrName>style.visibility</p:attrName>
                                        </p:attrNameLst>
                                      </p:cBhvr>
                                      <p:to>
                                        <p:strVal val="visible"/>
                                      </p:to>
                                    </p:set>
                                  </p:childTnLst>
                                </p:cTn>
                              </p:par>
                              <p:par>
                                <p:cTn id="247" presetID="63" presetClass="path" presetSubtype="0" accel="50000" decel="50000" fill="hold" nodeType="withEffect">
                                  <p:stCondLst>
                                    <p:cond delay="0"/>
                                  </p:stCondLst>
                                  <p:childTnLst>
                                    <p:animMotion origin="layout" path="M 6.25E-7 -4.81481E-6 L 0.16094 -4.81481E-6 " pathEditMode="relative" rAng="0" ptsTypes="AA">
                                      <p:cBhvr>
                                        <p:cTn id="248" dur="500" fill="hold"/>
                                        <p:tgtEl>
                                          <p:spTgt spid="14"/>
                                        </p:tgtEl>
                                        <p:attrNameLst>
                                          <p:attrName>ppt_x</p:attrName>
                                          <p:attrName>ppt_y</p:attrName>
                                        </p:attrNameLst>
                                      </p:cBhvr>
                                      <p:rCtr x="7591" y="0"/>
                                    </p:animMotion>
                                  </p:childTnLst>
                                </p:cTn>
                              </p:par>
                              <p:par>
                                <p:cTn id="249" presetID="10" presetClass="exit" presetSubtype="0" fill="hold" nodeType="withEffect">
                                  <p:stCondLst>
                                    <p:cond delay="0"/>
                                  </p:stCondLst>
                                  <p:childTnLst>
                                    <p:animEffect transition="out" filter="fade">
                                      <p:cBhvr>
                                        <p:cTn id="250" dur="500"/>
                                        <p:tgtEl>
                                          <p:spTgt spid="31"/>
                                        </p:tgtEl>
                                      </p:cBhvr>
                                    </p:animEffect>
                                    <p:set>
                                      <p:cBhvr>
                                        <p:cTn id="251" dur="1" fill="hold">
                                          <p:stCondLst>
                                            <p:cond delay="499"/>
                                          </p:stCondLst>
                                        </p:cTn>
                                        <p:tgtEl>
                                          <p:spTgt spid="31"/>
                                        </p:tgtEl>
                                        <p:attrNameLst>
                                          <p:attrName>style.visibility</p:attrName>
                                        </p:attrNameLst>
                                      </p:cBhvr>
                                      <p:to>
                                        <p:strVal val="hidden"/>
                                      </p:to>
                                    </p:set>
                                  </p:childTnLst>
                                </p:cTn>
                              </p:par>
                              <p:par>
                                <p:cTn id="252" presetID="10" presetClass="exit" presetSubtype="0" fill="hold" nodeType="withEffect">
                                  <p:stCondLst>
                                    <p:cond delay="0"/>
                                  </p:stCondLst>
                                  <p:childTnLst>
                                    <p:animEffect transition="out" filter="fade">
                                      <p:cBhvr>
                                        <p:cTn id="253" dur="500"/>
                                        <p:tgtEl>
                                          <p:spTgt spid="12"/>
                                        </p:tgtEl>
                                      </p:cBhvr>
                                    </p:animEffect>
                                    <p:set>
                                      <p:cBhvr>
                                        <p:cTn id="254" dur="1" fill="hold">
                                          <p:stCondLst>
                                            <p:cond delay="499"/>
                                          </p:stCondLst>
                                        </p:cTn>
                                        <p:tgtEl>
                                          <p:spTgt spid="12"/>
                                        </p:tgtEl>
                                        <p:attrNameLst>
                                          <p:attrName>style.visibility</p:attrName>
                                        </p:attrNameLst>
                                      </p:cBhvr>
                                      <p:to>
                                        <p:strVal val="hidden"/>
                                      </p:to>
                                    </p:set>
                                  </p:childTnLst>
                                </p:cTn>
                              </p:par>
                              <p:par>
                                <p:cTn id="255" presetID="10" presetClass="exit" presetSubtype="0" fill="hold" nodeType="withEffect">
                                  <p:stCondLst>
                                    <p:cond delay="0"/>
                                  </p:stCondLst>
                                  <p:childTnLst>
                                    <p:animEffect transition="out" filter="fade">
                                      <p:cBhvr>
                                        <p:cTn id="256" dur="500"/>
                                        <p:tgtEl>
                                          <p:spTgt spid="2"/>
                                        </p:tgtEl>
                                      </p:cBhvr>
                                    </p:animEffect>
                                    <p:set>
                                      <p:cBhvr>
                                        <p:cTn id="257" dur="1" fill="hold">
                                          <p:stCondLst>
                                            <p:cond delay="499"/>
                                          </p:stCondLst>
                                        </p:cTn>
                                        <p:tgtEl>
                                          <p:spTgt spid="2"/>
                                        </p:tgtEl>
                                        <p:attrNameLst>
                                          <p:attrName>style.visibility</p:attrName>
                                        </p:attrNameLst>
                                      </p:cBhvr>
                                      <p:to>
                                        <p:strVal val="hidden"/>
                                      </p:to>
                                    </p:set>
                                  </p:childTnLst>
                                </p:cTn>
                              </p:par>
                              <p:par>
                                <p:cTn id="258" presetID="10" presetClass="exit" presetSubtype="0" fill="hold" nodeType="withEffect">
                                  <p:stCondLst>
                                    <p:cond delay="0"/>
                                  </p:stCondLst>
                                  <p:childTnLst>
                                    <p:animEffect transition="out" filter="fade">
                                      <p:cBhvr>
                                        <p:cTn id="259" dur="500"/>
                                        <p:tgtEl>
                                          <p:spTgt spid="16"/>
                                        </p:tgtEl>
                                      </p:cBhvr>
                                    </p:animEffect>
                                    <p:set>
                                      <p:cBhvr>
                                        <p:cTn id="260" dur="1" fill="hold">
                                          <p:stCondLst>
                                            <p:cond delay="499"/>
                                          </p:stCondLst>
                                        </p:cTn>
                                        <p:tgtEl>
                                          <p:spTgt spid="16"/>
                                        </p:tgtEl>
                                        <p:attrNameLst>
                                          <p:attrName>style.visibility</p:attrName>
                                        </p:attrNameLst>
                                      </p:cBhvr>
                                      <p:to>
                                        <p:strVal val="hidden"/>
                                      </p:to>
                                    </p:set>
                                  </p:childTnLst>
                                </p:cTn>
                              </p:par>
                              <p:par>
                                <p:cTn id="261" presetID="10" presetClass="exit" presetSubtype="0" fill="hold" nodeType="withEffect">
                                  <p:stCondLst>
                                    <p:cond delay="0"/>
                                  </p:stCondLst>
                                  <p:childTnLst>
                                    <p:animEffect transition="out" filter="fade">
                                      <p:cBhvr>
                                        <p:cTn id="262" dur="500"/>
                                        <p:tgtEl>
                                          <p:spTgt spid="15"/>
                                        </p:tgtEl>
                                      </p:cBhvr>
                                    </p:animEffect>
                                    <p:set>
                                      <p:cBhvr>
                                        <p:cTn id="263" dur="1" fill="hold">
                                          <p:stCondLst>
                                            <p:cond delay="499"/>
                                          </p:stCondLst>
                                        </p:cTn>
                                        <p:tgtEl>
                                          <p:spTgt spid="15"/>
                                        </p:tgtEl>
                                        <p:attrNameLst>
                                          <p:attrName>style.visibility</p:attrName>
                                        </p:attrNameLst>
                                      </p:cBhvr>
                                      <p:to>
                                        <p:strVal val="hidden"/>
                                      </p:to>
                                    </p:set>
                                  </p:childTnLst>
                                </p:cTn>
                              </p:par>
                              <p:par>
                                <p:cTn id="264" presetID="10" presetClass="exit" presetSubtype="0" fill="hold" nodeType="withEffect">
                                  <p:stCondLst>
                                    <p:cond delay="0"/>
                                  </p:stCondLst>
                                  <p:childTnLst>
                                    <p:animEffect transition="out" filter="fade">
                                      <p:cBhvr>
                                        <p:cTn id="265" dur="500"/>
                                        <p:tgtEl>
                                          <p:spTgt spid="18"/>
                                        </p:tgtEl>
                                      </p:cBhvr>
                                    </p:animEffect>
                                    <p:set>
                                      <p:cBhvr>
                                        <p:cTn id="266" dur="1" fill="hold">
                                          <p:stCondLst>
                                            <p:cond delay="499"/>
                                          </p:stCondLst>
                                        </p:cTn>
                                        <p:tgtEl>
                                          <p:spTgt spid="18"/>
                                        </p:tgtEl>
                                        <p:attrNameLst>
                                          <p:attrName>style.visibility</p:attrName>
                                        </p:attrNameLst>
                                      </p:cBhvr>
                                      <p:to>
                                        <p:strVal val="hidden"/>
                                      </p:to>
                                    </p:set>
                                  </p:childTnLst>
                                </p:cTn>
                              </p:par>
                              <p:par>
                                <p:cTn id="267" presetID="10" presetClass="exit" presetSubtype="0" fill="hold" nodeType="withEffect">
                                  <p:stCondLst>
                                    <p:cond delay="0"/>
                                  </p:stCondLst>
                                  <p:childTnLst>
                                    <p:animEffect transition="out" filter="fade">
                                      <p:cBhvr>
                                        <p:cTn id="268" dur="500"/>
                                        <p:tgtEl>
                                          <p:spTgt spid="20"/>
                                        </p:tgtEl>
                                      </p:cBhvr>
                                    </p:animEffect>
                                    <p:set>
                                      <p:cBhvr>
                                        <p:cTn id="269" dur="1" fill="hold">
                                          <p:stCondLst>
                                            <p:cond delay="499"/>
                                          </p:stCondLst>
                                        </p:cTn>
                                        <p:tgtEl>
                                          <p:spTgt spid="20"/>
                                        </p:tgtEl>
                                        <p:attrNameLst>
                                          <p:attrName>style.visibility</p:attrName>
                                        </p:attrNameLst>
                                      </p:cBhvr>
                                      <p:to>
                                        <p:strVal val="hidden"/>
                                      </p:to>
                                    </p:set>
                                  </p:childTnLst>
                                </p:cTn>
                              </p:par>
                              <p:par>
                                <p:cTn id="270" presetID="10" presetClass="exit" presetSubtype="0" fill="hold" nodeType="withEffect">
                                  <p:stCondLst>
                                    <p:cond delay="0"/>
                                  </p:stCondLst>
                                  <p:childTnLst>
                                    <p:animEffect transition="out" filter="fade">
                                      <p:cBhvr>
                                        <p:cTn id="271" dur="500"/>
                                        <p:tgtEl>
                                          <p:spTgt spid="17"/>
                                        </p:tgtEl>
                                      </p:cBhvr>
                                    </p:animEffect>
                                    <p:set>
                                      <p:cBhvr>
                                        <p:cTn id="272" dur="1" fill="hold">
                                          <p:stCondLst>
                                            <p:cond delay="499"/>
                                          </p:stCondLst>
                                        </p:cTn>
                                        <p:tgtEl>
                                          <p:spTgt spid="17"/>
                                        </p:tgtEl>
                                        <p:attrNameLst>
                                          <p:attrName>style.visibility</p:attrName>
                                        </p:attrNameLst>
                                      </p:cBhvr>
                                      <p:to>
                                        <p:strVal val="hidden"/>
                                      </p:to>
                                    </p:set>
                                  </p:childTnLst>
                                </p:cTn>
                              </p:par>
                              <p:par>
                                <p:cTn id="273" presetID="10" presetClass="exit" presetSubtype="0" fill="hold" nodeType="withEffect">
                                  <p:stCondLst>
                                    <p:cond delay="0"/>
                                  </p:stCondLst>
                                  <p:childTnLst>
                                    <p:animEffect transition="out" filter="fade">
                                      <p:cBhvr>
                                        <p:cTn id="274" dur="500"/>
                                        <p:tgtEl>
                                          <p:spTgt spid="21"/>
                                        </p:tgtEl>
                                      </p:cBhvr>
                                    </p:animEffect>
                                    <p:set>
                                      <p:cBhvr>
                                        <p:cTn id="275" dur="1" fill="hold">
                                          <p:stCondLst>
                                            <p:cond delay="499"/>
                                          </p:stCondLst>
                                        </p:cTn>
                                        <p:tgtEl>
                                          <p:spTgt spid="21"/>
                                        </p:tgtEl>
                                        <p:attrNameLst>
                                          <p:attrName>style.visibility</p:attrName>
                                        </p:attrNameLst>
                                      </p:cBhvr>
                                      <p:to>
                                        <p:strVal val="hidden"/>
                                      </p:to>
                                    </p:set>
                                  </p:childTnLst>
                                </p:cTn>
                              </p:par>
                              <p:par>
                                <p:cTn id="276" presetID="10" presetClass="exit" presetSubtype="0" fill="hold" nodeType="withEffect">
                                  <p:stCondLst>
                                    <p:cond delay="0"/>
                                  </p:stCondLst>
                                  <p:childTnLst>
                                    <p:animEffect transition="out" filter="fade">
                                      <p:cBhvr>
                                        <p:cTn id="277" dur="500"/>
                                        <p:tgtEl>
                                          <p:spTgt spid="19"/>
                                        </p:tgtEl>
                                      </p:cBhvr>
                                    </p:animEffect>
                                    <p:set>
                                      <p:cBhvr>
                                        <p:cTn id="278" dur="1" fill="hold">
                                          <p:stCondLst>
                                            <p:cond delay="499"/>
                                          </p:stCondLst>
                                        </p:cTn>
                                        <p:tgtEl>
                                          <p:spTgt spid="19"/>
                                        </p:tgtEl>
                                        <p:attrNameLst>
                                          <p:attrName>style.visibility</p:attrName>
                                        </p:attrNameLst>
                                      </p:cBhvr>
                                      <p:to>
                                        <p:strVal val="hidden"/>
                                      </p:to>
                                    </p:set>
                                  </p:childTnLst>
                                </p:cTn>
                              </p:par>
                              <p:par>
                                <p:cTn id="279" presetID="10" presetClass="exit" presetSubtype="0" fill="hold" nodeType="withEffect">
                                  <p:stCondLst>
                                    <p:cond delay="0"/>
                                  </p:stCondLst>
                                  <p:childTnLst>
                                    <p:animEffect transition="out" filter="fade">
                                      <p:cBhvr>
                                        <p:cTn id="280" dur="500"/>
                                        <p:tgtEl>
                                          <p:spTgt spid="4"/>
                                        </p:tgtEl>
                                      </p:cBhvr>
                                    </p:animEffect>
                                    <p:set>
                                      <p:cBhvr>
                                        <p:cTn id="281" dur="1" fill="hold">
                                          <p:stCondLst>
                                            <p:cond delay="499"/>
                                          </p:stCondLst>
                                        </p:cTn>
                                        <p:tgtEl>
                                          <p:spTgt spid="4"/>
                                        </p:tgtEl>
                                        <p:attrNameLst>
                                          <p:attrName>style.visibility</p:attrName>
                                        </p:attrNameLst>
                                      </p:cBhvr>
                                      <p:to>
                                        <p:strVal val="hidden"/>
                                      </p:to>
                                    </p:set>
                                  </p:childTnLst>
                                </p:cTn>
                              </p:par>
                              <p:par>
                                <p:cTn id="282" presetID="10" presetClass="exit" presetSubtype="0" fill="hold" nodeType="withEffect">
                                  <p:stCondLst>
                                    <p:cond delay="0"/>
                                  </p:stCondLst>
                                  <p:childTnLst>
                                    <p:animEffect transition="out" filter="fade">
                                      <p:cBhvr>
                                        <p:cTn id="283" dur="500"/>
                                        <p:tgtEl>
                                          <p:spTgt spid="6"/>
                                        </p:tgtEl>
                                      </p:cBhvr>
                                    </p:animEffect>
                                    <p:set>
                                      <p:cBhvr>
                                        <p:cTn id="284"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285" restart="whenNotActive" fill="hold" evtFilter="cancelBubble" nodeType="interactiveSeq">
                <p:stCondLst>
                  <p:cond evt="onClick" delay="0">
                    <p:tgtEl>
                      <p:spTgt spid="21"/>
                    </p:tgtEl>
                  </p:cond>
                </p:stCondLst>
                <p:endSync evt="end" delay="0">
                  <p:rtn val="all"/>
                </p:endSync>
                <p:childTnLst>
                  <p:par>
                    <p:cTn id="286" fill="hold">
                      <p:stCondLst>
                        <p:cond delay="0"/>
                      </p:stCondLst>
                      <p:childTnLst>
                        <p:par>
                          <p:cTn id="287" fill="hold">
                            <p:stCondLst>
                              <p:cond delay="0"/>
                            </p:stCondLst>
                            <p:childTnLst>
                              <p:par>
                                <p:cTn id="288" presetID="26" presetClass="emph" presetSubtype="0" fill="hold" nodeType="clickEffect">
                                  <p:stCondLst>
                                    <p:cond delay="0"/>
                                  </p:stCondLst>
                                  <p:childTnLst>
                                    <p:animEffect transition="out" filter="fade">
                                      <p:cBhvr>
                                        <p:cTn id="289" dur="500" tmFilter="0, 0; .2, .5; .8, .5; 1, 0"/>
                                        <p:tgtEl>
                                          <p:spTgt spid="21"/>
                                        </p:tgtEl>
                                      </p:cBhvr>
                                    </p:animEffect>
                                    <p:animScale>
                                      <p:cBhvr>
                                        <p:cTn id="290" dur="250" autoRev="1" fill="hold"/>
                                        <p:tgtEl>
                                          <p:spTgt spid="21"/>
                                        </p:tgtEl>
                                      </p:cBhvr>
                                      <p:by x="105000" y="105000"/>
                                    </p:animScale>
                                  </p:childTnLst>
                                  <p:subTnLst>
                                    <p:audio>
                                      <p:cMediaNode>
                                        <p:cTn display="0" masterRel="sameClick">
                                          <p:stCondLst>
                                            <p:cond evt="begin" delay="0">
                                              <p:tn val="288"/>
                                            </p:cond>
                                          </p:stCondLst>
                                          <p:endCondLst>
                                            <p:cond evt="onStopAudio" delay="0">
                                              <p:tgtEl>
                                                <p:sldTgt/>
                                              </p:tgtEl>
                                            </p:cond>
                                          </p:endCondLst>
                                        </p:cTn>
                                        <p:tgtEl>
                                          <p:sndTgt r:embed="rId6" name="click.wav"/>
                                        </p:tgtEl>
                                      </p:cMediaNode>
                                    </p:audio>
                                  </p:subTnLst>
                                </p:cTn>
                              </p:par>
                            </p:childTnLst>
                          </p:cTn>
                        </p:par>
                        <p:par>
                          <p:cTn id="291" fill="hold">
                            <p:stCondLst>
                              <p:cond delay="500"/>
                            </p:stCondLst>
                            <p:childTnLst>
                              <p:par>
                                <p:cTn id="292" presetID="1" presetClass="mediacall" presetSubtype="0" fill="hold" nodeType="afterEffect">
                                  <p:stCondLst>
                                    <p:cond delay="0"/>
                                  </p:stCondLst>
                                  <p:childTnLst>
                                    <p:cmd type="call" cmd="playFrom(0.0)">
                                      <p:cBhvr>
                                        <p:cTn id="293" dur="4995" fill="hold"/>
                                        <p:tgtEl>
                                          <p:spTgt spid="7"/>
                                        </p:tgtEl>
                                      </p:cBhvr>
                                    </p:cmd>
                                  </p:childTnLst>
                                </p:cTn>
                              </p:par>
                              <p:par>
                                <p:cTn id="294" presetID="1" presetClass="entr" presetSubtype="0" fill="hold" nodeType="withEffect">
                                  <p:stCondLst>
                                    <p:cond delay="0"/>
                                  </p:stCondLst>
                                  <p:childTnLst>
                                    <p:set>
                                      <p:cBhvr>
                                        <p:cTn id="295" dur="1" fill="hold">
                                          <p:stCondLst>
                                            <p:cond delay="0"/>
                                          </p:stCondLst>
                                        </p:cTn>
                                        <p:tgtEl>
                                          <p:spTgt spid="13"/>
                                        </p:tgtEl>
                                        <p:attrNameLst>
                                          <p:attrName>style.visibility</p:attrName>
                                        </p:attrNameLst>
                                      </p:cBhvr>
                                      <p:to>
                                        <p:strVal val="visible"/>
                                      </p:to>
                                    </p:set>
                                  </p:childTnLst>
                                </p:cTn>
                              </p:par>
                              <p:par>
                                <p:cTn id="296" presetID="63" presetClass="path" presetSubtype="0" accel="50000" decel="50000" fill="hold" nodeType="withEffect">
                                  <p:stCondLst>
                                    <p:cond delay="0"/>
                                  </p:stCondLst>
                                  <p:childTnLst>
                                    <p:animMotion origin="layout" path="M 6.25E-7 -4.81481E-6 L 0.16093 -4.81481E-6 " pathEditMode="relative" rAng="0" ptsTypes="AA">
                                      <p:cBhvr>
                                        <p:cTn id="297" dur="500" fill="hold"/>
                                        <p:tgtEl>
                                          <p:spTgt spid="14"/>
                                        </p:tgtEl>
                                        <p:attrNameLst>
                                          <p:attrName>ppt_x</p:attrName>
                                          <p:attrName>ppt_y</p:attrName>
                                        </p:attrNameLst>
                                      </p:cBhvr>
                                      <p:rCtr x="7956" y="0"/>
                                    </p:animMotion>
                                  </p:childTnLst>
                                </p:cTn>
                              </p:par>
                              <p:par>
                                <p:cTn id="298" presetID="10" presetClass="exit" presetSubtype="0" fill="hold" nodeType="withEffect">
                                  <p:stCondLst>
                                    <p:cond delay="0"/>
                                  </p:stCondLst>
                                  <p:childTnLst>
                                    <p:animEffect transition="out" filter="fade">
                                      <p:cBhvr>
                                        <p:cTn id="299" dur="500"/>
                                        <p:tgtEl>
                                          <p:spTgt spid="31"/>
                                        </p:tgtEl>
                                      </p:cBhvr>
                                    </p:animEffect>
                                    <p:set>
                                      <p:cBhvr>
                                        <p:cTn id="300" dur="1" fill="hold">
                                          <p:stCondLst>
                                            <p:cond delay="499"/>
                                          </p:stCondLst>
                                        </p:cTn>
                                        <p:tgtEl>
                                          <p:spTgt spid="31"/>
                                        </p:tgtEl>
                                        <p:attrNameLst>
                                          <p:attrName>style.visibility</p:attrName>
                                        </p:attrNameLst>
                                      </p:cBhvr>
                                      <p:to>
                                        <p:strVal val="hidden"/>
                                      </p:to>
                                    </p:set>
                                  </p:childTnLst>
                                </p:cTn>
                              </p:par>
                              <p:par>
                                <p:cTn id="301" presetID="10" presetClass="exit" presetSubtype="0" fill="hold" nodeType="withEffect">
                                  <p:stCondLst>
                                    <p:cond delay="0"/>
                                  </p:stCondLst>
                                  <p:childTnLst>
                                    <p:animEffect transition="out" filter="fade">
                                      <p:cBhvr>
                                        <p:cTn id="302" dur="500"/>
                                        <p:tgtEl>
                                          <p:spTgt spid="12"/>
                                        </p:tgtEl>
                                      </p:cBhvr>
                                    </p:animEffect>
                                    <p:set>
                                      <p:cBhvr>
                                        <p:cTn id="303" dur="1" fill="hold">
                                          <p:stCondLst>
                                            <p:cond delay="499"/>
                                          </p:stCondLst>
                                        </p:cTn>
                                        <p:tgtEl>
                                          <p:spTgt spid="12"/>
                                        </p:tgtEl>
                                        <p:attrNameLst>
                                          <p:attrName>style.visibility</p:attrName>
                                        </p:attrNameLst>
                                      </p:cBhvr>
                                      <p:to>
                                        <p:strVal val="hidden"/>
                                      </p:to>
                                    </p:set>
                                  </p:childTnLst>
                                </p:cTn>
                              </p:par>
                              <p:par>
                                <p:cTn id="304" presetID="10" presetClass="exit" presetSubtype="0" fill="hold" nodeType="withEffect">
                                  <p:stCondLst>
                                    <p:cond delay="0"/>
                                  </p:stCondLst>
                                  <p:childTnLst>
                                    <p:animEffect transition="out" filter="fade">
                                      <p:cBhvr>
                                        <p:cTn id="305" dur="500"/>
                                        <p:tgtEl>
                                          <p:spTgt spid="2"/>
                                        </p:tgtEl>
                                      </p:cBhvr>
                                    </p:animEffect>
                                    <p:set>
                                      <p:cBhvr>
                                        <p:cTn id="306" dur="1" fill="hold">
                                          <p:stCondLst>
                                            <p:cond delay="499"/>
                                          </p:stCondLst>
                                        </p:cTn>
                                        <p:tgtEl>
                                          <p:spTgt spid="2"/>
                                        </p:tgtEl>
                                        <p:attrNameLst>
                                          <p:attrName>style.visibility</p:attrName>
                                        </p:attrNameLst>
                                      </p:cBhvr>
                                      <p:to>
                                        <p:strVal val="hidden"/>
                                      </p:to>
                                    </p:set>
                                  </p:childTnLst>
                                </p:cTn>
                              </p:par>
                              <p:par>
                                <p:cTn id="307" presetID="10" presetClass="exit" presetSubtype="0" fill="hold" nodeType="withEffect">
                                  <p:stCondLst>
                                    <p:cond delay="0"/>
                                  </p:stCondLst>
                                  <p:childTnLst>
                                    <p:animEffect transition="out" filter="fade">
                                      <p:cBhvr>
                                        <p:cTn id="308" dur="500"/>
                                        <p:tgtEl>
                                          <p:spTgt spid="16"/>
                                        </p:tgtEl>
                                      </p:cBhvr>
                                    </p:animEffect>
                                    <p:set>
                                      <p:cBhvr>
                                        <p:cTn id="309" dur="1" fill="hold">
                                          <p:stCondLst>
                                            <p:cond delay="499"/>
                                          </p:stCondLst>
                                        </p:cTn>
                                        <p:tgtEl>
                                          <p:spTgt spid="16"/>
                                        </p:tgtEl>
                                        <p:attrNameLst>
                                          <p:attrName>style.visibility</p:attrName>
                                        </p:attrNameLst>
                                      </p:cBhvr>
                                      <p:to>
                                        <p:strVal val="hidden"/>
                                      </p:to>
                                    </p:set>
                                  </p:childTnLst>
                                </p:cTn>
                              </p:par>
                              <p:par>
                                <p:cTn id="310" presetID="10" presetClass="exit" presetSubtype="0" fill="hold" nodeType="withEffect">
                                  <p:stCondLst>
                                    <p:cond delay="0"/>
                                  </p:stCondLst>
                                  <p:childTnLst>
                                    <p:animEffect transition="out" filter="fade">
                                      <p:cBhvr>
                                        <p:cTn id="311" dur="500"/>
                                        <p:tgtEl>
                                          <p:spTgt spid="15"/>
                                        </p:tgtEl>
                                      </p:cBhvr>
                                    </p:animEffect>
                                    <p:set>
                                      <p:cBhvr>
                                        <p:cTn id="312" dur="1" fill="hold">
                                          <p:stCondLst>
                                            <p:cond delay="499"/>
                                          </p:stCondLst>
                                        </p:cTn>
                                        <p:tgtEl>
                                          <p:spTgt spid="15"/>
                                        </p:tgtEl>
                                        <p:attrNameLst>
                                          <p:attrName>style.visibility</p:attrName>
                                        </p:attrNameLst>
                                      </p:cBhvr>
                                      <p:to>
                                        <p:strVal val="hidden"/>
                                      </p:to>
                                    </p:set>
                                  </p:childTnLst>
                                </p:cTn>
                              </p:par>
                              <p:par>
                                <p:cTn id="313" presetID="10" presetClass="exit" presetSubtype="0" fill="hold" nodeType="withEffect">
                                  <p:stCondLst>
                                    <p:cond delay="0"/>
                                  </p:stCondLst>
                                  <p:childTnLst>
                                    <p:animEffect transition="out" filter="fade">
                                      <p:cBhvr>
                                        <p:cTn id="314" dur="500"/>
                                        <p:tgtEl>
                                          <p:spTgt spid="18"/>
                                        </p:tgtEl>
                                      </p:cBhvr>
                                    </p:animEffect>
                                    <p:set>
                                      <p:cBhvr>
                                        <p:cTn id="315" dur="1" fill="hold">
                                          <p:stCondLst>
                                            <p:cond delay="499"/>
                                          </p:stCondLst>
                                        </p:cTn>
                                        <p:tgtEl>
                                          <p:spTgt spid="18"/>
                                        </p:tgtEl>
                                        <p:attrNameLst>
                                          <p:attrName>style.visibility</p:attrName>
                                        </p:attrNameLst>
                                      </p:cBhvr>
                                      <p:to>
                                        <p:strVal val="hidden"/>
                                      </p:to>
                                    </p:set>
                                  </p:childTnLst>
                                </p:cTn>
                              </p:par>
                              <p:par>
                                <p:cTn id="316" presetID="10" presetClass="exit" presetSubtype="0" fill="hold" nodeType="withEffect">
                                  <p:stCondLst>
                                    <p:cond delay="0"/>
                                  </p:stCondLst>
                                  <p:childTnLst>
                                    <p:animEffect transition="out" filter="fade">
                                      <p:cBhvr>
                                        <p:cTn id="317" dur="500"/>
                                        <p:tgtEl>
                                          <p:spTgt spid="20"/>
                                        </p:tgtEl>
                                      </p:cBhvr>
                                    </p:animEffect>
                                    <p:set>
                                      <p:cBhvr>
                                        <p:cTn id="318" dur="1" fill="hold">
                                          <p:stCondLst>
                                            <p:cond delay="499"/>
                                          </p:stCondLst>
                                        </p:cTn>
                                        <p:tgtEl>
                                          <p:spTgt spid="20"/>
                                        </p:tgtEl>
                                        <p:attrNameLst>
                                          <p:attrName>style.visibility</p:attrName>
                                        </p:attrNameLst>
                                      </p:cBhvr>
                                      <p:to>
                                        <p:strVal val="hidden"/>
                                      </p:to>
                                    </p:set>
                                  </p:childTnLst>
                                </p:cTn>
                              </p:par>
                              <p:par>
                                <p:cTn id="319" presetID="10" presetClass="exit" presetSubtype="0" fill="hold" nodeType="withEffect">
                                  <p:stCondLst>
                                    <p:cond delay="0"/>
                                  </p:stCondLst>
                                  <p:childTnLst>
                                    <p:animEffect transition="out" filter="fade">
                                      <p:cBhvr>
                                        <p:cTn id="320" dur="500"/>
                                        <p:tgtEl>
                                          <p:spTgt spid="17"/>
                                        </p:tgtEl>
                                      </p:cBhvr>
                                    </p:animEffect>
                                    <p:set>
                                      <p:cBhvr>
                                        <p:cTn id="321" dur="1" fill="hold">
                                          <p:stCondLst>
                                            <p:cond delay="499"/>
                                          </p:stCondLst>
                                        </p:cTn>
                                        <p:tgtEl>
                                          <p:spTgt spid="17"/>
                                        </p:tgtEl>
                                        <p:attrNameLst>
                                          <p:attrName>style.visibility</p:attrName>
                                        </p:attrNameLst>
                                      </p:cBhvr>
                                      <p:to>
                                        <p:strVal val="hidden"/>
                                      </p:to>
                                    </p:set>
                                  </p:childTnLst>
                                </p:cTn>
                              </p:par>
                              <p:par>
                                <p:cTn id="322" presetID="10" presetClass="exit" presetSubtype="0" fill="hold" nodeType="withEffect">
                                  <p:stCondLst>
                                    <p:cond delay="0"/>
                                  </p:stCondLst>
                                  <p:childTnLst>
                                    <p:animEffect transition="out" filter="fade">
                                      <p:cBhvr>
                                        <p:cTn id="323" dur="500"/>
                                        <p:tgtEl>
                                          <p:spTgt spid="21"/>
                                        </p:tgtEl>
                                      </p:cBhvr>
                                    </p:animEffect>
                                    <p:set>
                                      <p:cBhvr>
                                        <p:cTn id="324" dur="1" fill="hold">
                                          <p:stCondLst>
                                            <p:cond delay="499"/>
                                          </p:stCondLst>
                                        </p:cTn>
                                        <p:tgtEl>
                                          <p:spTgt spid="21"/>
                                        </p:tgtEl>
                                        <p:attrNameLst>
                                          <p:attrName>style.visibility</p:attrName>
                                        </p:attrNameLst>
                                      </p:cBhvr>
                                      <p:to>
                                        <p:strVal val="hidden"/>
                                      </p:to>
                                    </p:set>
                                  </p:childTnLst>
                                </p:cTn>
                              </p:par>
                              <p:par>
                                <p:cTn id="325" presetID="10" presetClass="exit" presetSubtype="0" fill="hold" nodeType="withEffect">
                                  <p:stCondLst>
                                    <p:cond delay="0"/>
                                  </p:stCondLst>
                                  <p:childTnLst>
                                    <p:animEffect transition="out" filter="fade">
                                      <p:cBhvr>
                                        <p:cTn id="326" dur="500"/>
                                        <p:tgtEl>
                                          <p:spTgt spid="19"/>
                                        </p:tgtEl>
                                      </p:cBhvr>
                                    </p:animEffect>
                                    <p:set>
                                      <p:cBhvr>
                                        <p:cTn id="327" dur="1" fill="hold">
                                          <p:stCondLst>
                                            <p:cond delay="499"/>
                                          </p:stCondLst>
                                        </p:cTn>
                                        <p:tgtEl>
                                          <p:spTgt spid="19"/>
                                        </p:tgtEl>
                                        <p:attrNameLst>
                                          <p:attrName>style.visibility</p:attrName>
                                        </p:attrNameLst>
                                      </p:cBhvr>
                                      <p:to>
                                        <p:strVal val="hidden"/>
                                      </p:to>
                                    </p:set>
                                  </p:childTnLst>
                                </p:cTn>
                              </p:par>
                              <p:par>
                                <p:cTn id="328" presetID="10" presetClass="exit" presetSubtype="0" fill="hold" nodeType="withEffect">
                                  <p:stCondLst>
                                    <p:cond delay="0"/>
                                  </p:stCondLst>
                                  <p:childTnLst>
                                    <p:animEffect transition="out" filter="fade">
                                      <p:cBhvr>
                                        <p:cTn id="329" dur="500"/>
                                        <p:tgtEl>
                                          <p:spTgt spid="4"/>
                                        </p:tgtEl>
                                      </p:cBhvr>
                                    </p:animEffect>
                                    <p:set>
                                      <p:cBhvr>
                                        <p:cTn id="330" dur="1" fill="hold">
                                          <p:stCondLst>
                                            <p:cond delay="499"/>
                                          </p:stCondLst>
                                        </p:cTn>
                                        <p:tgtEl>
                                          <p:spTgt spid="4"/>
                                        </p:tgtEl>
                                        <p:attrNameLst>
                                          <p:attrName>style.visibility</p:attrName>
                                        </p:attrNameLst>
                                      </p:cBhvr>
                                      <p:to>
                                        <p:strVal val="hidden"/>
                                      </p:to>
                                    </p:set>
                                  </p:childTnLst>
                                </p:cTn>
                              </p:par>
                              <p:par>
                                <p:cTn id="331" presetID="10" presetClass="exit" presetSubtype="0" fill="hold" nodeType="withEffect">
                                  <p:stCondLst>
                                    <p:cond delay="0"/>
                                  </p:stCondLst>
                                  <p:childTnLst>
                                    <p:animEffect transition="out" filter="fade">
                                      <p:cBhvr>
                                        <p:cTn id="332" dur="500"/>
                                        <p:tgtEl>
                                          <p:spTgt spid="6"/>
                                        </p:tgtEl>
                                      </p:cBhvr>
                                    </p:animEffect>
                                    <p:set>
                                      <p:cBhvr>
                                        <p:cTn id="333"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1"/>
                  </p:tgtEl>
                </p:cond>
              </p:nextCondLst>
            </p:seq>
            <p:audio>
              <p:cMediaNode vol="80000">
                <p:cTn id="334" fill="hold" display="0">
                  <p:stCondLst>
                    <p:cond delay="indefinite"/>
                  </p:stCondLst>
                  <p:endCondLst>
                    <p:cond evt="onStopAudio" delay="0">
                      <p:tgtEl>
                        <p:sldTgt/>
                      </p:tgtEl>
                    </p:cond>
                  </p:endCondLst>
                </p:cTn>
                <p:tgtEl>
                  <p:spTgt spid="7"/>
                </p:tgtEl>
              </p:cMediaNode>
            </p:audio>
            <p:audio>
              <p:cMediaNode vol="80000">
                <p:cTn id="335" fill="hold" display="0">
                  <p:stCondLst>
                    <p:cond delay="indefinite"/>
                  </p:stCondLst>
                  <p:endCondLst>
                    <p:cond evt="onStopAudio" delay="0">
                      <p:tgtEl>
                        <p:sldTgt/>
                      </p:tgtEl>
                    </p:cond>
                  </p:endCondLst>
                </p:cTn>
                <p:tgtEl>
                  <p:spTgt spid="22"/>
                </p:tgtEl>
              </p:cMediaNode>
            </p:audio>
            <p:seq concurrent="1" nextAc="seek">
              <p:cTn id="336" restart="whenNotActive" fill="hold" evtFilter="cancelBubble" nodeType="interactiveSeq">
                <p:stCondLst>
                  <p:cond evt="onClick" delay="0">
                    <p:tgtEl>
                      <p:spTgt spid="44"/>
                    </p:tgtEl>
                  </p:cond>
                </p:stCondLst>
                <p:endSync evt="end" delay="0">
                  <p:rtn val="all"/>
                </p:endSync>
                <p:childTnLst>
                  <p:par>
                    <p:cTn id="337" fill="hold">
                      <p:stCondLst>
                        <p:cond delay="0"/>
                      </p:stCondLst>
                      <p:childTnLst>
                        <p:par>
                          <p:cTn id="338" fill="hold">
                            <p:stCondLst>
                              <p:cond delay="0"/>
                            </p:stCondLst>
                            <p:childTnLst>
                              <p:par>
                                <p:cTn id="339" presetID="26" presetClass="emph" presetSubtype="0" fill="hold" nodeType="clickEffect">
                                  <p:stCondLst>
                                    <p:cond delay="0"/>
                                  </p:stCondLst>
                                  <p:childTnLst>
                                    <p:animEffect transition="out" filter="fade">
                                      <p:cBhvr>
                                        <p:cTn id="340" dur="500" tmFilter="0, 0; .2, .5; .8, .5; 1, 0"/>
                                        <p:tgtEl>
                                          <p:spTgt spid="44"/>
                                        </p:tgtEl>
                                      </p:cBhvr>
                                    </p:animEffect>
                                    <p:animScale>
                                      <p:cBhvr>
                                        <p:cTn id="341" dur="250" autoRev="1" fill="hold"/>
                                        <p:tgtEl>
                                          <p:spTgt spid="44"/>
                                        </p:tgtEl>
                                      </p:cBhvr>
                                      <p:by x="105000" y="105000"/>
                                    </p:animScale>
                                  </p:childTnLst>
                                  <p:subTnLst>
                                    <p:audio>
                                      <p:cMediaNode>
                                        <p:cTn display="0" masterRel="sameClick">
                                          <p:stCondLst>
                                            <p:cond evt="begin" delay="0">
                                              <p:tn val="339"/>
                                            </p:cond>
                                          </p:stCondLst>
                                          <p:endCondLst>
                                            <p:cond evt="onStopAudio" delay="0">
                                              <p:tgtEl>
                                                <p:sldTgt/>
                                              </p:tgtEl>
                                            </p:cond>
                                          </p:endCondLst>
                                        </p:cTn>
                                        <p:tgtEl>
                                          <p:sndTgt r:embed="rId6" name="click.wav"/>
                                        </p:tgtEl>
                                      </p:cMediaNode>
                                    </p:audio>
                                  </p:subTnLst>
                                </p:cTn>
                              </p:par>
                            </p:childTnLst>
                          </p:cTn>
                        </p:par>
                      </p:childTnLst>
                    </p:cTn>
                  </p:par>
                </p:childTnLst>
              </p:cTn>
              <p:nextCondLst>
                <p:cond evt="onClick" delay="0">
                  <p:tgtEl>
                    <p:spTgt spid="44"/>
                  </p:tgtEl>
                </p:cond>
              </p:nextCondLst>
            </p:seq>
            <p:seq concurrent="1" nextAc="seek">
              <p:cTn id="342" restart="whenNotActive" fill="hold" evtFilter="cancelBubble" nodeType="interactiveSeq">
                <p:stCondLst>
                  <p:cond evt="onClick" delay="0">
                    <p:tgtEl>
                      <p:spTgt spid="42"/>
                    </p:tgtEl>
                  </p:cond>
                </p:stCondLst>
                <p:endSync evt="end" delay="0">
                  <p:rtn val="all"/>
                </p:endSync>
                <p:childTnLst>
                  <p:par>
                    <p:cTn id="343" fill="hold">
                      <p:stCondLst>
                        <p:cond delay="0"/>
                      </p:stCondLst>
                      <p:childTnLst>
                        <p:par>
                          <p:cTn id="344" fill="hold">
                            <p:stCondLst>
                              <p:cond delay="0"/>
                            </p:stCondLst>
                            <p:childTnLst>
                              <p:par>
                                <p:cTn id="345" presetID="26" presetClass="emph" presetSubtype="0" fill="hold" nodeType="clickEffect">
                                  <p:stCondLst>
                                    <p:cond delay="0"/>
                                  </p:stCondLst>
                                  <p:childTnLst>
                                    <p:animEffect transition="out" filter="fade">
                                      <p:cBhvr>
                                        <p:cTn id="346" dur="500" tmFilter="0, 0; .2, .5; .8, .5; 1, 0"/>
                                        <p:tgtEl>
                                          <p:spTgt spid="42"/>
                                        </p:tgtEl>
                                      </p:cBhvr>
                                    </p:animEffect>
                                    <p:animScale>
                                      <p:cBhvr>
                                        <p:cTn id="347" dur="250" autoRev="1" fill="hold"/>
                                        <p:tgtEl>
                                          <p:spTgt spid="42"/>
                                        </p:tgtEl>
                                      </p:cBhvr>
                                      <p:by x="105000" y="105000"/>
                                    </p:animScale>
                                  </p:childTnLst>
                                  <p:subTnLst>
                                    <p:audio>
                                      <p:cMediaNode>
                                        <p:cTn display="0" masterRel="sameClick">
                                          <p:stCondLst>
                                            <p:cond evt="begin" delay="0">
                                              <p:tn val="345"/>
                                            </p:cond>
                                          </p:stCondLst>
                                          <p:endCondLst>
                                            <p:cond evt="onStopAudio" delay="0">
                                              <p:tgtEl>
                                                <p:sldTgt/>
                                              </p:tgtEl>
                                            </p:cond>
                                          </p:endCondLst>
                                        </p:cTn>
                                        <p:tgtEl>
                                          <p:sndTgt r:embed="rId6" name="click.wav"/>
                                        </p:tgtEl>
                                      </p:cMediaNode>
                                    </p:audio>
                                  </p:subTnLst>
                                </p:cTn>
                              </p:par>
                            </p:childTnLst>
                          </p:cTn>
                        </p:par>
                      </p:childTnLst>
                    </p:cTn>
                  </p:par>
                </p:childTnLst>
              </p:cTn>
              <p:nextCondLst>
                <p:cond evt="onClick" delay="0">
                  <p:tgtEl>
                    <p:spTgt spid="4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B17EDBE-4FB7-472F-B26B-EB9ECD77B7A8}"/>
              </a:ext>
            </a:extLst>
          </p:cNvPr>
          <p:cNvSpPr>
            <a:spLocks noGrp="1"/>
          </p:cNvSpPr>
          <p:nvPr>
            <p:ph type="title"/>
          </p:nvPr>
        </p:nvSpPr>
        <p:spPr>
          <a:xfrm>
            <a:off x="76367" y="-321920"/>
            <a:ext cx="5086349" cy="966505"/>
          </a:xfrm>
        </p:spPr>
        <p:txBody>
          <a:bodyPr>
            <a:normAutofit fontScale="90000"/>
          </a:bodyPr>
          <a:lstStyle/>
          <a:p>
            <a:pPr algn="ctr"/>
            <a:r>
              <a:rPr lang="en-US" dirty="0"/>
              <a:t>1. </a:t>
            </a:r>
            <a:r>
              <a:rPr lang="en-US" dirty="0" err="1"/>
              <a:t>Khái</a:t>
            </a:r>
            <a:r>
              <a:rPr lang="en-US" dirty="0"/>
              <a:t> </a:t>
            </a:r>
            <a:r>
              <a:rPr lang="en-US" dirty="0" err="1"/>
              <a:t>niệm</a:t>
            </a:r>
            <a:r>
              <a:rPr lang="en-US" dirty="0"/>
              <a:t> CSDL </a:t>
            </a:r>
            <a:r>
              <a:rPr lang="en-US" dirty="0" err="1"/>
              <a:t>quan</a:t>
            </a:r>
            <a:r>
              <a:rPr lang="en-US" dirty="0"/>
              <a:t> </a:t>
            </a:r>
            <a:r>
              <a:rPr lang="en-US" dirty="0" err="1"/>
              <a:t>hệ</a:t>
            </a:r>
            <a:endParaRPr lang="en-US" dirty="0"/>
          </a:p>
        </p:txBody>
      </p:sp>
      <p:sp>
        <p:nvSpPr>
          <p:cNvPr id="20" name="Slide Number Placeholder 19">
            <a:extLst>
              <a:ext uri="{FF2B5EF4-FFF2-40B4-BE49-F238E27FC236}">
                <a16:creationId xmlns:a16="http://schemas.microsoft.com/office/drawing/2014/main" id="{C427CAEE-862D-4FE1-99F2-70274992024D}"/>
              </a:ext>
            </a:extLst>
          </p:cNvPr>
          <p:cNvSpPr>
            <a:spLocks noGrp="1"/>
          </p:cNvSpPr>
          <p:nvPr>
            <p:ph type="sldNum" sz="quarter" idx="17"/>
          </p:nvPr>
        </p:nvSpPr>
        <p:spPr>
          <a:xfrm>
            <a:off x="6457950" y="4767263"/>
            <a:ext cx="2057400" cy="273844"/>
          </a:xfrm>
        </p:spPr>
        <p:txBody>
          <a:bodyPr/>
          <a:lstStyle/>
          <a:p>
            <a:fld id="{5EA792F7-1D9E-4C7E-A103-E8EDFDC2691E}" type="slidenum">
              <a:rPr lang="en-US" smtClean="0"/>
              <a:pPr/>
              <a:t>3</a:t>
            </a:fld>
            <a:endParaRPr lang="en-US" dirty="0"/>
          </a:p>
        </p:txBody>
      </p:sp>
      <p:sp>
        <p:nvSpPr>
          <p:cNvPr id="8" name="Rectangle 7">
            <a:extLst>
              <a:ext uri="{FF2B5EF4-FFF2-40B4-BE49-F238E27FC236}">
                <a16:creationId xmlns:a16="http://schemas.microsoft.com/office/drawing/2014/main" id="{9E93FD86-8B4B-453A-84AD-B2ED545E7E0B}"/>
              </a:ext>
            </a:extLst>
          </p:cNvPr>
          <p:cNvSpPr/>
          <p:nvPr/>
        </p:nvSpPr>
        <p:spPr>
          <a:xfrm>
            <a:off x="262072" y="1725028"/>
            <a:ext cx="4676918" cy="1985159"/>
          </a:xfrm>
          <a:prstGeom prst="rect">
            <a:avLst/>
          </a:prstGeom>
        </p:spPr>
        <p:txBody>
          <a:bodyPr wrap="square">
            <a:spAutoFit/>
          </a:bodyPr>
          <a:lstStyle/>
          <a:p>
            <a:r>
              <a:rPr lang="en-US" sz="1500" dirty="0">
                <a:solidFill>
                  <a:schemeClr val="tx1">
                    <a:lumMod val="75000"/>
                    <a:lumOff val="25000"/>
                  </a:schemeClr>
                </a:solidFill>
              </a:rPr>
              <a:t>- </a:t>
            </a:r>
            <a:r>
              <a:rPr lang="vi-VN" sz="1800" b="1" dirty="0"/>
              <a:t>Hãy quan sát và trả lời các câu hỏi sau:</a:t>
            </a:r>
          </a:p>
          <a:p>
            <a:endParaRPr lang="vi-VN" sz="1500" dirty="0"/>
          </a:p>
          <a:p>
            <a:r>
              <a:rPr lang="vi-VN" sz="1500" dirty="0">
                <a:solidFill>
                  <a:srgbClr val="0070C0"/>
                </a:solidFill>
              </a:rPr>
              <a:t>1. Nhạc sĩ sáng tác bản nhạc "Trường ca sông Lô" là nhạc sĩ nào? Nhạc sĩ sáng tác bản nhạc "Xa khơi” là nhạc sĩ nào?</a:t>
            </a:r>
          </a:p>
          <a:p>
            <a:r>
              <a:rPr lang="vi-VN" sz="1500" dirty="0">
                <a:solidFill>
                  <a:schemeClr val="accent5">
                    <a:lumMod val="75000"/>
                  </a:schemeClr>
                </a:solidFill>
              </a:rPr>
              <a:t>2. Bản thu âm trong Hình 13.1d tương ứng với dòng 0005 TN là bản thu âm của bản nhạc nào, do ca sĩ nào thể hiện?</a:t>
            </a:r>
          </a:p>
        </p:txBody>
      </p:sp>
      <p:pic>
        <p:nvPicPr>
          <p:cNvPr id="12" name="Picture 11">
            <a:extLst>
              <a:ext uri="{FF2B5EF4-FFF2-40B4-BE49-F238E27FC236}">
                <a16:creationId xmlns:a16="http://schemas.microsoft.com/office/drawing/2014/main" id="{8B204005-97C5-4803-9791-93ED2B2164A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Effect>
                      <a14:brightnessContrast contrast="40000"/>
                    </a14:imgEffect>
                  </a14:imgLayer>
                </a14:imgProps>
              </a:ext>
            </a:extLst>
          </a:blip>
          <a:stretch>
            <a:fillRect/>
          </a:stretch>
        </p:blipFill>
        <p:spPr>
          <a:xfrm>
            <a:off x="5225113" y="548653"/>
            <a:ext cx="3736181" cy="2157413"/>
          </a:xfrm>
          <a:prstGeom prst="rect">
            <a:avLst/>
          </a:prstGeom>
        </p:spPr>
      </p:pic>
      <p:pic>
        <p:nvPicPr>
          <p:cNvPr id="13" name="Picture 12">
            <a:extLst>
              <a:ext uri="{FF2B5EF4-FFF2-40B4-BE49-F238E27FC236}">
                <a16:creationId xmlns:a16="http://schemas.microsoft.com/office/drawing/2014/main" id="{FACE1C91-D878-407E-82D2-04349D625CEB}"/>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Lst>
          </a:blip>
          <a:srcRect r="31227"/>
          <a:stretch/>
        </p:blipFill>
        <p:spPr>
          <a:xfrm>
            <a:off x="5031394" y="2706066"/>
            <a:ext cx="2790553" cy="2383822"/>
          </a:xfrm>
          <a:prstGeom prst="rect">
            <a:avLst/>
          </a:prstGeom>
        </p:spPr>
      </p:pic>
      <p:grpSp>
        <p:nvGrpSpPr>
          <p:cNvPr id="47" name="Confrontation" descr="{&quot;Key&quot;:&quot;POWER_USER_SHAPE_ICON&quot;,&quot;Value&quot;:&quot;POWER_USER_SHAPE_ICON_STYLE_1&quot;}">
            <a:extLst>
              <a:ext uri="{FF2B5EF4-FFF2-40B4-BE49-F238E27FC236}">
                <a16:creationId xmlns:a16="http://schemas.microsoft.com/office/drawing/2014/main" id="{D51E16EE-194D-413D-92C4-9BFA6CB53B42}"/>
              </a:ext>
            </a:extLst>
          </p:cNvPr>
          <p:cNvGrpSpPr>
            <a:grpSpLocks noChangeAspect="1"/>
          </p:cNvGrpSpPr>
          <p:nvPr>
            <p:custDataLst>
              <p:tags r:id="rId1"/>
            </p:custDataLst>
          </p:nvPr>
        </p:nvGrpSpPr>
        <p:grpSpPr>
          <a:xfrm>
            <a:off x="-4581" y="926258"/>
            <a:ext cx="782504" cy="736475"/>
            <a:chOff x="6764338" y="5940425"/>
            <a:chExt cx="782637" cy="736601"/>
          </a:xfrm>
          <a:noFill/>
        </p:grpSpPr>
        <p:sp>
          <p:nvSpPr>
            <p:cNvPr id="48" name="Freeform 31">
              <a:extLst>
                <a:ext uri="{FF2B5EF4-FFF2-40B4-BE49-F238E27FC236}">
                  <a16:creationId xmlns:a16="http://schemas.microsoft.com/office/drawing/2014/main" id="{8C117754-E097-467E-8CBF-4ADE9FE3E510}"/>
                </a:ext>
              </a:extLst>
            </p:cNvPr>
            <p:cNvSpPr>
              <a:spLocks/>
            </p:cNvSpPr>
            <p:nvPr/>
          </p:nvSpPr>
          <p:spPr bwMode="auto">
            <a:xfrm>
              <a:off x="6935788" y="6016625"/>
              <a:ext cx="95250" cy="112713"/>
            </a:xfrm>
            <a:custGeom>
              <a:avLst/>
              <a:gdLst>
                <a:gd name="T0" fmla="*/ 112 w 123"/>
                <a:gd name="T1" fmla="*/ 141 h 147"/>
                <a:gd name="T2" fmla="*/ 119 w 123"/>
                <a:gd name="T3" fmla="*/ 119 h 147"/>
                <a:gd name="T4" fmla="*/ 47 w 123"/>
                <a:gd name="T5" fmla="*/ 14 h 147"/>
                <a:gd name="T6" fmla="*/ 13 w 123"/>
                <a:gd name="T7" fmla="*/ 9 h 147"/>
                <a:gd name="T8" fmla="*/ 8 w 123"/>
                <a:gd name="T9" fmla="*/ 43 h 147"/>
                <a:gd name="T10" fmla="*/ 89 w 123"/>
                <a:gd name="T11" fmla="*/ 141 h 147"/>
                <a:gd name="T12" fmla="*/ 112 w 123"/>
                <a:gd name="T13" fmla="*/ 141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112" y="141"/>
                  </a:moveTo>
                  <a:cubicBezTo>
                    <a:pt x="120" y="135"/>
                    <a:pt x="123" y="125"/>
                    <a:pt x="119" y="119"/>
                  </a:cubicBezTo>
                  <a:lnTo>
                    <a:pt x="47" y="14"/>
                  </a:lnTo>
                  <a:cubicBezTo>
                    <a:pt x="40" y="3"/>
                    <a:pt x="25" y="0"/>
                    <a:pt x="13" y="9"/>
                  </a:cubicBezTo>
                  <a:cubicBezTo>
                    <a:pt x="2" y="17"/>
                    <a:pt x="0" y="33"/>
                    <a:pt x="8" y="43"/>
                  </a:cubicBezTo>
                  <a:lnTo>
                    <a:pt x="89" y="141"/>
                  </a:lnTo>
                  <a:cubicBezTo>
                    <a:pt x="94" y="147"/>
                    <a:pt x="104" y="146"/>
                    <a:pt x="112" y="141"/>
                  </a:cubicBez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49" name="Freeform 32">
              <a:extLst>
                <a:ext uri="{FF2B5EF4-FFF2-40B4-BE49-F238E27FC236}">
                  <a16:creationId xmlns:a16="http://schemas.microsoft.com/office/drawing/2014/main" id="{AF1CB6CE-5689-4A31-BD97-C83B5D7FD673}"/>
                </a:ext>
              </a:extLst>
            </p:cNvPr>
            <p:cNvSpPr>
              <a:spLocks/>
            </p:cNvSpPr>
            <p:nvPr/>
          </p:nvSpPr>
          <p:spPr bwMode="auto">
            <a:xfrm>
              <a:off x="7065963" y="5962650"/>
              <a:ext cx="46038" cy="127000"/>
            </a:xfrm>
            <a:custGeom>
              <a:avLst/>
              <a:gdLst>
                <a:gd name="T0" fmla="*/ 24 w 60"/>
                <a:gd name="T1" fmla="*/ 1 h 166"/>
                <a:gd name="T2" fmla="*/ 3 w 60"/>
                <a:gd name="T3" fmla="*/ 28 h 166"/>
                <a:gd name="T4" fmla="*/ 23 w 60"/>
                <a:gd name="T5" fmla="*/ 154 h 166"/>
                <a:gd name="T6" fmla="*/ 42 w 60"/>
                <a:gd name="T7" fmla="*/ 165 h 166"/>
                <a:gd name="T8" fmla="*/ 59 w 60"/>
                <a:gd name="T9" fmla="*/ 150 h 166"/>
                <a:gd name="T10" fmla="*/ 51 w 60"/>
                <a:gd name="T11" fmla="*/ 23 h 166"/>
                <a:gd name="T12" fmla="*/ 24 w 60"/>
                <a:gd name="T13" fmla="*/ 1 h 166"/>
              </a:gdLst>
              <a:ahLst/>
              <a:cxnLst>
                <a:cxn ang="0">
                  <a:pos x="T0" y="T1"/>
                </a:cxn>
                <a:cxn ang="0">
                  <a:pos x="T2" y="T3"/>
                </a:cxn>
                <a:cxn ang="0">
                  <a:pos x="T4" y="T5"/>
                </a:cxn>
                <a:cxn ang="0">
                  <a:pos x="T6" y="T7"/>
                </a:cxn>
                <a:cxn ang="0">
                  <a:pos x="T8" y="T9"/>
                </a:cxn>
                <a:cxn ang="0">
                  <a:pos x="T10" y="T11"/>
                </a:cxn>
                <a:cxn ang="0">
                  <a:pos x="T12" y="T13"/>
                </a:cxn>
              </a:cxnLst>
              <a:rect l="0" t="0" r="r" b="b"/>
              <a:pathLst>
                <a:path w="60" h="166">
                  <a:moveTo>
                    <a:pt x="24" y="1"/>
                  </a:moveTo>
                  <a:cubicBezTo>
                    <a:pt x="10" y="3"/>
                    <a:pt x="0" y="15"/>
                    <a:pt x="3" y="28"/>
                  </a:cubicBezTo>
                  <a:lnTo>
                    <a:pt x="23" y="154"/>
                  </a:lnTo>
                  <a:cubicBezTo>
                    <a:pt x="24" y="161"/>
                    <a:pt x="33" y="166"/>
                    <a:pt x="42" y="165"/>
                  </a:cubicBezTo>
                  <a:cubicBezTo>
                    <a:pt x="52" y="164"/>
                    <a:pt x="60" y="157"/>
                    <a:pt x="59" y="150"/>
                  </a:cubicBezTo>
                  <a:lnTo>
                    <a:pt x="51" y="23"/>
                  </a:lnTo>
                  <a:cubicBezTo>
                    <a:pt x="50" y="10"/>
                    <a:pt x="38" y="0"/>
                    <a:pt x="24" y="1"/>
                  </a:cubicBez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50" name="Freeform 33">
              <a:extLst>
                <a:ext uri="{FF2B5EF4-FFF2-40B4-BE49-F238E27FC236}">
                  <a16:creationId xmlns:a16="http://schemas.microsoft.com/office/drawing/2014/main" id="{58090741-483B-42B5-ABA1-3397A04E5642}"/>
                </a:ext>
              </a:extLst>
            </p:cNvPr>
            <p:cNvSpPr>
              <a:spLocks/>
            </p:cNvSpPr>
            <p:nvPr/>
          </p:nvSpPr>
          <p:spPr bwMode="auto">
            <a:xfrm>
              <a:off x="6845300" y="6126163"/>
              <a:ext cx="123825" cy="69850"/>
            </a:xfrm>
            <a:custGeom>
              <a:avLst/>
              <a:gdLst>
                <a:gd name="T0" fmla="*/ 35 w 162"/>
                <a:gd name="T1" fmla="*/ 5 h 91"/>
                <a:gd name="T2" fmla="*/ 4 w 162"/>
                <a:gd name="T3" fmla="*/ 20 h 91"/>
                <a:gd name="T4" fmla="*/ 19 w 162"/>
                <a:gd name="T5" fmla="*/ 51 h 91"/>
                <a:gd name="T6" fmla="*/ 141 w 162"/>
                <a:gd name="T7" fmla="*/ 89 h 91"/>
                <a:gd name="T8" fmla="*/ 159 w 162"/>
                <a:gd name="T9" fmla="*/ 76 h 91"/>
                <a:gd name="T10" fmla="*/ 153 w 162"/>
                <a:gd name="T11" fmla="*/ 54 h 91"/>
                <a:gd name="T12" fmla="*/ 35 w 162"/>
                <a:gd name="T13" fmla="*/ 5 h 91"/>
              </a:gdLst>
              <a:ahLst/>
              <a:cxnLst>
                <a:cxn ang="0">
                  <a:pos x="T0" y="T1"/>
                </a:cxn>
                <a:cxn ang="0">
                  <a:pos x="T2" y="T3"/>
                </a:cxn>
                <a:cxn ang="0">
                  <a:pos x="T4" y="T5"/>
                </a:cxn>
                <a:cxn ang="0">
                  <a:pos x="T6" y="T7"/>
                </a:cxn>
                <a:cxn ang="0">
                  <a:pos x="T8" y="T9"/>
                </a:cxn>
                <a:cxn ang="0">
                  <a:pos x="T10" y="T11"/>
                </a:cxn>
                <a:cxn ang="0">
                  <a:pos x="T12" y="T13"/>
                </a:cxn>
              </a:cxnLst>
              <a:rect l="0" t="0" r="r" b="b"/>
              <a:pathLst>
                <a:path w="162" h="91">
                  <a:moveTo>
                    <a:pt x="35" y="5"/>
                  </a:moveTo>
                  <a:cubicBezTo>
                    <a:pt x="24" y="0"/>
                    <a:pt x="9" y="6"/>
                    <a:pt x="4" y="20"/>
                  </a:cubicBezTo>
                  <a:cubicBezTo>
                    <a:pt x="0" y="33"/>
                    <a:pt x="6" y="47"/>
                    <a:pt x="19" y="51"/>
                  </a:cubicBezTo>
                  <a:lnTo>
                    <a:pt x="141" y="89"/>
                  </a:lnTo>
                  <a:cubicBezTo>
                    <a:pt x="148" y="91"/>
                    <a:pt x="156" y="85"/>
                    <a:pt x="159" y="76"/>
                  </a:cubicBezTo>
                  <a:cubicBezTo>
                    <a:pt x="162" y="67"/>
                    <a:pt x="160" y="57"/>
                    <a:pt x="153" y="54"/>
                  </a:cubicBezTo>
                  <a:lnTo>
                    <a:pt x="35" y="5"/>
                  </a:lnTo>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51" name="Freeform 34">
              <a:extLst>
                <a:ext uri="{FF2B5EF4-FFF2-40B4-BE49-F238E27FC236}">
                  <a16:creationId xmlns:a16="http://schemas.microsoft.com/office/drawing/2014/main" id="{B616B690-97D9-42B8-8622-693536F1FC50}"/>
                </a:ext>
              </a:extLst>
            </p:cNvPr>
            <p:cNvSpPr>
              <a:spLocks/>
            </p:cNvSpPr>
            <p:nvPr/>
          </p:nvSpPr>
          <p:spPr bwMode="auto">
            <a:xfrm>
              <a:off x="7281863" y="6475413"/>
              <a:ext cx="93663" cy="112713"/>
            </a:xfrm>
            <a:custGeom>
              <a:avLst/>
              <a:gdLst>
                <a:gd name="T0" fmla="*/ 34 w 123"/>
                <a:gd name="T1" fmla="*/ 5 h 147"/>
                <a:gd name="T2" fmla="*/ 12 w 123"/>
                <a:gd name="T3" fmla="*/ 6 h 147"/>
                <a:gd name="T4" fmla="*/ 4 w 123"/>
                <a:gd name="T5" fmla="*/ 28 h 147"/>
                <a:gd name="T6" fmla="*/ 76 w 123"/>
                <a:gd name="T7" fmla="*/ 133 h 147"/>
                <a:gd name="T8" fmla="*/ 110 w 123"/>
                <a:gd name="T9" fmla="*/ 138 h 147"/>
                <a:gd name="T10" fmla="*/ 115 w 123"/>
                <a:gd name="T11" fmla="*/ 104 h 147"/>
                <a:gd name="T12" fmla="*/ 34 w 123"/>
                <a:gd name="T13" fmla="*/ 5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34" y="5"/>
                  </a:moveTo>
                  <a:cubicBezTo>
                    <a:pt x="29" y="0"/>
                    <a:pt x="19" y="1"/>
                    <a:pt x="12" y="6"/>
                  </a:cubicBezTo>
                  <a:cubicBezTo>
                    <a:pt x="4" y="12"/>
                    <a:pt x="0" y="22"/>
                    <a:pt x="4" y="28"/>
                  </a:cubicBezTo>
                  <a:lnTo>
                    <a:pt x="76" y="133"/>
                  </a:lnTo>
                  <a:cubicBezTo>
                    <a:pt x="83" y="144"/>
                    <a:pt x="99" y="147"/>
                    <a:pt x="110" y="138"/>
                  </a:cubicBezTo>
                  <a:cubicBezTo>
                    <a:pt x="121" y="130"/>
                    <a:pt x="123" y="114"/>
                    <a:pt x="115" y="104"/>
                  </a:cubicBezTo>
                  <a:lnTo>
                    <a:pt x="34" y="5"/>
                  </a:ln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52" name="Freeform 35">
              <a:extLst>
                <a:ext uri="{FF2B5EF4-FFF2-40B4-BE49-F238E27FC236}">
                  <a16:creationId xmlns:a16="http://schemas.microsoft.com/office/drawing/2014/main" id="{2FCD2E4E-C971-4869-B4C5-D8B336E3887B}"/>
                </a:ext>
              </a:extLst>
            </p:cNvPr>
            <p:cNvSpPr>
              <a:spLocks/>
            </p:cNvSpPr>
            <p:nvPr/>
          </p:nvSpPr>
          <p:spPr bwMode="auto">
            <a:xfrm>
              <a:off x="7200900" y="6515100"/>
              <a:ext cx="44450" cy="127000"/>
            </a:xfrm>
            <a:custGeom>
              <a:avLst/>
              <a:gdLst>
                <a:gd name="T0" fmla="*/ 37 w 59"/>
                <a:gd name="T1" fmla="*/ 12 h 166"/>
                <a:gd name="T2" fmla="*/ 17 w 59"/>
                <a:gd name="T3" fmla="*/ 1 h 166"/>
                <a:gd name="T4" fmla="*/ 0 w 59"/>
                <a:gd name="T5" fmla="*/ 16 h 166"/>
                <a:gd name="T6" fmla="*/ 9 w 59"/>
                <a:gd name="T7" fmla="*/ 143 h 166"/>
                <a:gd name="T8" fmla="*/ 35 w 59"/>
                <a:gd name="T9" fmla="*/ 165 h 166"/>
                <a:gd name="T10" fmla="*/ 57 w 59"/>
                <a:gd name="T11" fmla="*/ 138 h 166"/>
                <a:gd name="T12" fmla="*/ 37 w 59"/>
                <a:gd name="T13" fmla="*/ 12 h 166"/>
              </a:gdLst>
              <a:ahLst/>
              <a:cxnLst>
                <a:cxn ang="0">
                  <a:pos x="T0" y="T1"/>
                </a:cxn>
                <a:cxn ang="0">
                  <a:pos x="T2" y="T3"/>
                </a:cxn>
                <a:cxn ang="0">
                  <a:pos x="T4" y="T5"/>
                </a:cxn>
                <a:cxn ang="0">
                  <a:pos x="T6" y="T7"/>
                </a:cxn>
                <a:cxn ang="0">
                  <a:pos x="T8" y="T9"/>
                </a:cxn>
                <a:cxn ang="0">
                  <a:pos x="T10" y="T11"/>
                </a:cxn>
                <a:cxn ang="0">
                  <a:pos x="T12" y="T13"/>
                </a:cxn>
              </a:cxnLst>
              <a:rect l="0" t="0" r="r" b="b"/>
              <a:pathLst>
                <a:path w="59" h="166">
                  <a:moveTo>
                    <a:pt x="37" y="12"/>
                  </a:moveTo>
                  <a:cubicBezTo>
                    <a:pt x="36" y="5"/>
                    <a:pt x="27" y="0"/>
                    <a:pt x="17" y="1"/>
                  </a:cubicBezTo>
                  <a:cubicBezTo>
                    <a:pt x="7" y="2"/>
                    <a:pt x="0" y="9"/>
                    <a:pt x="0" y="16"/>
                  </a:cubicBezTo>
                  <a:lnTo>
                    <a:pt x="9" y="143"/>
                  </a:lnTo>
                  <a:cubicBezTo>
                    <a:pt x="9" y="156"/>
                    <a:pt x="21" y="166"/>
                    <a:pt x="35" y="165"/>
                  </a:cubicBezTo>
                  <a:cubicBezTo>
                    <a:pt x="50" y="163"/>
                    <a:pt x="59" y="151"/>
                    <a:pt x="57" y="138"/>
                  </a:cubicBezTo>
                  <a:lnTo>
                    <a:pt x="37" y="12"/>
                  </a:ln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53" name="Freeform 36">
              <a:extLst>
                <a:ext uri="{FF2B5EF4-FFF2-40B4-BE49-F238E27FC236}">
                  <a16:creationId xmlns:a16="http://schemas.microsoft.com/office/drawing/2014/main" id="{8AC798BD-E9B8-4C71-8689-A2D26602ED67}"/>
                </a:ext>
              </a:extLst>
            </p:cNvPr>
            <p:cNvSpPr>
              <a:spLocks/>
            </p:cNvSpPr>
            <p:nvPr/>
          </p:nvSpPr>
          <p:spPr bwMode="auto">
            <a:xfrm>
              <a:off x="7342188" y="6408738"/>
              <a:ext cx="125413" cy="69850"/>
            </a:xfrm>
            <a:custGeom>
              <a:avLst/>
              <a:gdLst>
                <a:gd name="T0" fmla="*/ 144 w 163"/>
                <a:gd name="T1" fmla="*/ 40 h 91"/>
                <a:gd name="T2" fmla="*/ 22 w 163"/>
                <a:gd name="T3" fmla="*/ 2 h 91"/>
                <a:gd name="T4" fmla="*/ 3 w 163"/>
                <a:gd name="T5" fmla="*/ 15 h 91"/>
                <a:gd name="T6" fmla="*/ 9 w 163"/>
                <a:gd name="T7" fmla="*/ 37 h 91"/>
                <a:gd name="T8" fmla="*/ 127 w 163"/>
                <a:gd name="T9" fmla="*/ 86 h 91"/>
                <a:gd name="T10" fmla="*/ 158 w 163"/>
                <a:gd name="T11" fmla="*/ 71 h 91"/>
                <a:gd name="T12" fmla="*/ 144 w 163"/>
                <a:gd name="T13" fmla="*/ 40 h 91"/>
              </a:gdLst>
              <a:ahLst/>
              <a:cxnLst>
                <a:cxn ang="0">
                  <a:pos x="T0" y="T1"/>
                </a:cxn>
                <a:cxn ang="0">
                  <a:pos x="T2" y="T3"/>
                </a:cxn>
                <a:cxn ang="0">
                  <a:pos x="T4" y="T5"/>
                </a:cxn>
                <a:cxn ang="0">
                  <a:pos x="T6" y="T7"/>
                </a:cxn>
                <a:cxn ang="0">
                  <a:pos x="T8" y="T9"/>
                </a:cxn>
                <a:cxn ang="0">
                  <a:pos x="T10" y="T11"/>
                </a:cxn>
                <a:cxn ang="0">
                  <a:pos x="T12" y="T13"/>
                </a:cxn>
              </a:cxnLst>
              <a:rect l="0" t="0" r="r" b="b"/>
              <a:pathLst>
                <a:path w="163" h="91">
                  <a:moveTo>
                    <a:pt x="144" y="40"/>
                  </a:moveTo>
                  <a:lnTo>
                    <a:pt x="22" y="2"/>
                  </a:lnTo>
                  <a:cubicBezTo>
                    <a:pt x="15" y="0"/>
                    <a:pt x="7" y="6"/>
                    <a:pt x="3" y="15"/>
                  </a:cubicBezTo>
                  <a:cubicBezTo>
                    <a:pt x="0" y="24"/>
                    <a:pt x="2" y="34"/>
                    <a:pt x="9" y="37"/>
                  </a:cubicBezTo>
                  <a:lnTo>
                    <a:pt x="127" y="86"/>
                  </a:lnTo>
                  <a:cubicBezTo>
                    <a:pt x="139" y="91"/>
                    <a:pt x="153" y="85"/>
                    <a:pt x="158" y="71"/>
                  </a:cubicBezTo>
                  <a:cubicBezTo>
                    <a:pt x="163" y="58"/>
                    <a:pt x="156" y="44"/>
                    <a:pt x="144" y="40"/>
                  </a:cubicBezTo>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54" name="Freeform 37">
              <a:extLst>
                <a:ext uri="{FF2B5EF4-FFF2-40B4-BE49-F238E27FC236}">
                  <a16:creationId xmlns:a16="http://schemas.microsoft.com/office/drawing/2014/main" id="{E5485143-B17A-4EB6-8BEE-8FA09190F408}"/>
                </a:ext>
              </a:extLst>
            </p:cNvPr>
            <p:cNvSpPr>
              <a:spLocks/>
            </p:cNvSpPr>
            <p:nvPr/>
          </p:nvSpPr>
          <p:spPr bwMode="auto">
            <a:xfrm>
              <a:off x="6764338" y="6221413"/>
              <a:ext cx="433388" cy="455613"/>
            </a:xfrm>
            <a:custGeom>
              <a:avLst/>
              <a:gdLst>
                <a:gd name="T0" fmla="*/ 502 w 568"/>
                <a:gd name="T1" fmla="*/ 285 h 598"/>
                <a:gd name="T2" fmla="*/ 519 w 568"/>
                <a:gd name="T3" fmla="*/ 267 h 598"/>
                <a:gd name="T4" fmla="*/ 519 w 568"/>
                <a:gd name="T5" fmla="*/ 192 h 598"/>
                <a:gd name="T6" fmla="*/ 455 w 568"/>
                <a:gd name="T7" fmla="*/ 184 h 598"/>
                <a:gd name="T8" fmla="*/ 463 w 568"/>
                <a:gd name="T9" fmla="*/ 100 h 598"/>
                <a:gd name="T10" fmla="*/ 393 w 568"/>
                <a:gd name="T11" fmla="*/ 95 h 598"/>
                <a:gd name="T12" fmla="*/ 392 w 568"/>
                <a:gd name="T13" fmla="*/ 21 h 598"/>
                <a:gd name="T14" fmla="*/ 317 w 568"/>
                <a:gd name="T15" fmla="*/ 21 h 598"/>
                <a:gd name="T16" fmla="*/ 205 w 568"/>
                <a:gd name="T17" fmla="*/ 132 h 598"/>
                <a:gd name="T18" fmla="*/ 205 w 568"/>
                <a:gd name="T19" fmla="*/ 69 h 598"/>
                <a:gd name="T20" fmla="*/ 236 w 568"/>
                <a:gd name="T21" fmla="*/ 38 h 598"/>
                <a:gd name="T22" fmla="*/ 112 w 568"/>
                <a:gd name="T23" fmla="*/ 93 h 598"/>
                <a:gd name="T24" fmla="*/ 79 w 568"/>
                <a:gd name="T25" fmla="*/ 311 h 598"/>
                <a:gd name="T26" fmla="*/ 0 w 568"/>
                <a:gd name="T27" fmla="*/ 390 h 598"/>
                <a:gd name="T28" fmla="*/ 209 w 568"/>
                <a:gd name="T29" fmla="*/ 598 h 598"/>
                <a:gd name="T30" fmla="*/ 279 w 568"/>
                <a:gd name="T31" fmla="*/ 528 h 598"/>
                <a:gd name="T32" fmla="*/ 434 w 568"/>
                <a:gd name="T33" fmla="*/ 486 h 598"/>
                <a:gd name="T34" fmla="*/ 548 w 568"/>
                <a:gd name="T35" fmla="*/ 372 h 598"/>
                <a:gd name="T36" fmla="*/ 548 w 568"/>
                <a:gd name="T37" fmla="*/ 299 h 598"/>
                <a:gd name="T38" fmla="*/ 502 w 568"/>
                <a:gd name="T39" fmla="*/ 28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502" y="285"/>
                  </a:moveTo>
                  <a:lnTo>
                    <a:pt x="519" y="267"/>
                  </a:lnTo>
                  <a:cubicBezTo>
                    <a:pt x="539" y="247"/>
                    <a:pt x="539" y="213"/>
                    <a:pt x="519" y="192"/>
                  </a:cubicBezTo>
                  <a:cubicBezTo>
                    <a:pt x="501" y="175"/>
                    <a:pt x="475" y="172"/>
                    <a:pt x="455" y="184"/>
                  </a:cubicBezTo>
                  <a:cubicBezTo>
                    <a:pt x="480" y="158"/>
                    <a:pt x="488" y="125"/>
                    <a:pt x="463" y="100"/>
                  </a:cubicBezTo>
                  <a:cubicBezTo>
                    <a:pt x="444" y="80"/>
                    <a:pt x="414" y="79"/>
                    <a:pt x="393" y="95"/>
                  </a:cubicBezTo>
                  <a:cubicBezTo>
                    <a:pt x="413" y="75"/>
                    <a:pt x="413" y="41"/>
                    <a:pt x="392" y="21"/>
                  </a:cubicBezTo>
                  <a:cubicBezTo>
                    <a:pt x="371" y="0"/>
                    <a:pt x="338" y="0"/>
                    <a:pt x="317" y="21"/>
                  </a:cubicBezTo>
                  <a:lnTo>
                    <a:pt x="205" y="132"/>
                  </a:lnTo>
                  <a:cubicBezTo>
                    <a:pt x="188" y="115"/>
                    <a:pt x="188" y="86"/>
                    <a:pt x="205" y="69"/>
                  </a:cubicBezTo>
                  <a:lnTo>
                    <a:pt x="236" y="38"/>
                  </a:lnTo>
                  <a:cubicBezTo>
                    <a:pt x="182" y="42"/>
                    <a:pt x="125" y="68"/>
                    <a:pt x="112" y="93"/>
                  </a:cubicBezTo>
                  <a:cubicBezTo>
                    <a:pt x="93" y="129"/>
                    <a:pt x="79" y="253"/>
                    <a:pt x="79" y="311"/>
                  </a:cubicBezTo>
                  <a:lnTo>
                    <a:pt x="0" y="390"/>
                  </a:lnTo>
                  <a:lnTo>
                    <a:pt x="209" y="598"/>
                  </a:lnTo>
                  <a:lnTo>
                    <a:pt x="279" y="528"/>
                  </a:lnTo>
                  <a:cubicBezTo>
                    <a:pt x="335" y="545"/>
                    <a:pt x="398" y="522"/>
                    <a:pt x="434" y="486"/>
                  </a:cubicBezTo>
                  <a:lnTo>
                    <a:pt x="548" y="372"/>
                  </a:lnTo>
                  <a:cubicBezTo>
                    <a:pt x="568" y="352"/>
                    <a:pt x="568" y="319"/>
                    <a:pt x="548" y="299"/>
                  </a:cubicBezTo>
                  <a:cubicBezTo>
                    <a:pt x="535" y="286"/>
                    <a:pt x="518" y="282"/>
                    <a:pt x="502" y="285"/>
                  </a:cubicBez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55" name="Freeform 38">
              <a:extLst>
                <a:ext uri="{FF2B5EF4-FFF2-40B4-BE49-F238E27FC236}">
                  <a16:creationId xmlns:a16="http://schemas.microsoft.com/office/drawing/2014/main" id="{15EF79B6-4B1D-4754-89D2-CFAEAEF10903}"/>
                </a:ext>
              </a:extLst>
            </p:cNvPr>
            <p:cNvSpPr>
              <a:spLocks/>
            </p:cNvSpPr>
            <p:nvPr/>
          </p:nvSpPr>
          <p:spPr bwMode="auto">
            <a:xfrm>
              <a:off x="7115175" y="5940425"/>
              <a:ext cx="431800" cy="455613"/>
            </a:xfrm>
            <a:custGeom>
              <a:avLst/>
              <a:gdLst>
                <a:gd name="T0" fmla="*/ 289 w 568"/>
                <a:gd name="T1" fmla="*/ 70 h 598"/>
                <a:gd name="T2" fmla="*/ 134 w 568"/>
                <a:gd name="T3" fmla="*/ 112 h 598"/>
                <a:gd name="T4" fmla="*/ 21 w 568"/>
                <a:gd name="T5" fmla="*/ 226 h 598"/>
                <a:gd name="T6" fmla="*/ 21 w 568"/>
                <a:gd name="T7" fmla="*/ 299 h 598"/>
                <a:gd name="T8" fmla="*/ 67 w 568"/>
                <a:gd name="T9" fmla="*/ 313 h 598"/>
                <a:gd name="T10" fmla="*/ 50 w 568"/>
                <a:gd name="T11" fmla="*/ 331 h 598"/>
                <a:gd name="T12" fmla="*/ 50 w 568"/>
                <a:gd name="T13" fmla="*/ 406 h 598"/>
                <a:gd name="T14" fmla="*/ 114 w 568"/>
                <a:gd name="T15" fmla="*/ 414 h 598"/>
                <a:gd name="T16" fmla="*/ 105 w 568"/>
                <a:gd name="T17" fmla="*/ 498 h 598"/>
                <a:gd name="T18" fmla="*/ 175 w 568"/>
                <a:gd name="T19" fmla="*/ 503 h 598"/>
                <a:gd name="T20" fmla="*/ 176 w 568"/>
                <a:gd name="T21" fmla="*/ 577 h 598"/>
                <a:gd name="T22" fmla="*/ 252 w 568"/>
                <a:gd name="T23" fmla="*/ 577 h 598"/>
                <a:gd name="T24" fmla="*/ 363 w 568"/>
                <a:gd name="T25" fmla="*/ 465 h 598"/>
                <a:gd name="T26" fmla="*/ 363 w 568"/>
                <a:gd name="T27" fmla="*/ 529 h 598"/>
                <a:gd name="T28" fmla="*/ 332 w 568"/>
                <a:gd name="T29" fmla="*/ 560 h 598"/>
                <a:gd name="T30" fmla="*/ 456 w 568"/>
                <a:gd name="T31" fmla="*/ 505 h 598"/>
                <a:gd name="T32" fmla="*/ 490 w 568"/>
                <a:gd name="T33" fmla="*/ 286 h 598"/>
                <a:gd name="T34" fmla="*/ 568 w 568"/>
                <a:gd name="T35" fmla="*/ 208 h 598"/>
                <a:gd name="T36" fmla="*/ 359 w 568"/>
                <a:gd name="T37" fmla="*/ 0 h 598"/>
                <a:gd name="T38" fmla="*/ 289 w 568"/>
                <a:gd name="T39" fmla="*/ 7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289" y="70"/>
                  </a:moveTo>
                  <a:cubicBezTo>
                    <a:pt x="233" y="53"/>
                    <a:pt x="171" y="76"/>
                    <a:pt x="134" y="112"/>
                  </a:cubicBezTo>
                  <a:lnTo>
                    <a:pt x="21" y="226"/>
                  </a:lnTo>
                  <a:cubicBezTo>
                    <a:pt x="0" y="246"/>
                    <a:pt x="0" y="279"/>
                    <a:pt x="21" y="299"/>
                  </a:cubicBezTo>
                  <a:cubicBezTo>
                    <a:pt x="33" y="312"/>
                    <a:pt x="50" y="316"/>
                    <a:pt x="67" y="313"/>
                  </a:cubicBezTo>
                  <a:lnTo>
                    <a:pt x="50" y="331"/>
                  </a:lnTo>
                  <a:cubicBezTo>
                    <a:pt x="29" y="351"/>
                    <a:pt x="29" y="385"/>
                    <a:pt x="50" y="406"/>
                  </a:cubicBezTo>
                  <a:cubicBezTo>
                    <a:pt x="67" y="423"/>
                    <a:pt x="93" y="426"/>
                    <a:pt x="114" y="414"/>
                  </a:cubicBezTo>
                  <a:cubicBezTo>
                    <a:pt x="88" y="440"/>
                    <a:pt x="80" y="473"/>
                    <a:pt x="105" y="498"/>
                  </a:cubicBezTo>
                  <a:cubicBezTo>
                    <a:pt x="124" y="518"/>
                    <a:pt x="154" y="519"/>
                    <a:pt x="175" y="503"/>
                  </a:cubicBezTo>
                  <a:cubicBezTo>
                    <a:pt x="155" y="523"/>
                    <a:pt x="156" y="556"/>
                    <a:pt x="176" y="577"/>
                  </a:cubicBezTo>
                  <a:cubicBezTo>
                    <a:pt x="197" y="598"/>
                    <a:pt x="230" y="598"/>
                    <a:pt x="252" y="577"/>
                  </a:cubicBezTo>
                  <a:lnTo>
                    <a:pt x="363" y="465"/>
                  </a:lnTo>
                  <a:cubicBezTo>
                    <a:pt x="381" y="483"/>
                    <a:pt x="381" y="512"/>
                    <a:pt x="363" y="529"/>
                  </a:cubicBezTo>
                  <a:lnTo>
                    <a:pt x="332" y="560"/>
                  </a:lnTo>
                  <a:cubicBezTo>
                    <a:pt x="387" y="556"/>
                    <a:pt x="443" y="530"/>
                    <a:pt x="456" y="505"/>
                  </a:cubicBezTo>
                  <a:cubicBezTo>
                    <a:pt x="475" y="469"/>
                    <a:pt x="489" y="345"/>
                    <a:pt x="490" y="286"/>
                  </a:cubicBezTo>
                  <a:lnTo>
                    <a:pt x="568" y="208"/>
                  </a:lnTo>
                  <a:lnTo>
                    <a:pt x="359" y="0"/>
                  </a:lnTo>
                  <a:lnTo>
                    <a:pt x="289" y="70"/>
                  </a:ln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grpSp>
      <p:pic>
        <p:nvPicPr>
          <p:cNvPr id="16" name="Picture 15"/>
          <p:cNvPicPr/>
          <p:nvPr/>
        </p:nvPicPr>
        <p:blipFill>
          <a:blip r:embed="rId8">
            <a:extLst>
              <a:ext uri="{28A0092B-C50C-407E-A947-70E740481C1C}">
                <a14:useLocalDpi xmlns:a14="http://schemas.microsoft.com/office/drawing/2010/main" val="0"/>
              </a:ext>
            </a:extLst>
          </a:blip>
          <a:stretch>
            <a:fillRect/>
          </a:stretch>
        </p:blipFill>
        <p:spPr>
          <a:xfrm>
            <a:off x="8007209" y="2706065"/>
            <a:ext cx="976057" cy="2383823"/>
          </a:xfrm>
          <a:prstGeom prst="rect">
            <a:avLst/>
          </a:prstGeom>
        </p:spPr>
      </p:pic>
    </p:spTree>
    <p:extLst>
      <p:ext uri="{BB962C8B-B14F-4D97-AF65-F5344CB8AC3E}">
        <p14:creationId xmlns:p14="http://schemas.microsoft.com/office/powerpoint/2010/main" val="254161081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5CA96DE-78A4-4D71-9018-4AC46FF435DE}"/>
              </a:ext>
            </a:extLst>
          </p:cNvPr>
          <p:cNvPicPr>
            <a:picLocks noChangeAspect="1"/>
          </p:cNvPicPr>
          <p:nvPr/>
        </p:nvPicPr>
        <p:blipFill>
          <a:blip r:embed="rId8"/>
          <a:stretch>
            <a:fillRect/>
          </a:stretch>
        </p:blipFill>
        <p:spPr>
          <a:xfrm>
            <a:off x="-7503" y="-1393287"/>
            <a:ext cx="9151502" cy="6536787"/>
          </a:xfrm>
          <a:prstGeom prst="rect">
            <a:avLst/>
          </a:prstGeom>
        </p:spPr>
      </p:pic>
      <p:pic>
        <p:nvPicPr>
          <p:cNvPr id="33" name="Picture 32">
            <a:extLst>
              <a:ext uri="{FF2B5EF4-FFF2-40B4-BE49-F238E27FC236}">
                <a16:creationId xmlns:a16="http://schemas.microsoft.com/office/drawing/2014/main" id="{734ECCA8-0C93-4070-BC07-21CD5B1A208E}"/>
              </a:ext>
            </a:extLst>
          </p:cNvPr>
          <p:cNvPicPr>
            <a:picLocks noChangeAspect="1"/>
          </p:cNvPicPr>
          <p:nvPr/>
        </p:nvPicPr>
        <p:blipFill>
          <a:blip r:embed="rId9"/>
          <a:stretch>
            <a:fillRect/>
          </a:stretch>
        </p:blipFill>
        <p:spPr>
          <a:xfrm>
            <a:off x="0" y="-1387928"/>
            <a:ext cx="9144000" cy="6531428"/>
          </a:xfrm>
          <a:prstGeom prst="rect">
            <a:avLst/>
          </a:prstGeom>
        </p:spPr>
      </p:pic>
      <p:pic>
        <p:nvPicPr>
          <p:cNvPr id="4" name="Picture 3">
            <a:extLst>
              <a:ext uri="{FF2B5EF4-FFF2-40B4-BE49-F238E27FC236}">
                <a16:creationId xmlns:a16="http://schemas.microsoft.com/office/drawing/2014/main" id="{BDC1A603-354F-435D-AEB7-58626DEC55F5}"/>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7502" y="-1393849"/>
            <a:ext cx="9151502" cy="6535951"/>
          </a:xfrm>
          <a:prstGeom prst="rect">
            <a:avLst/>
          </a:prstGeom>
        </p:spPr>
      </p:pic>
      <p:pic>
        <p:nvPicPr>
          <p:cNvPr id="21" name="Picture 20">
            <a:extLst>
              <a:ext uri="{FF2B5EF4-FFF2-40B4-BE49-F238E27FC236}">
                <a16:creationId xmlns:a16="http://schemas.microsoft.com/office/drawing/2014/main" id="{101CE774-744F-4C7A-9955-F73491C34842}"/>
              </a:ext>
            </a:extLst>
          </p:cNvPr>
          <p:cNvPicPr>
            <a:picLocks noChangeAspect="1"/>
          </p:cNvPicPr>
          <p:nvPr/>
        </p:nvPicPr>
        <p:blipFill>
          <a:blip r:embed="rId11"/>
          <a:stretch>
            <a:fillRect/>
          </a:stretch>
        </p:blipFill>
        <p:spPr>
          <a:xfrm>
            <a:off x="4622776" y="3911985"/>
            <a:ext cx="1010500" cy="727011"/>
          </a:xfrm>
          <a:prstGeom prst="rect">
            <a:avLst/>
          </a:prstGeom>
        </p:spPr>
      </p:pic>
      <p:pic>
        <p:nvPicPr>
          <p:cNvPr id="20" name="Picture 19">
            <a:extLst>
              <a:ext uri="{FF2B5EF4-FFF2-40B4-BE49-F238E27FC236}">
                <a16:creationId xmlns:a16="http://schemas.microsoft.com/office/drawing/2014/main" id="{DB788A32-C95B-4003-9294-ED973E5BF647}"/>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3410051" y="2270379"/>
            <a:ext cx="1001354" cy="722438"/>
          </a:xfrm>
          <a:prstGeom prst="rect">
            <a:avLst/>
          </a:prstGeom>
        </p:spPr>
      </p:pic>
      <p:pic>
        <p:nvPicPr>
          <p:cNvPr id="15" name="Picture 14">
            <a:extLst>
              <a:ext uri="{FF2B5EF4-FFF2-40B4-BE49-F238E27FC236}">
                <a16:creationId xmlns:a16="http://schemas.microsoft.com/office/drawing/2014/main" id="{C9D7EF65-CD86-4DEA-82CE-78B4750B4F6D}"/>
              </a:ext>
            </a:extLst>
          </p:cNvPr>
          <p:cNvPicPr>
            <a:picLocks noChangeAspect="1"/>
          </p:cNvPicPr>
          <p:nvPr/>
        </p:nvPicPr>
        <p:blipFill>
          <a:blip r:embed="rId13"/>
          <a:stretch>
            <a:fillRect/>
          </a:stretch>
        </p:blipFill>
        <p:spPr>
          <a:xfrm>
            <a:off x="4621685" y="2288158"/>
            <a:ext cx="1010500" cy="727011"/>
          </a:xfrm>
          <a:prstGeom prst="rect">
            <a:avLst/>
          </a:prstGeom>
        </p:spPr>
      </p:pic>
      <p:pic>
        <p:nvPicPr>
          <p:cNvPr id="2" name="Picture 1">
            <a:extLst>
              <a:ext uri="{FF2B5EF4-FFF2-40B4-BE49-F238E27FC236}">
                <a16:creationId xmlns:a16="http://schemas.microsoft.com/office/drawing/2014/main" id="{CD62D86A-FAC6-4AAB-B7AD-13AF6333299A}"/>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3406883" y="3916286"/>
            <a:ext cx="1007692" cy="727011"/>
          </a:xfrm>
          <a:prstGeom prst="rect">
            <a:avLst/>
          </a:prstGeom>
        </p:spPr>
      </p:pic>
      <p:cxnSp>
        <p:nvCxnSpPr>
          <p:cNvPr id="6" name="Straight Connector 5">
            <a:extLst>
              <a:ext uri="{FF2B5EF4-FFF2-40B4-BE49-F238E27FC236}">
                <a16:creationId xmlns:a16="http://schemas.microsoft.com/office/drawing/2014/main" id="{3EF2F97A-9E2C-4C1B-9BA8-A29231423BAA}"/>
              </a:ext>
            </a:extLst>
          </p:cNvPr>
          <p:cNvCxnSpPr>
            <a:cxnSpLocks/>
          </p:cNvCxnSpPr>
          <p:nvPr/>
        </p:nvCxnSpPr>
        <p:spPr>
          <a:xfrm>
            <a:off x="0" y="0"/>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DBC6A1B7-E8F3-46D7-A22A-84F8AB3A969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81637" y="2814360"/>
            <a:ext cx="877141" cy="1097626"/>
          </a:xfrm>
          <a:prstGeom prst="rect">
            <a:avLst/>
          </a:prstGeom>
        </p:spPr>
      </p:pic>
      <p:grpSp>
        <p:nvGrpSpPr>
          <p:cNvPr id="16" name="Group 15">
            <a:extLst>
              <a:ext uri="{FF2B5EF4-FFF2-40B4-BE49-F238E27FC236}">
                <a16:creationId xmlns:a16="http://schemas.microsoft.com/office/drawing/2014/main" id="{2125B487-0096-4B93-AE2A-35F664CA4945}"/>
              </a:ext>
            </a:extLst>
          </p:cNvPr>
          <p:cNvGrpSpPr/>
          <p:nvPr/>
        </p:nvGrpSpPr>
        <p:grpSpPr>
          <a:xfrm>
            <a:off x="-113064" y="3337934"/>
            <a:ext cx="3903976" cy="1706987"/>
            <a:chOff x="-22899" y="2465042"/>
            <a:chExt cx="4969640" cy="1871785"/>
          </a:xfrm>
        </p:grpSpPr>
        <p:sp>
          <p:nvSpPr>
            <p:cNvPr id="26" name="Freeform: Shape 25">
              <a:extLst>
                <a:ext uri="{FF2B5EF4-FFF2-40B4-BE49-F238E27FC236}">
                  <a16:creationId xmlns:a16="http://schemas.microsoft.com/office/drawing/2014/main" id="{DE107CBF-D45A-4821-9AF9-91E811B920BF}"/>
                </a:ext>
              </a:extLst>
            </p:cNvPr>
            <p:cNvSpPr/>
            <p:nvPr/>
          </p:nvSpPr>
          <p:spPr>
            <a:xfrm flipH="1">
              <a:off x="418429" y="2465042"/>
              <a:ext cx="4396608"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dirty="0"/>
            </a:p>
          </p:txBody>
        </p:sp>
        <p:sp>
          <p:nvSpPr>
            <p:cNvPr id="11" name="Rectangle: Rounded Corners 10">
              <a:extLst>
                <a:ext uri="{FF2B5EF4-FFF2-40B4-BE49-F238E27FC236}">
                  <a16:creationId xmlns:a16="http://schemas.microsoft.com/office/drawing/2014/main" id="{2D476256-F649-440E-8CB6-34553EE46959}"/>
                </a:ext>
              </a:extLst>
            </p:cNvPr>
            <p:cNvSpPr/>
            <p:nvPr/>
          </p:nvSpPr>
          <p:spPr>
            <a:xfrm>
              <a:off x="-22899" y="2492718"/>
              <a:ext cx="4969640"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Phầ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mềm</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dùng</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để</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tạo</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lập,cập</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nhật</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và</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khai</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thác</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CSDL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qua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ệ</a:t>
              </a:r>
              <a:endPar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endParaRPr>
            </a:p>
          </p:txBody>
        </p:sp>
      </p:grpSp>
      <p:grpSp>
        <p:nvGrpSpPr>
          <p:cNvPr id="17" name="Group 16">
            <a:extLst>
              <a:ext uri="{FF2B5EF4-FFF2-40B4-BE49-F238E27FC236}">
                <a16:creationId xmlns:a16="http://schemas.microsoft.com/office/drawing/2014/main" id="{3F6095D1-5BDA-4028-80BF-CF720429106A}"/>
              </a:ext>
            </a:extLst>
          </p:cNvPr>
          <p:cNvGrpSpPr/>
          <p:nvPr/>
        </p:nvGrpSpPr>
        <p:grpSpPr>
          <a:xfrm>
            <a:off x="310298" y="1847098"/>
            <a:ext cx="3300980" cy="1397954"/>
            <a:chOff x="413731" y="4651605"/>
            <a:chExt cx="4401306" cy="1863939"/>
          </a:xfrm>
        </p:grpSpPr>
        <p:sp>
          <p:nvSpPr>
            <p:cNvPr id="30" name="Freeform: Shape 29">
              <a:extLst>
                <a:ext uri="{FF2B5EF4-FFF2-40B4-BE49-F238E27FC236}">
                  <a16:creationId xmlns:a16="http://schemas.microsoft.com/office/drawing/2014/main" id="{18151A68-8ABC-4A1D-8A5B-E03CCFBD3F59}"/>
                </a:ext>
              </a:extLst>
            </p:cNvPr>
            <p:cNvSpPr/>
            <p:nvPr/>
          </p:nvSpPr>
          <p:spPr>
            <a:xfrm flipH="1">
              <a:off x="428436" y="4651605"/>
              <a:ext cx="4386601"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7" name="Rectangle: Rounded Corners 36">
              <a:extLst>
                <a:ext uri="{FF2B5EF4-FFF2-40B4-BE49-F238E27FC236}">
                  <a16:creationId xmlns:a16="http://schemas.microsoft.com/office/drawing/2014/main" id="{E5506EB0-83F9-49CB-A1BA-DE0BD904E95B}"/>
                </a:ext>
              </a:extLst>
            </p:cNvPr>
            <p:cNvSpPr/>
            <p:nvPr/>
          </p:nvSpPr>
          <p:spPr>
            <a:xfrm>
              <a:off x="413731" y="4651957"/>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Phầ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mềm</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dùng</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để</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tạo</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lập</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các</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CSDL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qua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hệ</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p>
          </p:txBody>
        </p:sp>
      </p:grpSp>
      <p:grpSp>
        <p:nvGrpSpPr>
          <p:cNvPr id="18" name="Group 17">
            <a:extLst>
              <a:ext uri="{FF2B5EF4-FFF2-40B4-BE49-F238E27FC236}">
                <a16:creationId xmlns:a16="http://schemas.microsoft.com/office/drawing/2014/main" id="{3B4C7E7A-5F81-463B-9FDA-5F8A47FCDC1D}"/>
              </a:ext>
            </a:extLst>
          </p:cNvPr>
          <p:cNvGrpSpPr/>
          <p:nvPr/>
        </p:nvGrpSpPr>
        <p:grpSpPr>
          <a:xfrm>
            <a:off x="5532723" y="1848782"/>
            <a:ext cx="3312244" cy="1397954"/>
            <a:chOff x="7376963" y="2465042"/>
            <a:chExt cx="4416325" cy="1863939"/>
          </a:xfrm>
        </p:grpSpPr>
        <p:sp>
          <p:nvSpPr>
            <p:cNvPr id="58" name="Freeform: Shape 57">
              <a:extLst>
                <a:ext uri="{FF2B5EF4-FFF2-40B4-BE49-F238E27FC236}">
                  <a16:creationId xmlns:a16="http://schemas.microsoft.com/office/drawing/2014/main" id="{F2A6F710-A8CF-4338-BF74-99DD36D700F5}"/>
                </a:ext>
              </a:extLst>
            </p:cNvPr>
            <p:cNvSpPr/>
            <p:nvPr/>
          </p:nvSpPr>
          <p:spPr>
            <a:xfrm>
              <a:off x="7376963" y="2465042"/>
              <a:ext cx="4396608"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8" name="Rectangle: Rounded Corners 37">
              <a:extLst>
                <a:ext uri="{FF2B5EF4-FFF2-40B4-BE49-F238E27FC236}">
                  <a16:creationId xmlns:a16="http://schemas.microsoft.com/office/drawing/2014/main" id="{556501E9-9FDB-43AC-A584-2F09815162C2}"/>
                </a:ext>
              </a:extLst>
            </p:cNvPr>
            <p:cNvSpPr/>
            <p:nvPr/>
          </p:nvSpPr>
          <p:spPr>
            <a:xfrm>
              <a:off x="7757977" y="2474972"/>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Phầ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mềm</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dùng</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để</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tạo</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trang</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tính</a:t>
              </a:r>
              <a:endPar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endParaRPr>
            </a:p>
          </p:txBody>
        </p:sp>
      </p:grpSp>
      <p:grpSp>
        <p:nvGrpSpPr>
          <p:cNvPr id="19" name="Group 18">
            <a:extLst>
              <a:ext uri="{FF2B5EF4-FFF2-40B4-BE49-F238E27FC236}">
                <a16:creationId xmlns:a16="http://schemas.microsoft.com/office/drawing/2014/main" id="{F1EA9857-F9FD-46FE-98C0-E0E88372E3CE}"/>
              </a:ext>
            </a:extLst>
          </p:cNvPr>
          <p:cNvGrpSpPr/>
          <p:nvPr/>
        </p:nvGrpSpPr>
        <p:grpSpPr>
          <a:xfrm>
            <a:off x="5246439" y="3363173"/>
            <a:ext cx="3817921" cy="1704372"/>
            <a:chOff x="7386970" y="4651605"/>
            <a:chExt cx="4403728" cy="1863939"/>
          </a:xfrm>
        </p:grpSpPr>
        <p:sp>
          <p:nvSpPr>
            <p:cNvPr id="59" name="Freeform: Shape 58">
              <a:extLst>
                <a:ext uri="{FF2B5EF4-FFF2-40B4-BE49-F238E27FC236}">
                  <a16:creationId xmlns:a16="http://schemas.microsoft.com/office/drawing/2014/main" id="{D460C3EE-DC44-4D12-870D-2DE09B68AF9B}"/>
                </a:ext>
              </a:extLst>
            </p:cNvPr>
            <p:cNvSpPr/>
            <p:nvPr/>
          </p:nvSpPr>
          <p:spPr>
            <a:xfrm>
              <a:off x="7386970" y="4651605"/>
              <a:ext cx="4386601" cy="1863939"/>
            </a:xfrm>
            <a:custGeom>
              <a:avLst/>
              <a:gdLst>
                <a:gd name="connsiteX0" fmla="*/ 708935 w 4772605"/>
                <a:gd name="connsiteY0" fmla="*/ 0 h 1863939"/>
                <a:gd name="connsiteX1" fmla="*/ 4461942 w 4772605"/>
                <a:gd name="connsiteY1" fmla="*/ 0 h 1863939"/>
                <a:gd name="connsiteX2" fmla="*/ 4772605 w 4772605"/>
                <a:gd name="connsiteY2" fmla="*/ 310663 h 1863939"/>
                <a:gd name="connsiteX3" fmla="*/ 4772605 w 4772605"/>
                <a:gd name="connsiteY3" fmla="*/ 1553276 h 1863939"/>
                <a:gd name="connsiteX4" fmla="*/ 4461942 w 4772605"/>
                <a:gd name="connsiteY4" fmla="*/ 1863939 h 1863939"/>
                <a:gd name="connsiteX5" fmla="*/ 708935 w 4772605"/>
                <a:gd name="connsiteY5" fmla="*/ 1863939 h 1863939"/>
                <a:gd name="connsiteX6" fmla="*/ 398272 w 4772605"/>
                <a:gd name="connsiteY6" fmla="*/ 1553276 h 1863939"/>
                <a:gd name="connsiteX7" fmla="*/ 398272 w 4772605"/>
                <a:gd name="connsiteY7" fmla="*/ 622317 h 1863939"/>
                <a:gd name="connsiteX8" fmla="*/ 0 w 4772605"/>
                <a:gd name="connsiteY8" fmla="*/ 622317 h 1863939"/>
                <a:gd name="connsiteX9" fmla="*/ 398272 w 4772605"/>
                <a:gd name="connsiteY9" fmla="*/ 446165 h 1863939"/>
                <a:gd name="connsiteX10" fmla="*/ 398272 w 4772605"/>
                <a:gd name="connsiteY10" fmla="*/ 310663 h 1863939"/>
                <a:gd name="connsiteX11" fmla="*/ 708935 w 4772605"/>
                <a:gd name="connsiteY11" fmla="*/ 0 h 18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2605" h="1863939">
                  <a:moveTo>
                    <a:pt x="708935" y="0"/>
                  </a:moveTo>
                  <a:lnTo>
                    <a:pt x="4461942" y="0"/>
                  </a:lnTo>
                  <a:cubicBezTo>
                    <a:pt x="4633516" y="0"/>
                    <a:pt x="4772605" y="139089"/>
                    <a:pt x="4772605" y="310663"/>
                  </a:cubicBezTo>
                  <a:lnTo>
                    <a:pt x="4772605" y="1553276"/>
                  </a:lnTo>
                  <a:cubicBezTo>
                    <a:pt x="4772605" y="1724850"/>
                    <a:pt x="4633516" y="1863939"/>
                    <a:pt x="4461942" y="1863939"/>
                  </a:cubicBezTo>
                  <a:lnTo>
                    <a:pt x="708935" y="1863939"/>
                  </a:lnTo>
                  <a:cubicBezTo>
                    <a:pt x="537361" y="1863939"/>
                    <a:pt x="398272" y="1724850"/>
                    <a:pt x="398272" y="1553276"/>
                  </a:cubicBezTo>
                  <a:lnTo>
                    <a:pt x="398272" y="622317"/>
                  </a:lnTo>
                  <a:lnTo>
                    <a:pt x="0" y="622317"/>
                  </a:lnTo>
                  <a:lnTo>
                    <a:pt x="398272" y="446165"/>
                  </a:lnTo>
                  <a:lnTo>
                    <a:pt x="398272" y="310663"/>
                  </a:lnTo>
                  <a:cubicBezTo>
                    <a:pt x="398272" y="139089"/>
                    <a:pt x="537361" y="0"/>
                    <a:pt x="708935" y="0"/>
                  </a:cubicBezTo>
                  <a:close/>
                </a:path>
              </a:pathLst>
            </a:custGeom>
            <a:solidFill>
              <a:schemeClr val="bg1"/>
            </a:solidFill>
            <a:ln w="28575">
              <a:solidFill>
                <a:srgbClr val="9C504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50"/>
            </a:p>
          </p:txBody>
        </p:sp>
        <p:sp>
          <p:nvSpPr>
            <p:cNvPr id="39" name="Rectangle: Rounded Corners 38">
              <a:extLst>
                <a:ext uri="{FF2B5EF4-FFF2-40B4-BE49-F238E27FC236}">
                  <a16:creationId xmlns:a16="http://schemas.microsoft.com/office/drawing/2014/main" id="{007442A2-F9C5-43FF-810D-EFCA0A5691BC}"/>
                </a:ext>
              </a:extLst>
            </p:cNvPr>
            <p:cNvSpPr/>
            <p:nvPr/>
          </p:nvSpPr>
          <p:spPr>
            <a:xfrm>
              <a:off x="7755387" y="4651791"/>
              <a:ext cx="4035311" cy="184410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Phần</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a:solidFill>
                    <a:srgbClr val="9C5043"/>
                  </a:solidFill>
                  <a:latin typeface="iCiel Cadena" panose="02000503000000020004" pitchFamily="50" charset="0"/>
                  <a:ea typeface="Tahoma" panose="020B0604030504040204" pitchFamily="34" charset="0"/>
                  <a:cs typeface="Tahoma" panose="020B0604030504040204" pitchFamily="34" charset="0"/>
                </a:rPr>
                <a:t>mềm</a:t>
              </a:r>
              <a:r>
                <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dung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để</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xử</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lí</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dữ</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liệu</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trong</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a:t>
              </a:r>
              <a:r>
                <a:rPr lang="en-US" sz="2800" dirty="0" err="1" smtClean="0">
                  <a:solidFill>
                    <a:srgbClr val="9C5043"/>
                  </a:solidFill>
                  <a:latin typeface="iCiel Cadena" panose="02000503000000020004" pitchFamily="50" charset="0"/>
                  <a:ea typeface="Tahoma" panose="020B0604030504040204" pitchFamily="34" charset="0"/>
                  <a:cs typeface="Tahoma" panose="020B0604030504040204" pitchFamily="34" charset="0"/>
                </a:rPr>
                <a:t>các</a:t>
              </a:r>
              <a:r>
                <a:rPr lang="en-US" sz="2800" dirty="0" smtClean="0">
                  <a:solidFill>
                    <a:srgbClr val="9C5043"/>
                  </a:solidFill>
                  <a:latin typeface="iCiel Cadena" panose="02000503000000020004" pitchFamily="50" charset="0"/>
                  <a:ea typeface="Tahoma" panose="020B0604030504040204" pitchFamily="34" charset="0"/>
                  <a:cs typeface="Tahoma" panose="020B0604030504040204" pitchFamily="34" charset="0"/>
                </a:rPr>
                <a:t> CSDL.</a:t>
              </a:r>
              <a:endParaRPr lang="en-US" sz="2800" dirty="0">
                <a:solidFill>
                  <a:srgbClr val="9C5043"/>
                </a:solidFill>
                <a:latin typeface="iCiel Cadena" panose="02000503000000020004" pitchFamily="50" charset="0"/>
                <a:ea typeface="Tahoma" panose="020B0604030504040204" pitchFamily="34" charset="0"/>
                <a:cs typeface="Tahoma" panose="020B0604030504040204" pitchFamily="34" charset="0"/>
              </a:endParaRPr>
            </a:p>
          </p:txBody>
        </p:sp>
      </p:grpSp>
      <p:grpSp>
        <p:nvGrpSpPr>
          <p:cNvPr id="31" name="Group 30">
            <a:extLst>
              <a:ext uri="{FF2B5EF4-FFF2-40B4-BE49-F238E27FC236}">
                <a16:creationId xmlns:a16="http://schemas.microsoft.com/office/drawing/2014/main" id="{7FE0546E-6488-491E-8AA1-277B5CEB2FD6}"/>
              </a:ext>
            </a:extLst>
          </p:cNvPr>
          <p:cNvGrpSpPr/>
          <p:nvPr/>
        </p:nvGrpSpPr>
        <p:grpSpPr>
          <a:xfrm>
            <a:off x="116364" y="119285"/>
            <a:ext cx="8345605" cy="1507050"/>
            <a:chOff x="150128" y="102542"/>
            <a:chExt cx="11127473" cy="2009400"/>
          </a:xfrm>
        </p:grpSpPr>
        <p:grpSp>
          <p:nvGrpSpPr>
            <p:cNvPr id="10" name="Group 9">
              <a:extLst>
                <a:ext uri="{FF2B5EF4-FFF2-40B4-BE49-F238E27FC236}">
                  <a16:creationId xmlns:a16="http://schemas.microsoft.com/office/drawing/2014/main" id="{F8E54022-CBBB-4124-B256-472085A25CC7}"/>
                </a:ext>
              </a:extLst>
            </p:cNvPr>
            <p:cNvGrpSpPr/>
            <p:nvPr/>
          </p:nvGrpSpPr>
          <p:grpSpPr>
            <a:xfrm>
              <a:off x="1107065" y="248000"/>
              <a:ext cx="10170536" cy="1863939"/>
              <a:chOff x="1107064" y="247999"/>
              <a:chExt cx="10404597" cy="1863939"/>
            </a:xfrm>
          </p:grpSpPr>
          <p:pic>
            <p:nvPicPr>
              <p:cNvPr id="3" name="Picture 2">
                <a:extLst>
                  <a:ext uri="{FF2B5EF4-FFF2-40B4-BE49-F238E27FC236}">
                    <a16:creationId xmlns:a16="http://schemas.microsoft.com/office/drawing/2014/main" id="{CBD9B5C9-CA06-4115-934D-476E7C9299B8}"/>
                  </a:ext>
                </a:extLst>
              </p:cNvPr>
              <p:cNvPicPr>
                <a:picLocks noChangeAspect="1"/>
              </p:cNvPicPr>
              <p:nvPr/>
            </p:nvPicPr>
            <p:blipFill>
              <a:blip r:embed="rId16"/>
              <a:stretch>
                <a:fillRect/>
              </a:stretch>
            </p:blipFill>
            <p:spPr>
              <a:xfrm>
                <a:off x="1107064" y="247999"/>
                <a:ext cx="10404597" cy="1863939"/>
              </a:xfrm>
              <a:prstGeom prst="rect">
                <a:avLst/>
              </a:prstGeom>
            </p:spPr>
          </p:pic>
          <p:sp>
            <p:nvSpPr>
              <p:cNvPr id="5" name="Rectangle 4">
                <a:extLst>
                  <a:ext uri="{FF2B5EF4-FFF2-40B4-BE49-F238E27FC236}">
                    <a16:creationId xmlns:a16="http://schemas.microsoft.com/office/drawing/2014/main" id="{68CCCB1E-5D6D-4B1D-94ED-906BCD4A2D0C}"/>
                  </a:ext>
                </a:extLst>
              </p:cNvPr>
              <p:cNvSpPr/>
              <p:nvPr/>
            </p:nvSpPr>
            <p:spPr>
              <a:xfrm>
                <a:off x="1527388" y="359923"/>
                <a:ext cx="9698331" cy="1620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dirty="0" err="1">
                    <a:latin typeface="iCiel Cadena" panose="02000503000000020004" pitchFamily="50" charset="0"/>
                    <a:ea typeface="Tahoma" panose="020B0604030504040204" pitchFamily="34" charset="0"/>
                    <a:cs typeface="Tahoma" panose="020B0604030504040204" pitchFamily="34" charset="0"/>
                  </a:rPr>
                  <a:t>Phát</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biểu</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nào</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về</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hệ</a:t>
                </a:r>
                <a:r>
                  <a:rPr lang="en-US" sz="3000" dirty="0">
                    <a:latin typeface="iCiel Cadena" panose="02000503000000020004" pitchFamily="50" charset="0"/>
                    <a:ea typeface="Tahoma" panose="020B0604030504040204" pitchFamily="34" charset="0"/>
                    <a:cs typeface="Tahoma" panose="020B0604030504040204" pitchFamily="34" charset="0"/>
                  </a:rPr>
                  <a:t> QTCSDL </a:t>
                </a:r>
                <a:r>
                  <a:rPr lang="en-US" sz="3000" dirty="0" err="1">
                    <a:latin typeface="iCiel Cadena" panose="02000503000000020004" pitchFamily="50" charset="0"/>
                    <a:ea typeface="Tahoma" panose="020B0604030504040204" pitchFamily="34" charset="0"/>
                    <a:cs typeface="Tahoma" panose="020B0604030504040204" pitchFamily="34" charset="0"/>
                  </a:rPr>
                  <a:t>quan</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hệ</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là</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a:latin typeface="iCiel Cadena" panose="02000503000000020004" pitchFamily="50" charset="0"/>
                    <a:ea typeface="Tahoma" panose="020B0604030504040204" pitchFamily="34" charset="0"/>
                    <a:cs typeface="Tahoma" panose="020B0604030504040204" pitchFamily="34" charset="0"/>
                  </a:rPr>
                  <a:t>đúng</a:t>
                </a:r>
                <a:r>
                  <a:rPr lang="en-US" sz="3000" dirty="0">
                    <a:latin typeface="iCiel Cadena" panose="02000503000000020004" pitchFamily="50" charset="0"/>
                    <a:ea typeface="Tahoma" panose="020B0604030504040204" pitchFamily="34" charset="0"/>
                    <a:cs typeface="Tahoma" panose="020B0604030504040204" pitchFamily="34" charset="0"/>
                  </a:rPr>
                  <a:t> </a:t>
                </a:r>
                <a:r>
                  <a:rPr lang="en-US" sz="3000" dirty="0" err="1" smtClean="0">
                    <a:latin typeface="iCiel Cadena" panose="02000503000000020004" pitchFamily="50" charset="0"/>
                    <a:ea typeface="Tahoma" panose="020B0604030504040204" pitchFamily="34" charset="0"/>
                    <a:cs typeface="Tahoma" panose="020B0604030504040204" pitchFamily="34" charset="0"/>
                  </a:rPr>
                  <a:t>nhất</a:t>
                </a:r>
                <a:r>
                  <a:rPr lang="en-US" sz="3000" dirty="0" smtClean="0">
                    <a:latin typeface="iCiel Cadena" panose="02000503000000020004" pitchFamily="50" charset="0"/>
                    <a:ea typeface="Tahoma" panose="020B0604030504040204" pitchFamily="34" charset="0"/>
                    <a:cs typeface="Tahoma" panose="020B0604030504040204" pitchFamily="34" charset="0"/>
                  </a:rPr>
                  <a:t> ?</a:t>
                </a:r>
                <a:endParaRPr lang="en-US" sz="3000" dirty="0">
                  <a:latin typeface="iCiel Cadena" panose="02000503000000020004" pitchFamily="50" charset="0"/>
                  <a:ea typeface="Tahoma" panose="020B0604030504040204" pitchFamily="34" charset="0"/>
                  <a:cs typeface="Tahoma" panose="020B0604030504040204" pitchFamily="34" charset="0"/>
                </a:endParaRPr>
              </a:p>
            </p:txBody>
          </p:sp>
        </p:grpSp>
        <p:pic>
          <p:nvPicPr>
            <p:cNvPr id="9" name="Picture 8">
              <a:extLst>
                <a:ext uri="{FF2B5EF4-FFF2-40B4-BE49-F238E27FC236}">
                  <a16:creationId xmlns:a16="http://schemas.microsoft.com/office/drawing/2014/main" id="{BA90CF18-B31B-4FFE-AF8E-D970FEA1326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rot="16200000">
              <a:off x="-165942" y="418612"/>
              <a:ext cx="2009400" cy="1377259"/>
            </a:xfrm>
            <a:prstGeom prst="rect">
              <a:avLst/>
            </a:prstGeom>
          </p:spPr>
        </p:pic>
        <p:sp>
          <p:nvSpPr>
            <p:cNvPr id="29" name="TextBox 28">
              <a:extLst>
                <a:ext uri="{FF2B5EF4-FFF2-40B4-BE49-F238E27FC236}">
                  <a16:creationId xmlns:a16="http://schemas.microsoft.com/office/drawing/2014/main" id="{784446D1-0083-4268-9941-8C7553FD46F9}"/>
                </a:ext>
              </a:extLst>
            </p:cNvPr>
            <p:cNvSpPr txBox="1"/>
            <p:nvPr/>
          </p:nvSpPr>
          <p:spPr>
            <a:xfrm>
              <a:off x="506731" y="702825"/>
              <a:ext cx="909211" cy="769441"/>
            </a:xfrm>
            <a:prstGeom prst="rect">
              <a:avLst/>
            </a:prstGeom>
            <a:noFill/>
          </p:spPr>
          <p:txBody>
            <a:bodyPr wrap="square" rtlCol="0" anchor="ctr">
              <a:spAutoFit/>
            </a:bodyPr>
            <a:lstStyle/>
            <a:p>
              <a:pPr algn="ctr"/>
              <a:r>
                <a:rPr lang="en-US" sz="3150" dirty="0">
                  <a:solidFill>
                    <a:schemeClr val="bg1"/>
                  </a:solidFill>
                  <a:latin typeface="iCiel Cadena" panose="02000503000000020004" pitchFamily="50" charset="0"/>
                </a:rPr>
                <a:t>04</a:t>
              </a:r>
            </a:p>
          </p:txBody>
        </p:sp>
      </p:grpSp>
      <p:pic>
        <p:nvPicPr>
          <p:cNvPr id="68" name="Picture 67">
            <a:extLst>
              <a:ext uri="{FF2B5EF4-FFF2-40B4-BE49-F238E27FC236}">
                <a16:creationId xmlns:a16="http://schemas.microsoft.com/office/drawing/2014/main" id="{F8ECF37D-87DA-4037-9AD8-19A7885886B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235441" y="317603"/>
            <a:ext cx="996114" cy="996114"/>
          </a:xfrm>
          <a:prstGeom prst="rect">
            <a:avLst/>
          </a:prstGeom>
        </p:spPr>
      </p:pic>
      <p:pic>
        <p:nvPicPr>
          <p:cNvPr id="14" name="Picture 13">
            <a:extLst>
              <a:ext uri="{FF2B5EF4-FFF2-40B4-BE49-F238E27FC236}">
                <a16:creationId xmlns:a16="http://schemas.microsoft.com/office/drawing/2014/main" id="{ECFDE3CD-C082-47B5-9D9B-98E503415D3F}"/>
              </a:ext>
            </a:extLst>
          </p:cNvPr>
          <p:cNvPicPr>
            <a:picLocks noChangeAspect="1"/>
          </p:cNvPicPr>
          <p:nvPr/>
        </p:nvPicPr>
        <p:blipFill>
          <a:blip r:embed="rId19"/>
          <a:stretch>
            <a:fillRect/>
          </a:stretch>
        </p:blipFill>
        <p:spPr>
          <a:xfrm>
            <a:off x="-1245083" y="317603"/>
            <a:ext cx="996782" cy="996782"/>
          </a:xfrm>
          <a:prstGeom prst="rect">
            <a:avLst/>
          </a:prstGeom>
        </p:spPr>
      </p:pic>
      <p:pic>
        <p:nvPicPr>
          <p:cNvPr id="7" name="AmthanhThua">
            <a:hlinkClick r:id="" action="ppaction://media"/>
            <a:extLst>
              <a:ext uri="{FF2B5EF4-FFF2-40B4-BE49-F238E27FC236}">
                <a16:creationId xmlns:a16="http://schemas.microsoft.com/office/drawing/2014/main" id="{6A298B67-43A1-4AC9-AFD5-E52AFF7EC3B7}"/>
              </a:ext>
            </a:extLst>
          </p:cNvPr>
          <p:cNvPicPr>
            <a:picLocks noChangeAspect="1"/>
          </p:cNvPicPr>
          <p:nvPr>
            <a:audioFile r:link="rId2"/>
            <p:extLst>
              <p:ext uri="{DAA4B4D4-6D71-4841-9C94-3DE7FCFB9230}">
                <p14:media xmlns:p14="http://schemas.microsoft.com/office/powerpoint/2010/main" r:embed="rId1"/>
              </p:ext>
            </p:extLst>
          </p:nvPr>
        </p:nvPicPr>
        <p:blipFill>
          <a:blip r:embed="rId20"/>
          <a:stretch>
            <a:fillRect/>
          </a:stretch>
        </p:blipFill>
        <p:spPr>
          <a:xfrm>
            <a:off x="-930966" y="1928458"/>
            <a:ext cx="365522" cy="365522"/>
          </a:xfrm>
          <a:prstGeom prst="rect">
            <a:avLst/>
          </a:prstGeom>
        </p:spPr>
      </p:pic>
      <p:pic>
        <p:nvPicPr>
          <p:cNvPr id="22" name="nhacthang">
            <a:hlinkClick r:id="" action="ppaction://media"/>
            <a:extLst>
              <a:ext uri="{FF2B5EF4-FFF2-40B4-BE49-F238E27FC236}">
                <a16:creationId xmlns:a16="http://schemas.microsoft.com/office/drawing/2014/main" id="{7F4D256B-EBEA-4BF4-94EE-9E076C8DB254}"/>
              </a:ext>
            </a:extLst>
          </p:cNvPr>
          <p:cNvPicPr>
            <a:picLocks noChangeAspect="1"/>
          </p:cNvPicPr>
          <p:nvPr>
            <a:audioFile r:link="rId4"/>
            <p:extLst>
              <p:ext uri="{DAA4B4D4-6D71-4841-9C94-3DE7FCFB9230}">
                <p14:media xmlns:p14="http://schemas.microsoft.com/office/powerpoint/2010/main" r:embed="rId3"/>
              </p:ext>
            </p:extLst>
          </p:nvPr>
        </p:nvPicPr>
        <p:blipFill>
          <a:blip r:embed="rId20"/>
          <a:stretch>
            <a:fillRect/>
          </a:stretch>
        </p:blipFill>
        <p:spPr>
          <a:xfrm>
            <a:off x="-915823" y="2631598"/>
            <a:ext cx="365522" cy="365522"/>
          </a:xfrm>
          <a:prstGeom prst="rect">
            <a:avLst/>
          </a:prstGeom>
        </p:spPr>
      </p:pic>
      <p:pic>
        <p:nvPicPr>
          <p:cNvPr id="42" name="Picture 41">
            <a:hlinkClick r:id="" action="ppaction://hlinkshowjump?jump=previousslide"/>
            <a:extLst>
              <a:ext uri="{FF2B5EF4-FFF2-40B4-BE49-F238E27FC236}">
                <a16:creationId xmlns:a16="http://schemas.microsoft.com/office/drawing/2014/main" id="{0E8DCBA0-CD2C-4626-B047-BE44D67F2AF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542511" y="973746"/>
            <a:ext cx="470917" cy="470917"/>
          </a:xfrm>
          <a:prstGeom prst="rect">
            <a:avLst/>
          </a:prstGeom>
        </p:spPr>
      </p:pic>
      <p:pic>
        <p:nvPicPr>
          <p:cNvPr id="44" name="Picture 43">
            <a:hlinkClick r:id="" action="ppaction://hlinkshowjump?jump=nextslide"/>
            <a:extLst>
              <a:ext uri="{FF2B5EF4-FFF2-40B4-BE49-F238E27FC236}">
                <a16:creationId xmlns:a16="http://schemas.microsoft.com/office/drawing/2014/main" id="{5870274D-E5B8-40AA-88BC-9DF8C900FF8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flipH="1">
            <a:off x="8542511" y="370416"/>
            <a:ext cx="470917" cy="470917"/>
          </a:xfrm>
          <a:prstGeom prst="rect">
            <a:avLst/>
          </a:prstGeom>
        </p:spPr>
      </p:pic>
    </p:spTree>
    <p:extLst>
      <p:ext uri="{BB962C8B-B14F-4D97-AF65-F5344CB8AC3E}">
        <p14:creationId xmlns:p14="http://schemas.microsoft.com/office/powerpoint/2010/main" val="1615994083"/>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par>
                          <p:cTn id="13" fill="hold">
                            <p:stCondLst>
                              <p:cond delay="1000"/>
                            </p:stCondLst>
                            <p:childTnLst>
                              <p:par>
                                <p:cTn id="14" presetID="53" presetClass="entr" presetSubtype="528" fill="hold" nodeType="after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p:cTn id="16" dur="500" fill="hold"/>
                                        <p:tgtEl>
                                          <p:spTgt spid="20"/>
                                        </p:tgtEl>
                                        <p:attrNameLst>
                                          <p:attrName>ppt_w</p:attrName>
                                        </p:attrNameLst>
                                      </p:cBhvr>
                                      <p:tavLst>
                                        <p:tav tm="0">
                                          <p:val>
                                            <p:fltVal val="0"/>
                                          </p:val>
                                        </p:tav>
                                        <p:tav tm="100000">
                                          <p:val>
                                            <p:strVal val="#ppt_w"/>
                                          </p:val>
                                        </p:tav>
                                      </p:tavLst>
                                    </p:anim>
                                    <p:anim calcmode="lin" valueType="num">
                                      <p:cBhvr>
                                        <p:cTn id="17" dur="500" fill="hold"/>
                                        <p:tgtEl>
                                          <p:spTgt spid="20"/>
                                        </p:tgtEl>
                                        <p:attrNameLst>
                                          <p:attrName>ppt_h</p:attrName>
                                        </p:attrNameLst>
                                      </p:cBhvr>
                                      <p:tavLst>
                                        <p:tav tm="0">
                                          <p:val>
                                            <p:fltVal val="0"/>
                                          </p:val>
                                        </p:tav>
                                        <p:tav tm="100000">
                                          <p:val>
                                            <p:strVal val="#ppt_h"/>
                                          </p:val>
                                        </p:tav>
                                      </p:tavLst>
                                    </p:anim>
                                    <p:animEffect transition="in" filter="fade">
                                      <p:cBhvr>
                                        <p:cTn id="18" dur="500"/>
                                        <p:tgtEl>
                                          <p:spTgt spid="20"/>
                                        </p:tgtEl>
                                      </p:cBhvr>
                                    </p:animEffect>
                                    <p:anim calcmode="lin" valueType="num">
                                      <p:cBhvr>
                                        <p:cTn id="19" dur="500" fill="hold"/>
                                        <p:tgtEl>
                                          <p:spTgt spid="20"/>
                                        </p:tgtEl>
                                        <p:attrNameLst>
                                          <p:attrName>ppt_x</p:attrName>
                                        </p:attrNameLst>
                                      </p:cBhvr>
                                      <p:tavLst>
                                        <p:tav tm="0">
                                          <p:val>
                                            <p:fltVal val="0.5"/>
                                          </p:val>
                                        </p:tav>
                                        <p:tav tm="100000">
                                          <p:val>
                                            <p:strVal val="#ppt_x"/>
                                          </p:val>
                                        </p:tav>
                                      </p:tavLst>
                                    </p:anim>
                                    <p:anim calcmode="lin" valueType="num">
                                      <p:cBhvr>
                                        <p:cTn id="20" dur="500" fill="hold"/>
                                        <p:tgtEl>
                                          <p:spTgt spid="20"/>
                                        </p:tgtEl>
                                        <p:attrNameLst>
                                          <p:attrName>ppt_y</p:attrName>
                                        </p:attrNameLst>
                                      </p:cBhvr>
                                      <p:tavLst>
                                        <p:tav tm="0">
                                          <p:val>
                                            <p:fltVal val="0.5"/>
                                          </p:val>
                                        </p:tav>
                                        <p:tav tm="100000">
                                          <p:val>
                                            <p:strVal val="#ppt_y"/>
                                          </p:val>
                                        </p:tav>
                                      </p:tavLst>
                                    </p:anim>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childTnLst>
                          </p:cTn>
                        </p:par>
                        <p:par>
                          <p:cTn id="25" fill="hold">
                            <p:stCondLst>
                              <p:cond delay="2000"/>
                            </p:stCondLst>
                            <p:childTnLst>
                              <p:par>
                                <p:cTn id="26" presetID="53" presetClass="entr" presetSubtype="528" fill="hold" nodeType="afterEffect">
                                  <p:stCondLst>
                                    <p:cond delay="0"/>
                                  </p:stCondLst>
                                  <p:childTnLst>
                                    <p:set>
                                      <p:cBhvr>
                                        <p:cTn id="27" dur="1" fill="hold">
                                          <p:stCondLst>
                                            <p:cond delay="0"/>
                                          </p:stCondLst>
                                        </p:cTn>
                                        <p:tgtEl>
                                          <p:spTgt spid="15"/>
                                        </p:tgtEl>
                                        <p:attrNameLst>
                                          <p:attrName>style.visibility</p:attrName>
                                        </p:attrNameLst>
                                      </p:cBhvr>
                                      <p:to>
                                        <p:strVal val="visible"/>
                                      </p:to>
                                    </p:set>
                                    <p:anim calcmode="lin" valueType="num">
                                      <p:cBhvr>
                                        <p:cTn id="28" dur="500" fill="hold"/>
                                        <p:tgtEl>
                                          <p:spTgt spid="15"/>
                                        </p:tgtEl>
                                        <p:attrNameLst>
                                          <p:attrName>ppt_w</p:attrName>
                                        </p:attrNameLst>
                                      </p:cBhvr>
                                      <p:tavLst>
                                        <p:tav tm="0">
                                          <p:val>
                                            <p:fltVal val="0"/>
                                          </p:val>
                                        </p:tav>
                                        <p:tav tm="100000">
                                          <p:val>
                                            <p:strVal val="#ppt_w"/>
                                          </p:val>
                                        </p:tav>
                                      </p:tavLst>
                                    </p:anim>
                                    <p:anim calcmode="lin" valueType="num">
                                      <p:cBhvr>
                                        <p:cTn id="29" dur="500" fill="hold"/>
                                        <p:tgtEl>
                                          <p:spTgt spid="15"/>
                                        </p:tgtEl>
                                        <p:attrNameLst>
                                          <p:attrName>ppt_h</p:attrName>
                                        </p:attrNameLst>
                                      </p:cBhvr>
                                      <p:tavLst>
                                        <p:tav tm="0">
                                          <p:val>
                                            <p:fltVal val="0"/>
                                          </p:val>
                                        </p:tav>
                                        <p:tav tm="100000">
                                          <p:val>
                                            <p:strVal val="#ppt_h"/>
                                          </p:val>
                                        </p:tav>
                                      </p:tavLst>
                                    </p:anim>
                                    <p:animEffect transition="in" filter="fade">
                                      <p:cBhvr>
                                        <p:cTn id="30" dur="500"/>
                                        <p:tgtEl>
                                          <p:spTgt spid="15"/>
                                        </p:tgtEl>
                                      </p:cBhvr>
                                    </p:animEffect>
                                    <p:anim calcmode="lin" valueType="num">
                                      <p:cBhvr>
                                        <p:cTn id="31" dur="500" fill="hold"/>
                                        <p:tgtEl>
                                          <p:spTgt spid="15"/>
                                        </p:tgtEl>
                                        <p:attrNameLst>
                                          <p:attrName>ppt_x</p:attrName>
                                        </p:attrNameLst>
                                      </p:cBhvr>
                                      <p:tavLst>
                                        <p:tav tm="0">
                                          <p:val>
                                            <p:fltVal val="0.5"/>
                                          </p:val>
                                        </p:tav>
                                        <p:tav tm="100000">
                                          <p:val>
                                            <p:strVal val="#ppt_x"/>
                                          </p:val>
                                        </p:tav>
                                      </p:tavLst>
                                    </p:anim>
                                    <p:anim calcmode="lin" valueType="num">
                                      <p:cBhvr>
                                        <p:cTn id="32" dur="500" fill="hold"/>
                                        <p:tgtEl>
                                          <p:spTgt spid="15"/>
                                        </p:tgtEl>
                                        <p:attrNameLst>
                                          <p:attrName>ppt_y</p:attrName>
                                        </p:attrNameLst>
                                      </p:cBhvr>
                                      <p:tavLst>
                                        <p:tav tm="0">
                                          <p:val>
                                            <p:fltVal val="0.5"/>
                                          </p:val>
                                        </p:tav>
                                        <p:tav tm="100000">
                                          <p:val>
                                            <p:strVal val="#ppt_y"/>
                                          </p:val>
                                        </p:tav>
                                      </p:tavLst>
                                    </p:anim>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par>
                          <p:cTn id="37" fill="hold">
                            <p:stCondLst>
                              <p:cond delay="3000"/>
                            </p:stCondLst>
                            <p:childTnLst>
                              <p:par>
                                <p:cTn id="38" presetID="53" presetClass="entr" presetSubtype="528" fill="hold" nodeType="afterEffect">
                                  <p:stCondLst>
                                    <p:cond delay="0"/>
                                  </p:stCondLst>
                                  <p:childTnLst>
                                    <p:set>
                                      <p:cBhvr>
                                        <p:cTn id="39" dur="1" fill="hold">
                                          <p:stCondLst>
                                            <p:cond delay="0"/>
                                          </p:stCondLst>
                                        </p:cTn>
                                        <p:tgtEl>
                                          <p:spTgt spid="2"/>
                                        </p:tgtEl>
                                        <p:attrNameLst>
                                          <p:attrName>style.visibility</p:attrName>
                                        </p:attrNameLst>
                                      </p:cBhvr>
                                      <p:to>
                                        <p:strVal val="visible"/>
                                      </p:to>
                                    </p:set>
                                    <p:anim calcmode="lin" valueType="num">
                                      <p:cBhvr>
                                        <p:cTn id="40" dur="500" fill="hold"/>
                                        <p:tgtEl>
                                          <p:spTgt spid="2"/>
                                        </p:tgtEl>
                                        <p:attrNameLst>
                                          <p:attrName>ppt_w</p:attrName>
                                        </p:attrNameLst>
                                      </p:cBhvr>
                                      <p:tavLst>
                                        <p:tav tm="0">
                                          <p:val>
                                            <p:fltVal val="0"/>
                                          </p:val>
                                        </p:tav>
                                        <p:tav tm="100000">
                                          <p:val>
                                            <p:strVal val="#ppt_w"/>
                                          </p:val>
                                        </p:tav>
                                      </p:tavLst>
                                    </p:anim>
                                    <p:anim calcmode="lin" valueType="num">
                                      <p:cBhvr>
                                        <p:cTn id="41" dur="500" fill="hold"/>
                                        <p:tgtEl>
                                          <p:spTgt spid="2"/>
                                        </p:tgtEl>
                                        <p:attrNameLst>
                                          <p:attrName>ppt_h</p:attrName>
                                        </p:attrNameLst>
                                      </p:cBhvr>
                                      <p:tavLst>
                                        <p:tav tm="0">
                                          <p:val>
                                            <p:fltVal val="0"/>
                                          </p:val>
                                        </p:tav>
                                        <p:tav tm="100000">
                                          <p:val>
                                            <p:strVal val="#ppt_h"/>
                                          </p:val>
                                        </p:tav>
                                      </p:tavLst>
                                    </p:anim>
                                    <p:animEffect transition="in" filter="fade">
                                      <p:cBhvr>
                                        <p:cTn id="42" dur="500"/>
                                        <p:tgtEl>
                                          <p:spTgt spid="2"/>
                                        </p:tgtEl>
                                      </p:cBhvr>
                                    </p:animEffect>
                                    <p:anim calcmode="lin" valueType="num">
                                      <p:cBhvr>
                                        <p:cTn id="43" dur="500" fill="hold"/>
                                        <p:tgtEl>
                                          <p:spTgt spid="2"/>
                                        </p:tgtEl>
                                        <p:attrNameLst>
                                          <p:attrName>ppt_x</p:attrName>
                                        </p:attrNameLst>
                                      </p:cBhvr>
                                      <p:tavLst>
                                        <p:tav tm="0">
                                          <p:val>
                                            <p:fltVal val="0.5"/>
                                          </p:val>
                                        </p:tav>
                                        <p:tav tm="100000">
                                          <p:val>
                                            <p:strVal val="#ppt_x"/>
                                          </p:val>
                                        </p:tav>
                                      </p:tavLst>
                                    </p:anim>
                                    <p:anim calcmode="lin" valueType="num">
                                      <p:cBhvr>
                                        <p:cTn id="44" dur="500" fill="hold"/>
                                        <p:tgtEl>
                                          <p:spTgt spid="2"/>
                                        </p:tgtEl>
                                        <p:attrNameLst>
                                          <p:attrName>ppt_y</p:attrName>
                                        </p:attrNameLst>
                                      </p:cBhvr>
                                      <p:tavLst>
                                        <p:tav tm="0">
                                          <p:val>
                                            <p:fltVal val="0.5"/>
                                          </p:val>
                                        </p:tav>
                                        <p:tav tm="100000">
                                          <p:val>
                                            <p:strVal val="#ppt_y"/>
                                          </p:val>
                                        </p:tav>
                                      </p:tavLst>
                                    </p:anim>
                                  </p:childTnLst>
                                </p:cTn>
                              </p:par>
                            </p:childTnLst>
                          </p:cTn>
                        </p:par>
                        <p:par>
                          <p:cTn id="45" fill="hold">
                            <p:stCondLst>
                              <p:cond delay="3500"/>
                            </p:stCondLst>
                            <p:childTnLst>
                              <p:par>
                                <p:cTn id="46" presetID="10" presetClass="entr" presetSubtype="0" fill="hold" nodeType="after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childTnLst>
                          </p:cTn>
                        </p:par>
                        <p:par>
                          <p:cTn id="49" fill="hold">
                            <p:stCondLst>
                              <p:cond delay="4000"/>
                            </p:stCondLst>
                            <p:childTnLst>
                              <p:par>
                                <p:cTn id="50" presetID="53" presetClass="entr" presetSubtype="528" fill="hold" nodeType="afterEffect">
                                  <p:stCondLst>
                                    <p:cond delay="0"/>
                                  </p:stCondLst>
                                  <p:childTnLst>
                                    <p:set>
                                      <p:cBhvr>
                                        <p:cTn id="51" dur="1" fill="hold">
                                          <p:stCondLst>
                                            <p:cond delay="0"/>
                                          </p:stCondLst>
                                        </p:cTn>
                                        <p:tgtEl>
                                          <p:spTgt spid="21"/>
                                        </p:tgtEl>
                                        <p:attrNameLst>
                                          <p:attrName>style.visibility</p:attrName>
                                        </p:attrNameLst>
                                      </p:cBhvr>
                                      <p:to>
                                        <p:strVal val="visible"/>
                                      </p:to>
                                    </p:set>
                                    <p:anim calcmode="lin" valueType="num">
                                      <p:cBhvr>
                                        <p:cTn id="52" dur="500" fill="hold"/>
                                        <p:tgtEl>
                                          <p:spTgt spid="21"/>
                                        </p:tgtEl>
                                        <p:attrNameLst>
                                          <p:attrName>ppt_w</p:attrName>
                                        </p:attrNameLst>
                                      </p:cBhvr>
                                      <p:tavLst>
                                        <p:tav tm="0">
                                          <p:val>
                                            <p:fltVal val="0"/>
                                          </p:val>
                                        </p:tav>
                                        <p:tav tm="100000">
                                          <p:val>
                                            <p:strVal val="#ppt_w"/>
                                          </p:val>
                                        </p:tav>
                                      </p:tavLst>
                                    </p:anim>
                                    <p:anim calcmode="lin" valueType="num">
                                      <p:cBhvr>
                                        <p:cTn id="53" dur="500" fill="hold"/>
                                        <p:tgtEl>
                                          <p:spTgt spid="21"/>
                                        </p:tgtEl>
                                        <p:attrNameLst>
                                          <p:attrName>ppt_h</p:attrName>
                                        </p:attrNameLst>
                                      </p:cBhvr>
                                      <p:tavLst>
                                        <p:tav tm="0">
                                          <p:val>
                                            <p:fltVal val="0"/>
                                          </p:val>
                                        </p:tav>
                                        <p:tav tm="100000">
                                          <p:val>
                                            <p:strVal val="#ppt_h"/>
                                          </p:val>
                                        </p:tav>
                                      </p:tavLst>
                                    </p:anim>
                                    <p:animEffect transition="in" filter="fade">
                                      <p:cBhvr>
                                        <p:cTn id="54" dur="500"/>
                                        <p:tgtEl>
                                          <p:spTgt spid="21"/>
                                        </p:tgtEl>
                                      </p:cBhvr>
                                    </p:animEffect>
                                    <p:anim calcmode="lin" valueType="num">
                                      <p:cBhvr>
                                        <p:cTn id="55" dur="500" fill="hold"/>
                                        <p:tgtEl>
                                          <p:spTgt spid="21"/>
                                        </p:tgtEl>
                                        <p:attrNameLst>
                                          <p:attrName>ppt_x</p:attrName>
                                        </p:attrNameLst>
                                      </p:cBhvr>
                                      <p:tavLst>
                                        <p:tav tm="0">
                                          <p:val>
                                            <p:fltVal val="0.5"/>
                                          </p:val>
                                        </p:tav>
                                        <p:tav tm="100000">
                                          <p:val>
                                            <p:strVal val="#ppt_x"/>
                                          </p:val>
                                        </p:tav>
                                      </p:tavLst>
                                    </p:anim>
                                    <p:anim calcmode="lin" valueType="num">
                                      <p:cBhvr>
                                        <p:cTn id="56" dur="500" fill="hold"/>
                                        <p:tgtEl>
                                          <p:spTgt spid="21"/>
                                        </p:tgtEl>
                                        <p:attrNameLst>
                                          <p:attrName>ppt_y</p:attrName>
                                        </p:attrNameLst>
                                      </p:cBhvr>
                                      <p:tavLst>
                                        <p:tav tm="0">
                                          <p:val>
                                            <p:fltVal val="0.5"/>
                                          </p:val>
                                        </p:tav>
                                        <p:tav tm="100000">
                                          <p:val>
                                            <p:strVal val="#ppt_y"/>
                                          </p:val>
                                        </p:tav>
                                      </p:tavLst>
                                    </p:anim>
                                  </p:childTnLst>
                                </p:cTn>
                              </p:par>
                            </p:childTnLst>
                          </p:cTn>
                        </p:par>
                        <p:par>
                          <p:cTn id="57" fill="hold">
                            <p:stCondLst>
                              <p:cond delay="4500"/>
                            </p:stCondLst>
                            <p:childTnLst>
                              <p:par>
                                <p:cTn id="58" presetID="10" presetClass="entr" presetSubtype="0" fill="hold" nodeType="after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61" restart="whenNotActive" fill="hold" evtFilter="cancelBubble" nodeType="interactiveSeq">
                <p:stCondLst>
                  <p:cond evt="onClick" delay="0">
                    <p:tgtEl>
                      <p:spTgt spid="2"/>
                    </p:tgtEl>
                  </p:cond>
                </p:stCondLst>
                <p:endSync evt="end" delay="0">
                  <p:rtn val="all"/>
                </p:endSync>
                <p:childTnLst>
                  <p:par>
                    <p:cTn id="62" fill="hold">
                      <p:stCondLst>
                        <p:cond delay="0"/>
                      </p:stCondLst>
                      <p:childTnLst>
                        <p:par>
                          <p:cTn id="63" fill="hold">
                            <p:stCondLst>
                              <p:cond delay="0"/>
                            </p:stCondLst>
                            <p:childTnLst>
                              <p:par>
                                <p:cTn id="64" presetID="26" presetClass="emph" presetSubtype="0" fill="hold" nodeType="clickEffect">
                                  <p:stCondLst>
                                    <p:cond delay="0"/>
                                  </p:stCondLst>
                                  <p:childTnLst>
                                    <p:animEffect transition="out" filter="fade">
                                      <p:cBhvr>
                                        <p:cTn id="65" dur="500" tmFilter="0, 0; .2, .5; .8, .5; 1, 0"/>
                                        <p:tgtEl>
                                          <p:spTgt spid="2"/>
                                        </p:tgtEl>
                                      </p:cBhvr>
                                    </p:animEffect>
                                    <p:animScale>
                                      <p:cBhvr>
                                        <p:cTn id="66" dur="250" autoRev="1" fill="hold"/>
                                        <p:tgtEl>
                                          <p:spTgt spid="2"/>
                                        </p:tgtEl>
                                      </p:cBhvr>
                                      <p:by x="105000" y="105000"/>
                                    </p:animScale>
                                  </p:childTnLst>
                                  <p:subTnLst>
                                    <p:audio>
                                      <p:cMediaNode>
                                        <p:cTn display="0" masterRel="sameClick">
                                          <p:stCondLst>
                                            <p:cond evt="begin" delay="0">
                                              <p:tn val="64"/>
                                            </p:cond>
                                          </p:stCondLst>
                                          <p:endCondLst>
                                            <p:cond evt="onStopAudio" delay="0">
                                              <p:tgtEl>
                                                <p:sldTgt/>
                                              </p:tgtEl>
                                            </p:cond>
                                          </p:endCondLst>
                                        </p:cTn>
                                        <p:tgtEl>
                                          <p:sndTgt r:embed="rId7" name="click.wav"/>
                                        </p:tgtEl>
                                      </p:cMediaNode>
                                    </p:audio>
                                  </p:subTnLst>
                                </p:cTn>
                              </p:par>
                            </p:childTnLst>
                          </p:cTn>
                        </p:par>
                        <p:par>
                          <p:cTn id="67" fill="hold">
                            <p:stCondLst>
                              <p:cond delay="500"/>
                            </p:stCondLst>
                            <p:childTnLst>
                              <p:par>
                                <p:cTn id="68" presetID="1" presetClass="mediacall" presetSubtype="0" fill="hold" nodeType="afterEffect">
                                  <p:stCondLst>
                                    <p:cond delay="0"/>
                                  </p:stCondLst>
                                  <p:childTnLst>
                                    <p:cmd type="call" cmd="playFrom(0.0)">
                                      <p:cBhvr>
                                        <p:cTn id="69" dur="3432" fill="hold"/>
                                        <p:tgtEl>
                                          <p:spTgt spid="22"/>
                                        </p:tgtEl>
                                      </p:cBhvr>
                                    </p:cmd>
                                  </p:childTnLst>
                                </p:cTn>
                              </p:par>
                              <p:par>
                                <p:cTn id="70" presetID="1" presetClass="entr" presetSubtype="0" fill="hold" nodeType="withEffect">
                                  <p:stCondLst>
                                    <p:cond delay="0"/>
                                  </p:stCondLst>
                                  <p:childTnLst>
                                    <p:set>
                                      <p:cBhvr>
                                        <p:cTn id="71" dur="1" fill="hold">
                                          <p:stCondLst>
                                            <p:cond delay="0"/>
                                          </p:stCondLst>
                                        </p:cTn>
                                        <p:tgtEl>
                                          <p:spTgt spid="33"/>
                                        </p:tgtEl>
                                        <p:attrNameLst>
                                          <p:attrName>style.visibility</p:attrName>
                                        </p:attrNameLst>
                                      </p:cBhvr>
                                      <p:to>
                                        <p:strVal val="visible"/>
                                      </p:to>
                                    </p:set>
                                  </p:childTnLst>
                                </p:cTn>
                              </p:par>
                              <p:par>
                                <p:cTn id="72" presetID="63" presetClass="path" presetSubtype="0" accel="50000" decel="50000" fill="hold" nodeType="withEffect">
                                  <p:stCondLst>
                                    <p:cond delay="0"/>
                                  </p:stCondLst>
                                  <p:childTnLst>
                                    <p:animMotion origin="layout" path="M -1.04167E-6 -4.81481E-6 L 0.1599 -4.81481E-6 " pathEditMode="relative" rAng="0" ptsTypes="AA">
                                      <p:cBhvr>
                                        <p:cTn id="73" dur="500" fill="hold"/>
                                        <p:tgtEl>
                                          <p:spTgt spid="68"/>
                                        </p:tgtEl>
                                        <p:attrNameLst>
                                          <p:attrName>ppt_x</p:attrName>
                                          <p:attrName>ppt_y</p:attrName>
                                        </p:attrNameLst>
                                      </p:cBhvr>
                                      <p:rCtr x="7995" y="0"/>
                                    </p:animMotion>
                                  </p:childTnLst>
                                </p:cTn>
                              </p:par>
                              <p:par>
                                <p:cTn id="74" presetID="10" presetClass="exit" presetSubtype="0" fill="hold" nodeType="withEffect">
                                  <p:stCondLst>
                                    <p:cond delay="0"/>
                                  </p:stCondLst>
                                  <p:childTnLst>
                                    <p:animEffect transition="out" filter="fade">
                                      <p:cBhvr>
                                        <p:cTn id="75" dur="500"/>
                                        <p:tgtEl>
                                          <p:spTgt spid="31"/>
                                        </p:tgtEl>
                                      </p:cBhvr>
                                    </p:animEffect>
                                    <p:set>
                                      <p:cBhvr>
                                        <p:cTn id="76" dur="1" fill="hold">
                                          <p:stCondLst>
                                            <p:cond delay="499"/>
                                          </p:stCondLst>
                                        </p:cTn>
                                        <p:tgtEl>
                                          <p:spTgt spid="31"/>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12"/>
                                        </p:tgtEl>
                                      </p:cBhvr>
                                    </p:animEffect>
                                    <p:set>
                                      <p:cBhvr>
                                        <p:cTn id="79" dur="1" fill="hold">
                                          <p:stCondLst>
                                            <p:cond delay="499"/>
                                          </p:stCondLst>
                                        </p:cTn>
                                        <p:tgtEl>
                                          <p:spTgt spid="1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2"/>
                                        </p:tgtEl>
                                      </p:cBhvr>
                                    </p:animEffect>
                                    <p:set>
                                      <p:cBhvr>
                                        <p:cTn id="82" dur="1" fill="hold">
                                          <p:stCondLst>
                                            <p:cond delay="499"/>
                                          </p:stCondLst>
                                        </p:cTn>
                                        <p:tgtEl>
                                          <p:spTgt spid="2"/>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16"/>
                                        </p:tgtEl>
                                      </p:cBhvr>
                                    </p:animEffect>
                                    <p:set>
                                      <p:cBhvr>
                                        <p:cTn id="85" dur="1" fill="hold">
                                          <p:stCondLst>
                                            <p:cond delay="499"/>
                                          </p:stCondLst>
                                        </p:cTn>
                                        <p:tgtEl>
                                          <p:spTgt spid="16"/>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15"/>
                                        </p:tgtEl>
                                      </p:cBhvr>
                                    </p:animEffect>
                                    <p:set>
                                      <p:cBhvr>
                                        <p:cTn id="88" dur="1" fill="hold">
                                          <p:stCondLst>
                                            <p:cond delay="499"/>
                                          </p:stCondLst>
                                        </p:cTn>
                                        <p:tgtEl>
                                          <p:spTgt spid="15"/>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18"/>
                                        </p:tgtEl>
                                      </p:cBhvr>
                                    </p:animEffect>
                                    <p:set>
                                      <p:cBhvr>
                                        <p:cTn id="91" dur="1" fill="hold">
                                          <p:stCondLst>
                                            <p:cond delay="499"/>
                                          </p:stCondLst>
                                        </p:cTn>
                                        <p:tgtEl>
                                          <p:spTgt spid="18"/>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20"/>
                                        </p:tgtEl>
                                      </p:cBhvr>
                                    </p:animEffect>
                                    <p:set>
                                      <p:cBhvr>
                                        <p:cTn id="94" dur="1" fill="hold">
                                          <p:stCondLst>
                                            <p:cond delay="499"/>
                                          </p:stCondLst>
                                        </p:cTn>
                                        <p:tgtEl>
                                          <p:spTgt spid="20"/>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500"/>
                                        <p:tgtEl>
                                          <p:spTgt spid="17"/>
                                        </p:tgtEl>
                                      </p:cBhvr>
                                    </p:animEffect>
                                    <p:set>
                                      <p:cBhvr>
                                        <p:cTn id="97" dur="1" fill="hold">
                                          <p:stCondLst>
                                            <p:cond delay="499"/>
                                          </p:stCondLst>
                                        </p:cTn>
                                        <p:tgtEl>
                                          <p:spTgt spid="17"/>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21"/>
                                        </p:tgtEl>
                                      </p:cBhvr>
                                    </p:animEffect>
                                    <p:set>
                                      <p:cBhvr>
                                        <p:cTn id="100" dur="1" fill="hold">
                                          <p:stCondLst>
                                            <p:cond delay="499"/>
                                          </p:stCondLst>
                                        </p:cTn>
                                        <p:tgtEl>
                                          <p:spTgt spid="21"/>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19"/>
                                        </p:tgtEl>
                                      </p:cBhvr>
                                    </p:animEffect>
                                    <p:set>
                                      <p:cBhvr>
                                        <p:cTn id="103" dur="1" fill="hold">
                                          <p:stCondLst>
                                            <p:cond delay="499"/>
                                          </p:stCondLst>
                                        </p:cTn>
                                        <p:tgtEl>
                                          <p:spTgt spid="19"/>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500"/>
                                        <p:tgtEl>
                                          <p:spTgt spid="4"/>
                                        </p:tgtEl>
                                      </p:cBhvr>
                                    </p:animEffect>
                                    <p:set>
                                      <p:cBhvr>
                                        <p:cTn id="106" dur="1" fill="hold">
                                          <p:stCondLst>
                                            <p:cond delay="499"/>
                                          </p:stCondLst>
                                        </p:cTn>
                                        <p:tgtEl>
                                          <p:spTgt spid="4"/>
                                        </p:tgtEl>
                                        <p:attrNameLst>
                                          <p:attrName>style.visibility</p:attrName>
                                        </p:attrNameLst>
                                      </p:cBhvr>
                                      <p:to>
                                        <p:strVal val="hidden"/>
                                      </p:to>
                                    </p:set>
                                  </p:childTnLst>
                                </p:cTn>
                              </p:par>
                              <p:par>
                                <p:cTn id="107" presetID="10" presetClass="exit" presetSubtype="0" fill="hold" nodeType="withEffect">
                                  <p:stCondLst>
                                    <p:cond delay="0"/>
                                  </p:stCondLst>
                                  <p:childTnLst>
                                    <p:animEffect transition="out" filter="fade">
                                      <p:cBhvr>
                                        <p:cTn id="108" dur="500"/>
                                        <p:tgtEl>
                                          <p:spTgt spid="6"/>
                                        </p:tgtEl>
                                      </p:cBhvr>
                                    </p:animEffect>
                                    <p:set>
                                      <p:cBhvr>
                                        <p:cTn id="109"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
                  </p:tgtEl>
                </p:cond>
              </p:nextCondLst>
            </p:seq>
            <p:seq concurrent="1" nextAc="seek">
              <p:cTn id="110" restart="whenNotActive" fill="hold" evtFilter="cancelBubble" nodeType="interactiveSeq">
                <p:stCondLst>
                  <p:cond evt="onClick" delay="0">
                    <p:tgtEl>
                      <p:spTgt spid="68"/>
                    </p:tgtEl>
                  </p:cond>
                </p:stCondLst>
                <p:endSync evt="end" delay="0">
                  <p:rtn val="all"/>
                </p:endSync>
                <p:childTnLst>
                  <p:par>
                    <p:cTn id="111" fill="hold">
                      <p:stCondLst>
                        <p:cond delay="0"/>
                      </p:stCondLst>
                      <p:childTnLst>
                        <p:par>
                          <p:cTn id="112" fill="hold">
                            <p:stCondLst>
                              <p:cond delay="0"/>
                            </p:stCondLst>
                            <p:childTnLst>
                              <p:par>
                                <p:cTn id="113" presetID="26" presetClass="emph" presetSubtype="0" fill="hold" nodeType="clickEffect">
                                  <p:stCondLst>
                                    <p:cond delay="0"/>
                                  </p:stCondLst>
                                  <p:childTnLst>
                                    <p:animEffect transition="out" filter="fade">
                                      <p:cBhvr>
                                        <p:cTn id="114" dur="500" tmFilter="0, 0; .2, .5; .8, .5; 1, 0"/>
                                        <p:tgtEl>
                                          <p:spTgt spid="68"/>
                                        </p:tgtEl>
                                      </p:cBhvr>
                                    </p:animEffect>
                                    <p:animScale>
                                      <p:cBhvr>
                                        <p:cTn id="115" dur="250" autoRev="1" fill="hold"/>
                                        <p:tgtEl>
                                          <p:spTgt spid="68"/>
                                        </p:tgtEl>
                                      </p:cBhvr>
                                      <p:by x="105000" y="105000"/>
                                    </p:animScale>
                                  </p:childTnLst>
                                  <p:subTnLst>
                                    <p:audio>
                                      <p:cMediaNode>
                                        <p:cTn display="0" masterRel="sameClick">
                                          <p:stCondLst>
                                            <p:cond evt="begin" delay="0">
                                              <p:tn val="113"/>
                                            </p:cond>
                                          </p:stCondLst>
                                          <p:endCondLst>
                                            <p:cond evt="onStopAudio" delay="0">
                                              <p:tgtEl>
                                                <p:sldTgt/>
                                              </p:tgtEl>
                                            </p:cond>
                                          </p:endCondLst>
                                        </p:cTn>
                                        <p:tgtEl>
                                          <p:sndTgt r:embed="rId7" name="click.wav"/>
                                        </p:tgtEl>
                                      </p:cMediaNode>
                                    </p:audio>
                                  </p:subTnLst>
                                </p:cTn>
                              </p:par>
                            </p:childTnLst>
                          </p:cTn>
                        </p:par>
                        <p:par>
                          <p:cTn id="116" fill="hold">
                            <p:stCondLst>
                              <p:cond delay="500"/>
                            </p:stCondLst>
                            <p:childTnLst>
                              <p:par>
                                <p:cTn id="117" presetID="10" presetClass="exit" presetSubtype="0" fill="hold" nodeType="afterEffect">
                                  <p:stCondLst>
                                    <p:cond delay="0"/>
                                  </p:stCondLst>
                                  <p:childTnLst>
                                    <p:animEffect transition="out" filter="fade">
                                      <p:cBhvr>
                                        <p:cTn id="118" dur="500"/>
                                        <p:tgtEl>
                                          <p:spTgt spid="33"/>
                                        </p:tgtEl>
                                      </p:cBhvr>
                                    </p:animEffect>
                                    <p:set>
                                      <p:cBhvr>
                                        <p:cTn id="119" dur="1" fill="hold">
                                          <p:stCondLst>
                                            <p:cond delay="499"/>
                                          </p:stCondLst>
                                        </p:cTn>
                                        <p:tgtEl>
                                          <p:spTgt spid="33"/>
                                        </p:tgtEl>
                                        <p:attrNameLst>
                                          <p:attrName>style.visibility</p:attrName>
                                        </p:attrNameLst>
                                      </p:cBhvr>
                                      <p:to>
                                        <p:strVal val="hidden"/>
                                      </p:to>
                                    </p:set>
                                  </p:childTnLst>
                                </p:cTn>
                              </p:par>
                              <p:par>
                                <p:cTn id="120" presetID="35" presetClass="path" presetSubtype="0" accel="50000" decel="50000" fill="hold" nodeType="withEffect">
                                  <p:stCondLst>
                                    <p:cond delay="0"/>
                                  </p:stCondLst>
                                  <p:childTnLst>
                                    <p:animMotion origin="layout" path="M 0.1599 -4.81481E-6 L -1.04167E-6 -4.81481E-6 " pathEditMode="relative" rAng="0" ptsTypes="AA">
                                      <p:cBhvr>
                                        <p:cTn id="121" dur="500" fill="hold"/>
                                        <p:tgtEl>
                                          <p:spTgt spid="68"/>
                                        </p:tgtEl>
                                        <p:attrNameLst>
                                          <p:attrName>ppt_x</p:attrName>
                                          <p:attrName>ppt_y</p:attrName>
                                        </p:attrNameLst>
                                      </p:cBhvr>
                                      <p:rCtr x="-7995" y="0"/>
                                    </p:animMotion>
                                  </p:childTnLst>
                                </p:cTn>
                              </p:par>
                              <p:par>
                                <p:cTn id="122" presetID="10" presetClass="entr" presetSubtype="0" fill="hold" nodeType="withEffect">
                                  <p:stCondLst>
                                    <p:cond delay="0"/>
                                  </p:stCondLst>
                                  <p:childTnLst>
                                    <p:set>
                                      <p:cBhvr>
                                        <p:cTn id="123" dur="1" fill="hold">
                                          <p:stCondLst>
                                            <p:cond delay="0"/>
                                          </p:stCondLst>
                                        </p:cTn>
                                        <p:tgtEl>
                                          <p:spTgt spid="31"/>
                                        </p:tgtEl>
                                        <p:attrNameLst>
                                          <p:attrName>style.visibility</p:attrName>
                                        </p:attrNameLst>
                                      </p:cBhvr>
                                      <p:to>
                                        <p:strVal val="visible"/>
                                      </p:to>
                                    </p:set>
                                    <p:animEffect transition="in" filter="fade">
                                      <p:cBhvr>
                                        <p:cTn id="124" dur="500"/>
                                        <p:tgtEl>
                                          <p:spTgt spid="31"/>
                                        </p:tgtEl>
                                      </p:cBhvr>
                                    </p:animEffect>
                                  </p:childTnLst>
                                </p:cTn>
                              </p:par>
                              <p:par>
                                <p:cTn id="125" presetID="10" presetClass="entr" presetSubtype="0" fill="hold" nodeType="withEffect">
                                  <p:stCondLst>
                                    <p:cond delay="0"/>
                                  </p:stCondLst>
                                  <p:childTnLst>
                                    <p:set>
                                      <p:cBhvr>
                                        <p:cTn id="126" dur="1" fill="hold">
                                          <p:stCondLst>
                                            <p:cond delay="0"/>
                                          </p:stCondLst>
                                        </p:cTn>
                                        <p:tgtEl>
                                          <p:spTgt spid="12"/>
                                        </p:tgtEl>
                                        <p:attrNameLst>
                                          <p:attrName>style.visibility</p:attrName>
                                        </p:attrNameLst>
                                      </p:cBhvr>
                                      <p:to>
                                        <p:strVal val="visible"/>
                                      </p:to>
                                    </p:set>
                                    <p:animEffect transition="in" filter="fade">
                                      <p:cBhvr>
                                        <p:cTn id="127" dur="500"/>
                                        <p:tgtEl>
                                          <p:spTgt spid="12"/>
                                        </p:tgtEl>
                                      </p:cBhvr>
                                    </p:animEffect>
                                  </p:childTnLst>
                                </p:cTn>
                              </p:par>
                              <p:par>
                                <p:cTn id="128" presetID="10" presetClass="entr" presetSubtype="0" fill="hold" nodeType="withEffect">
                                  <p:stCondLst>
                                    <p:cond delay="0"/>
                                  </p:stCondLst>
                                  <p:childTnLst>
                                    <p:set>
                                      <p:cBhvr>
                                        <p:cTn id="129" dur="1" fill="hold">
                                          <p:stCondLst>
                                            <p:cond delay="0"/>
                                          </p:stCondLst>
                                        </p:cTn>
                                        <p:tgtEl>
                                          <p:spTgt spid="2"/>
                                        </p:tgtEl>
                                        <p:attrNameLst>
                                          <p:attrName>style.visibility</p:attrName>
                                        </p:attrNameLst>
                                      </p:cBhvr>
                                      <p:to>
                                        <p:strVal val="visible"/>
                                      </p:to>
                                    </p:set>
                                    <p:animEffect transition="in" filter="fade">
                                      <p:cBhvr>
                                        <p:cTn id="130" dur="500"/>
                                        <p:tgtEl>
                                          <p:spTgt spid="2"/>
                                        </p:tgtEl>
                                      </p:cBhvr>
                                    </p:animEffect>
                                  </p:childTnLst>
                                </p:cTn>
                              </p:par>
                              <p:par>
                                <p:cTn id="131" presetID="10" presetClass="entr" presetSubtype="0" fill="hold" nodeType="withEffect">
                                  <p:stCondLst>
                                    <p:cond delay="0"/>
                                  </p:stCondLst>
                                  <p:childTnLst>
                                    <p:set>
                                      <p:cBhvr>
                                        <p:cTn id="132" dur="1" fill="hold">
                                          <p:stCondLst>
                                            <p:cond delay="0"/>
                                          </p:stCondLst>
                                        </p:cTn>
                                        <p:tgtEl>
                                          <p:spTgt spid="16"/>
                                        </p:tgtEl>
                                        <p:attrNameLst>
                                          <p:attrName>style.visibility</p:attrName>
                                        </p:attrNameLst>
                                      </p:cBhvr>
                                      <p:to>
                                        <p:strVal val="visible"/>
                                      </p:to>
                                    </p:set>
                                    <p:animEffect transition="in" filter="fade">
                                      <p:cBhvr>
                                        <p:cTn id="133" dur="500"/>
                                        <p:tgtEl>
                                          <p:spTgt spid="16"/>
                                        </p:tgtEl>
                                      </p:cBhvr>
                                    </p:animEffect>
                                  </p:childTnLst>
                                </p:cTn>
                              </p:par>
                              <p:par>
                                <p:cTn id="134" presetID="10" presetClass="entr" presetSubtype="0" fill="hold" nodeType="withEffect">
                                  <p:stCondLst>
                                    <p:cond delay="0"/>
                                  </p:stCondLst>
                                  <p:childTnLst>
                                    <p:set>
                                      <p:cBhvr>
                                        <p:cTn id="135" dur="1" fill="hold">
                                          <p:stCondLst>
                                            <p:cond delay="0"/>
                                          </p:stCondLst>
                                        </p:cTn>
                                        <p:tgtEl>
                                          <p:spTgt spid="4"/>
                                        </p:tgtEl>
                                        <p:attrNameLst>
                                          <p:attrName>style.visibility</p:attrName>
                                        </p:attrNameLst>
                                      </p:cBhvr>
                                      <p:to>
                                        <p:strVal val="visible"/>
                                      </p:to>
                                    </p:set>
                                    <p:animEffect transition="in" filter="fade">
                                      <p:cBhvr>
                                        <p:cTn id="136" dur="500"/>
                                        <p:tgtEl>
                                          <p:spTgt spid="4"/>
                                        </p:tgtEl>
                                      </p:cBhvr>
                                    </p:animEffect>
                                  </p:childTnLst>
                                </p:cTn>
                              </p:par>
                              <p:par>
                                <p:cTn id="137" presetID="10" presetClass="entr" presetSubtype="0" fill="hold" nodeType="withEffect">
                                  <p:stCondLst>
                                    <p:cond delay="0"/>
                                  </p:stCondLst>
                                  <p:childTnLst>
                                    <p:set>
                                      <p:cBhvr>
                                        <p:cTn id="138" dur="1" fill="hold">
                                          <p:stCondLst>
                                            <p:cond delay="0"/>
                                          </p:stCondLst>
                                        </p:cTn>
                                        <p:tgtEl>
                                          <p:spTgt spid="6"/>
                                        </p:tgtEl>
                                        <p:attrNameLst>
                                          <p:attrName>style.visibility</p:attrName>
                                        </p:attrNameLst>
                                      </p:cBhvr>
                                      <p:to>
                                        <p:strVal val="visible"/>
                                      </p:to>
                                    </p:set>
                                    <p:animEffect transition="in" filter="fade">
                                      <p:cBhvr>
                                        <p:cTn id="139" dur="500"/>
                                        <p:tgtEl>
                                          <p:spTgt spid="6"/>
                                        </p:tgtEl>
                                      </p:cBhvr>
                                    </p:animEffect>
                                  </p:childTnLst>
                                </p:cTn>
                              </p:par>
                            </p:childTnLst>
                          </p:cTn>
                        </p:par>
                      </p:childTnLst>
                    </p:cTn>
                  </p:par>
                </p:childTnLst>
              </p:cTn>
              <p:nextCondLst>
                <p:cond evt="onClick" delay="0">
                  <p:tgtEl>
                    <p:spTgt spid="68"/>
                  </p:tgtEl>
                </p:cond>
              </p:nextCondLst>
            </p:seq>
            <p:seq concurrent="1" nextAc="seek">
              <p:cTn id="140" restart="whenNotActive" fill="hold" evtFilter="cancelBubble" nodeType="interactiveSeq">
                <p:stCondLst>
                  <p:cond evt="onClick" delay="0">
                    <p:tgtEl>
                      <p:spTgt spid="15"/>
                    </p:tgtEl>
                  </p:cond>
                </p:stCondLst>
                <p:endSync evt="end" delay="0">
                  <p:rtn val="all"/>
                </p:endSync>
                <p:childTnLst>
                  <p:par>
                    <p:cTn id="141" fill="hold">
                      <p:stCondLst>
                        <p:cond delay="0"/>
                      </p:stCondLst>
                      <p:childTnLst>
                        <p:par>
                          <p:cTn id="142" fill="hold">
                            <p:stCondLst>
                              <p:cond delay="0"/>
                            </p:stCondLst>
                            <p:childTnLst>
                              <p:par>
                                <p:cTn id="143" presetID="26" presetClass="emph" presetSubtype="0" fill="hold" nodeType="clickEffect">
                                  <p:stCondLst>
                                    <p:cond delay="0"/>
                                  </p:stCondLst>
                                  <p:childTnLst>
                                    <p:animEffect transition="out" filter="fade">
                                      <p:cBhvr>
                                        <p:cTn id="144" dur="500" tmFilter="0, 0; .2, .5; .8, .5; 1, 0"/>
                                        <p:tgtEl>
                                          <p:spTgt spid="15"/>
                                        </p:tgtEl>
                                      </p:cBhvr>
                                    </p:animEffect>
                                    <p:animScale>
                                      <p:cBhvr>
                                        <p:cTn id="145" dur="250" autoRev="1" fill="hold"/>
                                        <p:tgtEl>
                                          <p:spTgt spid="15"/>
                                        </p:tgtEl>
                                      </p:cBhvr>
                                      <p:by x="105000" y="105000"/>
                                    </p:animScale>
                                  </p:childTnLst>
                                  <p:subTnLst>
                                    <p:audio>
                                      <p:cMediaNode>
                                        <p:cTn display="0" masterRel="sameClick">
                                          <p:stCondLst>
                                            <p:cond evt="begin" delay="0">
                                              <p:tn val="143"/>
                                            </p:cond>
                                          </p:stCondLst>
                                          <p:endCondLst>
                                            <p:cond evt="onStopAudio" delay="0">
                                              <p:tgtEl>
                                                <p:sldTgt/>
                                              </p:tgtEl>
                                            </p:cond>
                                          </p:endCondLst>
                                        </p:cTn>
                                        <p:tgtEl>
                                          <p:sndTgt r:embed="rId7" name="click.wav"/>
                                        </p:tgtEl>
                                      </p:cMediaNode>
                                    </p:audio>
                                  </p:subTnLst>
                                </p:cTn>
                              </p:par>
                            </p:childTnLst>
                          </p:cTn>
                        </p:par>
                        <p:par>
                          <p:cTn id="146" fill="hold">
                            <p:stCondLst>
                              <p:cond delay="500"/>
                            </p:stCondLst>
                            <p:childTnLst>
                              <p:par>
                                <p:cTn id="147" presetID="1" presetClass="mediacall" presetSubtype="0" fill="hold" nodeType="afterEffect">
                                  <p:stCondLst>
                                    <p:cond delay="0"/>
                                  </p:stCondLst>
                                  <p:childTnLst>
                                    <p:cmd type="call" cmd="playFrom(0.0)">
                                      <p:cBhvr>
                                        <p:cTn id="148" dur="4995" fill="hold"/>
                                        <p:tgtEl>
                                          <p:spTgt spid="7"/>
                                        </p:tgtEl>
                                      </p:cBhvr>
                                    </p:cmd>
                                  </p:childTnLst>
                                </p:cTn>
                              </p:par>
                              <p:par>
                                <p:cTn id="149" presetID="1" presetClass="entr" presetSubtype="0" fill="hold" nodeType="withEffect">
                                  <p:stCondLst>
                                    <p:cond delay="0"/>
                                  </p:stCondLst>
                                  <p:childTnLst>
                                    <p:set>
                                      <p:cBhvr>
                                        <p:cTn id="150" dur="1" fill="hold">
                                          <p:stCondLst>
                                            <p:cond delay="0"/>
                                          </p:stCondLst>
                                        </p:cTn>
                                        <p:tgtEl>
                                          <p:spTgt spid="13"/>
                                        </p:tgtEl>
                                        <p:attrNameLst>
                                          <p:attrName>style.visibility</p:attrName>
                                        </p:attrNameLst>
                                      </p:cBhvr>
                                      <p:to>
                                        <p:strVal val="visible"/>
                                      </p:to>
                                    </p:set>
                                  </p:childTnLst>
                                </p:cTn>
                              </p:par>
                              <p:par>
                                <p:cTn id="151" presetID="63" presetClass="path" presetSubtype="0" accel="50000" decel="50000" fill="hold" nodeType="withEffect">
                                  <p:stCondLst>
                                    <p:cond delay="0"/>
                                  </p:stCondLst>
                                  <p:childTnLst>
                                    <p:animMotion origin="layout" path="M 6.25E-7 -4.81481E-6 L 0.1599 -4.81481E-6 " pathEditMode="relative" rAng="0" ptsTypes="AA">
                                      <p:cBhvr>
                                        <p:cTn id="152" dur="500" fill="hold"/>
                                        <p:tgtEl>
                                          <p:spTgt spid="14"/>
                                        </p:tgtEl>
                                        <p:attrNameLst>
                                          <p:attrName>ppt_x</p:attrName>
                                          <p:attrName>ppt_y</p:attrName>
                                        </p:attrNameLst>
                                      </p:cBhvr>
                                      <p:rCtr x="7995" y="0"/>
                                    </p:animMotion>
                                  </p:childTnLst>
                                </p:cTn>
                              </p:par>
                              <p:par>
                                <p:cTn id="153" presetID="10" presetClass="exit" presetSubtype="0" fill="hold" nodeType="withEffect">
                                  <p:stCondLst>
                                    <p:cond delay="0"/>
                                  </p:stCondLst>
                                  <p:childTnLst>
                                    <p:animEffect transition="out" filter="fade">
                                      <p:cBhvr>
                                        <p:cTn id="154" dur="500"/>
                                        <p:tgtEl>
                                          <p:spTgt spid="31"/>
                                        </p:tgtEl>
                                      </p:cBhvr>
                                    </p:animEffect>
                                    <p:set>
                                      <p:cBhvr>
                                        <p:cTn id="155" dur="1" fill="hold">
                                          <p:stCondLst>
                                            <p:cond delay="499"/>
                                          </p:stCondLst>
                                        </p:cTn>
                                        <p:tgtEl>
                                          <p:spTgt spid="31"/>
                                        </p:tgtEl>
                                        <p:attrNameLst>
                                          <p:attrName>style.visibility</p:attrName>
                                        </p:attrNameLst>
                                      </p:cBhvr>
                                      <p:to>
                                        <p:strVal val="hidden"/>
                                      </p:to>
                                    </p:set>
                                  </p:childTnLst>
                                </p:cTn>
                              </p:par>
                              <p:par>
                                <p:cTn id="156" presetID="10" presetClass="exit" presetSubtype="0" fill="hold" nodeType="withEffect">
                                  <p:stCondLst>
                                    <p:cond delay="0"/>
                                  </p:stCondLst>
                                  <p:childTnLst>
                                    <p:animEffect transition="out" filter="fade">
                                      <p:cBhvr>
                                        <p:cTn id="157" dur="500"/>
                                        <p:tgtEl>
                                          <p:spTgt spid="12"/>
                                        </p:tgtEl>
                                      </p:cBhvr>
                                    </p:animEffect>
                                    <p:set>
                                      <p:cBhvr>
                                        <p:cTn id="158" dur="1" fill="hold">
                                          <p:stCondLst>
                                            <p:cond delay="499"/>
                                          </p:stCondLst>
                                        </p:cTn>
                                        <p:tgtEl>
                                          <p:spTgt spid="12"/>
                                        </p:tgtEl>
                                        <p:attrNameLst>
                                          <p:attrName>style.visibility</p:attrName>
                                        </p:attrNameLst>
                                      </p:cBhvr>
                                      <p:to>
                                        <p:strVal val="hidden"/>
                                      </p:to>
                                    </p:set>
                                  </p:childTnLst>
                                </p:cTn>
                              </p:par>
                              <p:par>
                                <p:cTn id="159" presetID="10" presetClass="exit" presetSubtype="0" fill="hold" nodeType="withEffect">
                                  <p:stCondLst>
                                    <p:cond delay="0"/>
                                  </p:stCondLst>
                                  <p:childTnLst>
                                    <p:animEffect transition="out" filter="fade">
                                      <p:cBhvr>
                                        <p:cTn id="160" dur="500"/>
                                        <p:tgtEl>
                                          <p:spTgt spid="2"/>
                                        </p:tgtEl>
                                      </p:cBhvr>
                                    </p:animEffect>
                                    <p:set>
                                      <p:cBhvr>
                                        <p:cTn id="161" dur="1" fill="hold">
                                          <p:stCondLst>
                                            <p:cond delay="499"/>
                                          </p:stCondLst>
                                        </p:cTn>
                                        <p:tgtEl>
                                          <p:spTgt spid="2"/>
                                        </p:tgtEl>
                                        <p:attrNameLst>
                                          <p:attrName>style.visibility</p:attrName>
                                        </p:attrNameLst>
                                      </p:cBhvr>
                                      <p:to>
                                        <p:strVal val="hidden"/>
                                      </p:to>
                                    </p:set>
                                  </p:childTnLst>
                                </p:cTn>
                              </p:par>
                              <p:par>
                                <p:cTn id="162" presetID="10" presetClass="exit" presetSubtype="0" fill="hold" nodeType="withEffect">
                                  <p:stCondLst>
                                    <p:cond delay="0"/>
                                  </p:stCondLst>
                                  <p:childTnLst>
                                    <p:animEffect transition="out" filter="fade">
                                      <p:cBhvr>
                                        <p:cTn id="163" dur="500"/>
                                        <p:tgtEl>
                                          <p:spTgt spid="16"/>
                                        </p:tgtEl>
                                      </p:cBhvr>
                                    </p:animEffect>
                                    <p:set>
                                      <p:cBhvr>
                                        <p:cTn id="164" dur="1" fill="hold">
                                          <p:stCondLst>
                                            <p:cond delay="499"/>
                                          </p:stCondLst>
                                        </p:cTn>
                                        <p:tgtEl>
                                          <p:spTgt spid="16"/>
                                        </p:tgtEl>
                                        <p:attrNameLst>
                                          <p:attrName>style.visibility</p:attrName>
                                        </p:attrNameLst>
                                      </p:cBhvr>
                                      <p:to>
                                        <p:strVal val="hidden"/>
                                      </p:to>
                                    </p:set>
                                  </p:childTnLst>
                                </p:cTn>
                              </p:par>
                              <p:par>
                                <p:cTn id="165" presetID="10" presetClass="exit" presetSubtype="0" fill="hold" nodeType="withEffect">
                                  <p:stCondLst>
                                    <p:cond delay="0"/>
                                  </p:stCondLst>
                                  <p:childTnLst>
                                    <p:animEffect transition="out" filter="fade">
                                      <p:cBhvr>
                                        <p:cTn id="166" dur="500"/>
                                        <p:tgtEl>
                                          <p:spTgt spid="15"/>
                                        </p:tgtEl>
                                      </p:cBhvr>
                                    </p:animEffect>
                                    <p:set>
                                      <p:cBhvr>
                                        <p:cTn id="167" dur="1" fill="hold">
                                          <p:stCondLst>
                                            <p:cond delay="499"/>
                                          </p:stCondLst>
                                        </p:cTn>
                                        <p:tgtEl>
                                          <p:spTgt spid="15"/>
                                        </p:tgtEl>
                                        <p:attrNameLst>
                                          <p:attrName>style.visibility</p:attrName>
                                        </p:attrNameLst>
                                      </p:cBhvr>
                                      <p:to>
                                        <p:strVal val="hidden"/>
                                      </p:to>
                                    </p:set>
                                  </p:childTnLst>
                                </p:cTn>
                              </p:par>
                              <p:par>
                                <p:cTn id="168" presetID="10" presetClass="exit" presetSubtype="0" fill="hold" nodeType="withEffect">
                                  <p:stCondLst>
                                    <p:cond delay="0"/>
                                  </p:stCondLst>
                                  <p:childTnLst>
                                    <p:animEffect transition="out" filter="fade">
                                      <p:cBhvr>
                                        <p:cTn id="169" dur="500"/>
                                        <p:tgtEl>
                                          <p:spTgt spid="18"/>
                                        </p:tgtEl>
                                      </p:cBhvr>
                                    </p:animEffect>
                                    <p:set>
                                      <p:cBhvr>
                                        <p:cTn id="170" dur="1" fill="hold">
                                          <p:stCondLst>
                                            <p:cond delay="499"/>
                                          </p:stCondLst>
                                        </p:cTn>
                                        <p:tgtEl>
                                          <p:spTgt spid="18"/>
                                        </p:tgtEl>
                                        <p:attrNameLst>
                                          <p:attrName>style.visibility</p:attrName>
                                        </p:attrNameLst>
                                      </p:cBhvr>
                                      <p:to>
                                        <p:strVal val="hidden"/>
                                      </p:to>
                                    </p:set>
                                  </p:childTnLst>
                                </p:cTn>
                              </p:par>
                              <p:par>
                                <p:cTn id="171" presetID="10" presetClass="exit" presetSubtype="0" fill="hold" nodeType="withEffect">
                                  <p:stCondLst>
                                    <p:cond delay="0"/>
                                  </p:stCondLst>
                                  <p:childTnLst>
                                    <p:animEffect transition="out" filter="fade">
                                      <p:cBhvr>
                                        <p:cTn id="172" dur="500"/>
                                        <p:tgtEl>
                                          <p:spTgt spid="20"/>
                                        </p:tgtEl>
                                      </p:cBhvr>
                                    </p:animEffect>
                                    <p:set>
                                      <p:cBhvr>
                                        <p:cTn id="173" dur="1" fill="hold">
                                          <p:stCondLst>
                                            <p:cond delay="499"/>
                                          </p:stCondLst>
                                        </p:cTn>
                                        <p:tgtEl>
                                          <p:spTgt spid="20"/>
                                        </p:tgtEl>
                                        <p:attrNameLst>
                                          <p:attrName>style.visibility</p:attrName>
                                        </p:attrNameLst>
                                      </p:cBhvr>
                                      <p:to>
                                        <p:strVal val="hidden"/>
                                      </p:to>
                                    </p:set>
                                  </p:childTnLst>
                                </p:cTn>
                              </p:par>
                              <p:par>
                                <p:cTn id="174" presetID="10" presetClass="exit" presetSubtype="0" fill="hold" nodeType="withEffect">
                                  <p:stCondLst>
                                    <p:cond delay="0"/>
                                  </p:stCondLst>
                                  <p:childTnLst>
                                    <p:animEffect transition="out" filter="fade">
                                      <p:cBhvr>
                                        <p:cTn id="175" dur="500"/>
                                        <p:tgtEl>
                                          <p:spTgt spid="17"/>
                                        </p:tgtEl>
                                      </p:cBhvr>
                                    </p:animEffect>
                                    <p:set>
                                      <p:cBhvr>
                                        <p:cTn id="176" dur="1" fill="hold">
                                          <p:stCondLst>
                                            <p:cond delay="499"/>
                                          </p:stCondLst>
                                        </p:cTn>
                                        <p:tgtEl>
                                          <p:spTgt spid="17"/>
                                        </p:tgtEl>
                                        <p:attrNameLst>
                                          <p:attrName>style.visibility</p:attrName>
                                        </p:attrNameLst>
                                      </p:cBhvr>
                                      <p:to>
                                        <p:strVal val="hidden"/>
                                      </p:to>
                                    </p:set>
                                  </p:childTnLst>
                                </p:cTn>
                              </p:par>
                              <p:par>
                                <p:cTn id="177" presetID="10" presetClass="exit" presetSubtype="0" fill="hold" nodeType="withEffect">
                                  <p:stCondLst>
                                    <p:cond delay="0"/>
                                  </p:stCondLst>
                                  <p:childTnLst>
                                    <p:animEffect transition="out" filter="fade">
                                      <p:cBhvr>
                                        <p:cTn id="178" dur="500"/>
                                        <p:tgtEl>
                                          <p:spTgt spid="21"/>
                                        </p:tgtEl>
                                      </p:cBhvr>
                                    </p:animEffect>
                                    <p:set>
                                      <p:cBhvr>
                                        <p:cTn id="179" dur="1" fill="hold">
                                          <p:stCondLst>
                                            <p:cond delay="499"/>
                                          </p:stCondLst>
                                        </p:cTn>
                                        <p:tgtEl>
                                          <p:spTgt spid="21"/>
                                        </p:tgtEl>
                                        <p:attrNameLst>
                                          <p:attrName>style.visibility</p:attrName>
                                        </p:attrNameLst>
                                      </p:cBhvr>
                                      <p:to>
                                        <p:strVal val="hidden"/>
                                      </p:to>
                                    </p:set>
                                  </p:childTnLst>
                                </p:cTn>
                              </p:par>
                              <p:par>
                                <p:cTn id="180" presetID="10" presetClass="exit" presetSubtype="0" fill="hold" nodeType="withEffect">
                                  <p:stCondLst>
                                    <p:cond delay="0"/>
                                  </p:stCondLst>
                                  <p:childTnLst>
                                    <p:animEffect transition="out" filter="fade">
                                      <p:cBhvr>
                                        <p:cTn id="181" dur="500"/>
                                        <p:tgtEl>
                                          <p:spTgt spid="19"/>
                                        </p:tgtEl>
                                      </p:cBhvr>
                                    </p:animEffect>
                                    <p:set>
                                      <p:cBhvr>
                                        <p:cTn id="182" dur="1" fill="hold">
                                          <p:stCondLst>
                                            <p:cond delay="499"/>
                                          </p:stCondLst>
                                        </p:cTn>
                                        <p:tgtEl>
                                          <p:spTgt spid="19"/>
                                        </p:tgtEl>
                                        <p:attrNameLst>
                                          <p:attrName>style.visibility</p:attrName>
                                        </p:attrNameLst>
                                      </p:cBhvr>
                                      <p:to>
                                        <p:strVal val="hidden"/>
                                      </p:to>
                                    </p:set>
                                  </p:childTnLst>
                                </p:cTn>
                              </p:par>
                              <p:par>
                                <p:cTn id="183" presetID="10" presetClass="exit" presetSubtype="0" fill="hold" nodeType="withEffect">
                                  <p:stCondLst>
                                    <p:cond delay="0"/>
                                  </p:stCondLst>
                                  <p:childTnLst>
                                    <p:animEffect transition="out" filter="fade">
                                      <p:cBhvr>
                                        <p:cTn id="184" dur="500"/>
                                        <p:tgtEl>
                                          <p:spTgt spid="4"/>
                                        </p:tgtEl>
                                      </p:cBhvr>
                                    </p:animEffect>
                                    <p:set>
                                      <p:cBhvr>
                                        <p:cTn id="185" dur="1" fill="hold">
                                          <p:stCondLst>
                                            <p:cond delay="499"/>
                                          </p:stCondLst>
                                        </p:cTn>
                                        <p:tgtEl>
                                          <p:spTgt spid="4"/>
                                        </p:tgtEl>
                                        <p:attrNameLst>
                                          <p:attrName>style.visibility</p:attrName>
                                        </p:attrNameLst>
                                      </p:cBhvr>
                                      <p:to>
                                        <p:strVal val="hidden"/>
                                      </p:to>
                                    </p:set>
                                  </p:childTnLst>
                                </p:cTn>
                              </p:par>
                              <p:par>
                                <p:cTn id="186" presetID="10" presetClass="exit" presetSubtype="0" fill="hold" nodeType="withEffect">
                                  <p:stCondLst>
                                    <p:cond delay="0"/>
                                  </p:stCondLst>
                                  <p:childTnLst>
                                    <p:animEffect transition="out" filter="fade">
                                      <p:cBhvr>
                                        <p:cTn id="187" dur="500"/>
                                        <p:tgtEl>
                                          <p:spTgt spid="6"/>
                                        </p:tgtEl>
                                      </p:cBhvr>
                                    </p:animEffect>
                                    <p:set>
                                      <p:cBhvr>
                                        <p:cTn id="188"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15"/>
                  </p:tgtEl>
                </p:cond>
              </p:nextCondLst>
            </p:seq>
            <p:seq concurrent="1" nextAc="seek">
              <p:cTn id="189" restart="whenNotActive" fill="hold" evtFilter="cancelBubble" nodeType="interactiveSeq">
                <p:stCondLst>
                  <p:cond evt="onClick" delay="0">
                    <p:tgtEl>
                      <p:spTgt spid="14"/>
                    </p:tgtEl>
                  </p:cond>
                </p:stCondLst>
                <p:endSync evt="end" delay="0">
                  <p:rtn val="all"/>
                </p:endSync>
                <p:childTnLst>
                  <p:par>
                    <p:cTn id="190" fill="hold">
                      <p:stCondLst>
                        <p:cond delay="0"/>
                      </p:stCondLst>
                      <p:childTnLst>
                        <p:par>
                          <p:cTn id="191" fill="hold">
                            <p:stCondLst>
                              <p:cond delay="0"/>
                            </p:stCondLst>
                            <p:childTnLst>
                              <p:par>
                                <p:cTn id="192" presetID="26" presetClass="emph" presetSubtype="0" fill="hold" nodeType="clickEffect">
                                  <p:stCondLst>
                                    <p:cond delay="0"/>
                                  </p:stCondLst>
                                  <p:childTnLst>
                                    <p:animEffect transition="out" filter="fade">
                                      <p:cBhvr>
                                        <p:cTn id="193" dur="500" tmFilter="0, 0; .2, .5; .8, .5; 1, 0"/>
                                        <p:tgtEl>
                                          <p:spTgt spid="14"/>
                                        </p:tgtEl>
                                      </p:cBhvr>
                                    </p:animEffect>
                                    <p:animScale>
                                      <p:cBhvr>
                                        <p:cTn id="194" dur="250" autoRev="1" fill="hold"/>
                                        <p:tgtEl>
                                          <p:spTgt spid="14"/>
                                        </p:tgtEl>
                                      </p:cBhvr>
                                      <p:by x="105000" y="105000"/>
                                    </p:animScale>
                                  </p:childTnLst>
                                  <p:subTnLst>
                                    <p:audio>
                                      <p:cMediaNode>
                                        <p:cTn display="0" masterRel="sameClick">
                                          <p:stCondLst>
                                            <p:cond evt="begin" delay="0">
                                              <p:tn val="192"/>
                                            </p:cond>
                                          </p:stCondLst>
                                          <p:endCondLst>
                                            <p:cond evt="onStopAudio" delay="0">
                                              <p:tgtEl>
                                                <p:sldTgt/>
                                              </p:tgtEl>
                                            </p:cond>
                                          </p:endCondLst>
                                        </p:cTn>
                                        <p:tgtEl>
                                          <p:sndTgt r:embed="rId7" name="click.wav"/>
                                        </p:tgtEl>
                                      </p:cMediaNode>
                                    </p:audio>
                                  </p:subTnLst>
                                </p:cTn>
                              </p:par>
                              <p:par>
                                <p:cTn id="195" presetID="35" presetClass="path" presetSubtype="0" accel="50000" decel="50000" fill="hold" nodeType="withEffect">
                                  <p:stCondLst>
                                    <p:cond delay="0"/>
                                  </p:stCondLst>
                                  <p:childTnLst>
                                    <p:animMotion origin="layout" path="M 0.1599 -4.81481E-6 L 6.25E-7 -4.81481E-6 " pathEditMode="relative" rAng="0" ptsTypes="AA">
                                      <p:cBhvr>
                                        <p:cTn id="196" dur="500" fill="hold"/>
                                        <p:tgtEl>
                                          <p:spTgt spid="14"/>
                                        </p:tgtEl>
                                        <p:attrNameLst>
                                          <p:attrName>ppt_x</p:attrName>
                                          <p:attrName>ppt_y</p:attrName>
                                        </p:attrNameLst>
                                      </p:cBhvr>
                                      <p:rCtr x="-7995" y="0"/>
                                    </p:animMotion>
                                  </p:childTnLst>
                                </p:cTn>
                              </p:par>
                            </p:childTnLst>
                          </p:cTn>
                        </p:par>
                        <p:par>
                          <p:cTn id="197" fill="hold">
                            <p:stCondLst>
                              <p:cond delay="500"/>
                            </p:stCondLst>
                            <p:childTnLst>
                              <p:par>
                                <p:cTn id="198" presetID="1" presetClass="exit" presetSubtype="0" fill="hold" nodeType="afterEffect">
                                  <p:stCondLst>
                                    <p:cond delay="0"/>
                                  </p:stCondLst>
                                  <p:childTnLst>
                                    <p:set>
                                      <p:cBhvr>
                                        <p:cTn id="199" dur="1" fill="hold">
                                          <p:stCondLst>
                                            <p:cond delay="0"/>
                                          </p:stCondLst>
                                        </p:cTn>
                                        <p:tgtEl>
                                          <p:spTgt spid="13"/>
                                        </p:tgtEl>
                                        <p:attrNameLst>
                                          <p:attrName>style.visibility</p:attrName>
                                        </p:attrNameLst>
                                      </p:cBhvr>
                                      <p:to>
                                        <p:strVal val="hidden"/>
                                      </p:to>
                                    </p:set>
                                  </p:childTnLst>
                                </p:cTn>
                              </p:par>
                              <p:par>
                                <p:cTn id="200" presetID="10" presetClass="entr" presetSubtype="0" fill="hold" nodeType="withEffect">
                                  <p:stCondLst>
                                    <p:cond delay="0"/>
                                  </p:stCondLst>
                                  <p:childTnLst>
                                    <p:set>
                                      <p:cBhvr>
                                        <p:cTn id="201" dur="1" fill="hold">
                                          <p:stCondLst>
                                            <p:cond delay="0"/>
                                          </p:stCondLst>
                                        </p:cTn>
                                        <p:tgtEl>
                                          <p:spTgt spid="31"/>
                                        </p:tgtEl>
                                        <p:attrNameLst>
                                          <p:attrName>style.visibility</p:attrName>
                                        </p:attrNameLst>
                                      </p:cBhvr>
                                      <p:to>
                                        <p:strVal val="visible"/>
                                      </p:to>
                                    </p:set>
                                    <p:animEffect transition="in" filter="fade">
                                      <p:cBhvr>
                                        <p:cTn id="202" dur="500"/>
                                        <p:tgtEl>
                                          <p:spTgt spid="31"/>
                                        </p:tgtEl>
                                      </p:cBhvr>
                                    </p:animEffect>
                                  </p:childTnLst>
                                </p:cTn>
                              </p:par>
                              <p:par>
                                <p:cTn id="203" presetID="10" presetClass="entr" presetSubtype="0" fill="hold" nodeType="withEffect">
                                  <p:stCondLst>
                                    <p:cond delay="0"/>
                                  </p:stCondLst>
                                  <p:childTnLst>
                                    <p:set>
                                      <p:cBhvr>
                                        <p:cTn id="204" dur="1" fill="hold">
                                          <p:stCondLst>
                                            <p:cond delay="0"/>
                                          </p:stCondLst>
                                        </p:cTn>
                                        <p:tgtEl>
                                          <p:spTgt spid="12"/>
                                        </p:tgtEl>
                                        <p:attrNameLst>
                                          <p:attrName>style.visibility</p:attrName>
                                        </p:attrNameLst>
                                      </p:cBhvr>
                                      <p:to>
                                        <p:strVal val="visible"/>
                                      </p:to>
                                    </p:set>
                                    <p:animEffect transition="in" filter="fade">
                                      <p:cBhvr>
                                        <p:cTn id="205" dur="500"/>
                                        <p:tgtEl>
                                          <p:spTgt spid="12"/>
                                        </p:tgtEl>
                                      </p:cBhvr>
                                    </p:animEffect>
                                  </p:childTnLst>
                                </p:cTn>
                              </p:par>
                              <p:par>
                                <p:cTn id="206" presetID="10" presetClass="entr" presetSubtype="0" fill="hold" nodeType="withEffect">
                                  <p:stCondLst>
                                    <p:cond delay="0"/>
                                  </p:stCondLst>
                                  <p:childTnLst>
                                    <p:set>
                                      <p:cBhvr>
                                        <p:cTn id="207" dur="1" fill="hold">
                                          <p:stCondLst>
                                            <p:cond delay="0"/>
                                          </p:stCondLst>
                                        </p:cTn>
                                        <p:tgtEl>
                                          <p:spTgt spid="2"/>
                                        </p:tgtEl>
                                        <p:attrNameLst>
                                          <p:attrName>style.visibility</p:attrName>
                                        </p:attrNameLst>
                                      </p:cBhvr>
                                      <p:to>
                                        <p:strVal val="visible"/>
                                      </p:to>
                                    </p:set>
                                    <p:animEffect transition="in" filter="fade">
                                      <p:cBhvr>
                                        <p:cTn id="208" dur="500"/>
                                        <p:tgtEl>
                                          <p:spTgt spid="2"/>
                                        </p:tgtEl>
                                      </p:cBhvr>
                                    </p:animEffect>
                                  </p:childTnLst>
                                </p:cTn>
                              </p:par>
                              <p:par>
                                <p:cTn id="209" presetID="10" presetClass="entr" presetSubtype="0" fill="hold" nodeType="withEffect">
                                  <p:stCondLst>
                                    <p:cond delay="0"/>
                                  </p:stCondLst>
                                  <p:childTnLst>
                                    <p:set>
                                      <p:cBhvr>
                                        <p:cTn id="210" dur="1" fill="hold">
                                          <p:stCondLst>
                                            <p:cond delay="0"/>
                                          </p:stCondLst>
                                        </p:cTn>
                                        <p:tgtEl>
                                          <p:spTgt spid="16"/>
                                        </p:tgtEl>
                                        <p:attrNameLst>
                                          <p:attrName>style.visibility</p:attrName>
                                        </p:attrNameLst>
                                      </p:cBhvr>
                                      <p:to>
                                        <p:strVal val="visible"/>
                                      </p:to>
                                    </p:set>
                                    <p:animEffect transition="in" filter="fade">
                                      <p:cBhvr>
                                        <p:cTn id="211" dur="500"/>
                                        <p:tgtEl>
                                          <p:spTgt spid="16"/>
                                        </p:tgtEl>
                                      </p:cBhvr>
                                    </p:animEffect>
                                  </p:childTnLst>
                                </p:cTn>
                              </p:par>
                              <p:par>
                                <p:cTn id="212" presetID="10" presetClass="entr" presetSubtype="0" fill="hold" nodeType="withEffect">
                                  <p:stCondLst>
                                    <p:cond delay="0"/>
                                  </p:stCondLst>
                                  <p:childTnLst>
                                    <p:set>
                                      <p:cBhvr>
                                        <p:cTn id="213" dur="1" fill="hold">
                                          <p:stCondLst>
                                            <p:cond delay="0"/>
                                          </p:stCondLst>
                                        </p:cTn>
                                        <p:tgtEl>
                                          <p:spTgt spid="15"/>
                                        </p:tgtEl>
                                        <p:attrNameLst>
                                          <p:attrName>style.visibility</p:attrName>
                                        </p:attrNameLst>
                                      </p:cBhvr>
                                      <p:to>
                                        <p:strVal val="visible"/>
                                      </p:to>
                                    </p:set>
                                    <p:animEffect transition="in" filter="fade">
                                      <p:cBhvr>
                                        <p:cTn id="214" dur="500"/>
                                        <p:tgtEl>
                                          <p:spTgt spid="15"/>
                                        </p:tgtEl>
                                      </p:cBhvr>
                                    </p:animEffect>
                                  </p:childTnLst>
                                </p:cTn>
                              </p:par>
                              <p:par>
                                <p:cTn id="215" presetID="10" presetClass="entr" presetSubtype="0" fill="hold" nodeType="withEffect">
                                  <p:stCondLst>
                                    <p:cond delay="0"/>
                                  </p:stCondLst>
                                  <p:childTnLst>
                                    <p:set>
                                      <p:cBhvr>
                                        <p:cTn id="216" dur="1" fill="hold">
                                          <p:stCondLst>
                                            <p:cond delay="0"/>
                                          </p:stCondLst>
                                        </p:cTn>
                                        <p:tgtEl>
                                          <p:spTgt spid="18"/>
                                        </p:tgtEl>
                                        <p:attrNameLst>
                                          <p:attrName>style.visibility</p:attrName>
                                        </p:attrNameLst>
                                      </p:cBhvr>
                                      <p:to>
                                        <p:strVal val="visible"/>
                                      </p:to>
                                    </p:set>
                                    <p:animEffect transition="in" filter="fade">
                                      <p:cBhvr>
                                        <p:cTn id="217" dur="500"/>
                                        <p:tgtEl>
                                          <p:spTgt spid="18"/>
                                        </p:tgtEl>
                                      </p:cBhvr>
                                    </p:animEffect>
                                  </p:childTnLst>
                                </p:cTn>
                              </p:par>
                              <p:par>
                                <p:cTn id="218" presetID="10" presetClass="entr" presetSubtype="0" fill="hold" nodeType="withEffect">
                                  <p:stCondLst>
                                    <p:cond delay="0"/>
                                  </p:stCondLst>
                                  <p:childTnLst>
                                    <p:set>
                                      <p:cBhvr>
                                        <p:cTn id="219" dur="1" fill="hold">
                                          <p:stCondLst>
                                            <p:cond delay="0"/>
                                          </p:stCondLst>
                                        </p:cTn>
                                        <p:tgtEl>
                                          <p:spTgt spid="20"/>
                                        </p:tgtEl>
                                        <p:attrNameLst>
                                          <p:attrName>style.visibility</p:attrName>
                                        </p:attrNameLst>
                                      </p:cBhvr>
                                      <p:to>
                                        <p:strVal val="visible"/>
                                      </p:to>
                                    </p:set>
                                    <p:animEffect transition="in" filter="fade">
                                      <p:cBhvr>
                                        <p:cTn id="220" dur="500"/>
                                        <p:tgtEl>
                                          <p:spTgt spid="20"/>
                                        </p:tgtEl>
                                      </p:cBhvr>
                                    </p:animEffect>
                                  </p:childTnLst>
                                </p:cTn>
                              </p:par>
                              <p:par>
                                <p:cTn id="221" presetID="10" presetClass="entr" presetSubtype="0" fill="hold" nodeType="withEffect">
                                  <p:stCondLst>
                                    <p:cond delay="0"/>
                                  </p:stCondLst>
                                  <p:childTnLst>
                                    <p:set>
                                      <p:cBhvr>
                                        <p:cTn id="222" dur="1" fill="hold">
                                          <p:stCondLst>
                                            <p:cond delay="0"/>
                                          </p:stCondLst>
                                        </p:cTn>
                                        <p:tgtEl>
                                          <p:spTgt spid="17"/>
                                        </p:tgtEl>
                                        <p:attrNameLst>
                                          <p:attrName>style.visibility</p:attrName>
                                        </p:attrNameLst>
                                      </p:cBhvr>
                                      <p:to>
                                        <p:strVal val="visible"/>
                                      </p:to>
                                    </p:set>
                                    <p:animEffect transition="in" filter="fade">
                                      <p:cBhvr>
                                        <p:cTn id="223" dur="500"/>
                                        <p:tgtEl>
                                          <p:spTgt spid="17"/>
                                        </p:tgtEl>
                                      </p:cBhvr>
                                    </p:animEffect>
                                  </p:childTnLst>
                                </p:cTn>
                              </p:par>
                              <p:par>
                                <p:cTn id="224" presetID="10" presetClass="entr" presetSubtype="0" fill="hold" nodeType="withEffect">
                                  <p:stCondLst>
                                    <p:cond delay="0"/>
                                  </p:stCondLst>
                                  <p:childTnLst>
                                    <p:set>
                                      <p:cBhvr>
                                        <p:cTn id="225" dur="1" fill="hold">
                                          <p:stCondLst>
                                            <p:cond delay="0"/>
                                          </p:stCondLst>
                                        </p:cTn>
                                        <p:tgtEl>
                                          <p:spTgt spid="21"/>
                                        </p:tgtEl>
                                        <p:attrNameLst>
                                          <p:attrName>style.visibility</p:attrName>
                                        </p:attrNameLst>
                                      </p:cBhvr>
                                      <p:to>
                                        <p:strVal val="visible"/>
                                      </p:to>
                                    </p:set>
                                    <p:animEffect transition="in" filter="fade">
                                      <p:cBhvr>
                                        <p:cTn id="226" dur="500"/>
                                        <p:tgtEl>
                                          <p:spTgt spid="21"/>
                                        </p:tgtEl>
                                      </p:cBhvr>
                                    </p:animEffect>
                                  </p:childTnLst>
                                </p:cTn>
                              </p:par>
                              <p:par>
                                <p:cTn id="227" presetID="10" presetClass="entr" presetSubtype="0" fill="hold" nodeType="withEffect">
                                  <p:stCondLst>
                                    <p:cond delay="0"/>
                                  </p:stCondLst>
                                  <p:childTnLst>
                                    <p:set>
                                      <p:cBhvr>
                                        <p:cTn id="228" dur="1" fill="hold">
                                          <p:stCondLst>
                                            <p:cond delay="0"/>
                                          </p:stCondLst>
                                        </p:cTn>
                                        <p:tgtEl>
                                          <p:spTgt spid="19"/>
                                        </p:tgtEl>
                                        <p:attrNameLst>
                                          <p:attrName>style.visibility</p:attrName>
                                        </p:attrNameLst>
                                      </p:cBhvr>
                                      <p:to>
                                        <p:strVal val="visible"/>
                                      </p:to>
                                    </p:set>
                                    <p:animEffect transition="in" filter="fade">
                                      <p:cBhvr>
                                        <p:cTn id="229" dur="500"/>
                                        <p:tgtEl>
                                          <p:spTgt spid="19"/>
                                        </p:tgtEl>
                                      </p:cBhvr>
                                    </p:animEffect>
                                  </p:childTnLst>
                                </p:cTn>
                              </p:par>
                              <p:par>
                                <p:cTn id="230" presetID="10" presetClass="entr" presetSubtype="0" fill="hold" nodeType="withEffect">
                                  <p:stCondLst>
                                    <p:cond delay="0"/>
                                  </p:stCondLst>
                                  <p:childTnLst>
                                    <p:set>
                                      <p:cBhvr>
                                        <p:cTn id="231" dur="1" fill="hold">
                                          <p:stCondLst>
                                            <p:cond delay="0"/>
                                          </p:stCondLst>
                                        </p:cTn>
                                        <p:tgtEl>
                                          <p:spTgt spid="4"/>
                                        </p:tgtEl>
                                        <p:attrNameLst>
                                          <p:attrName>style.visibility</p:attrName>
                                        </p:attrNameLst>
                                      </p:cBhvr>
                                      <p:to>
                                        <p:strVal val="visible"/>
                                      </p:to>
                                    </p:set>
                                    <p:animEffect transition="in" filter="fade">
                                      <p:cBhvr>
                                        <p:cTn id="232" dur="500"/>
                                        <p:tgtEl>
                                          <p:spTgt spid="4"/>
                                        </p:tgtEl>
                                      </p:cBhvr>
                                    </p:animEffect>
                                  </p:childTnLst>
                                </p:cTn>
                              </p:par>
                              <p:par>
                                <p:cTn id="233" presetID="10" presetClass="entr" presetSubtype="0" fill="hold" nodeType="withEffect">
                                  <p:stCondLst>
                                    <p:cond delay="0"/>
                                  </p:stCondLst>
                                  <p:childTnLst>
                                    <p:set>
                                      <p:cBhvr>
                                        <p:cTn id="234" dur="1" fill="hold">
                                          <p:stCondLst>
                                            <p:cond delay="0"/>
                                          </p:stCondLst>
                                        </p:cTn>
                                        <p:tgtEl>
                                          <p:spTgt spid="6"/>
                                        </p:tgtEl>
                                        <p:attrNameLst>
                                          <p:attrName>style.visibility</p:attrName>
                                        </p:attrNameLst>
                                      </p:cBhvr>
                                      <p:to>
                                        <p:strVal val="visible"/>
                                      </p:to>
                                    </p:set>
                                    <p:animEffect transition="in" filter="fade">
                                      <p:cBhvr>
                                        <p:cTn id="235" dur="500"/>
                                        <p:tgtEl>
                                          <p:spTgt spid="6"/>
                                        </p:tgtEl>
                                      </p:cBhvr>
                                    </p:animEffect>
                                  </p:childTnLst>
                                </p:cTn>
                              </p:par>
                            </p:childTnLst>
                          </p:cTn>
                        </p:par>
                      </p:childTnLst>
                    </p:cTn>
                  </p:par>
                </p:childTnLst>
              </p:cTn>
              <p:nextCondLst>
                <p:cond evt="onClick" delay="0">
                  <p:tgtEl>
                    <p:spTgt spid="14"/>
                  </p:tgtEl>
                </p:cond>
              </p:nextCondLst>
            </p:seq>
            <p:seq concurrent="1" nextAc="seek">
              <p:cTn id="236" restart="whenNotActive" fill="hold" evtFilter="cancelBubble" nodeType="interactiveSeq">
                <p:stCondLst>
                  <p:cond evt="onClick" delay="0">
                    <p:tgtEl>
                      <p:spTgt spid="20"/>
                    </p:tgtEl>
                  </p:cond>
                </p:stCondLst>
                <p:endSync evt="end" delay="0">
                  <p:rtn val="all"/>
                </p:endSync>
                <p:childTnLst>
                  <p:par>
                    <p:cTn id="237" fill="hold">
                      <p:stCondLst>
                        <p:cond delay="0"/>
                      </p:stCondLst>
                      <p:childTnLst>
                        <p:par>
                          <p:cTn id="238" fill="hold">
                            <p:stCondLst>
                              <p:cond delay="0"/>
                            </p:stCondLst>
                            <p:childTnLst>
                              <p:par>
                                <p:cTn id="239" presetID="26" presetClass="emph" presetSubtype="0" fill="hold" nodeType="clickEffect">
                                  <p:stCondLst>
                                    <p:cond delay="0"/>
                                  </p:stCondLst>
                                  <p:childTnLst>
                                    <p:animEffect transition="out" filter="fade">
                                      <p:cBhvr>
                                        <p:cTn id="240" dur="500" tmFilter="0, 0; .2, .5; .8, .5; 1, 0"/>
                                        <p:tgtEl>
                                          <p:spTgt spid="20"/>
                                        </p:tgtEl>
                                      </p:cBhvr>
                                    </p:animEffect>
                                    <p:animScale>
                                      <p:cBhvr>
                                        <p:cTn id="241" dur="250" autoRev="1" fill="hold"/>
                                        <p:tgtEl>
                                          <p:spTgt spid="20"/>
                                        </p:tgtEl>
                                      </p:cBhvr>
                                      <p:by x="105000" y="105000"/>
                                    </p:animScale>
                                  </p:childTnLst>
                                  <p:subTnLst>
                                    <p:audio>
                                      <p:cMediaNode>
                                        <p:cTn display="0" masterRel="sameClick">
                                          <p:stCondLst>
                                            <p:cond evt="begin" delay="0">
                                              <p:tn val="239"/>
                                            </p:cond>
                                          </p:stCondLst>
                                          <p:endCondLst>
                                            <p:cond evt="onStopAudio" delay="0">
                                              <p:tgtEl>
                                                <p:sldTgt/>
                                              </p:tgtEl>
                                            </p:cond>
                                          </p:endCondLst>
                                        </p:cTn>
                                        <p:tgtEl>
                                          <p:sndTgt r:embed="rId7" name="click.wav"/>
                                        </p:tgtEl>
                                      </p:cMediaNode>
                                    </p:audio>
                                  </p:subTnLst>
                                </p:cTn>
                              </p:par>
                            </p:childTnLst>
                          </p:cTn>
                        </p:par>
                        <p:par>
                          <p:cTn id="242" fill="hold">
                            <p:stCondLst>
                              <p:cond delay="500"/>
                            </p:stCondLst>
                            <p:childTnLst>
                              <p:par>
                                <p:cTn id="243" presetID="1" presetClass="mediacall" presetSubtype="0" fill="hold" nodeType="afterEffect">
                                  <p:stCondLst>
                                    <p:cond delay="0"/>
                                  </p:stCondLst>
                                  <p:childTnLst>
                                    <p:cmd type="call" cmd="playFrom(0.0)">
                                      <p:cBhvr>
                                        <p:cTn id="244" dur="4995" fill="hold"/>
                                        <p:tgtEl>
                                          <p:spTgt spid="7"/>
                                        </p:tgtEl>
                                      </p:cBhvr>
                                    </p:cmd>
                                  </p:childTnLst>
                                </p:cTn>
                              </p:par>
                              <p:par>
                                <p:cTn id="245" presetID="1" presetClass="entr" presetSubtype="0" fill="hold" nodeType="withEffect">
                                  <p:stCondLst>
                                    <p:cond delay="0"/>
                                  </p:stCondLst>
                                  <p:childTnLst>
                                    <p:set>
                                      <p:cBhvr>
                                        <p:cTn id="246" dur="1" fill="hold">
                                          <p:stCondLst>
                                            <p:cond delay="0"/>
                                          </p:stCondLst>
                                        </p:cTn>
                                        <p:tgtEl>
                                          <p:spTgt spid="13"/>
                                        </p:tgtEl>
                                        <p:attrNameLst>
                                          <p:attrName>style.visibility</p:attrName>
                                        </p:attrNameLst>
                                      </p:cBhvr>
                                      <p:to>
                                        <p:strVal val="visible"/>
                                      </p:to>
                                    </p:set>
                                  </p:childTnLst>
                                </p:cTn>
                              </p:par>
                              <p:par>
                                <p:cTn id="247" presetID="63" presetClass="path" presetSubtype="0" accel="50000" decel="50000" fill="hold" nodeType="withEffect">
                                  <p:stCondLst>
                                    <p:cond delay="0"/>
                                  </p:stCondLst>
                                  <p:childTnLst>
                                    <p:animMotion origin="layout" path="M 6.25E-7 -4.81481E-6 L 0.16094 -4.81481E-6 " pathEditMode="relative" rAng="0" ptsTypes="AA">
                                      <p:cBhvr>
                                        <p:cTn id="248" dur="500" fill="hold"/>
                                        <p:tgtEl>
                                          <p:spTgt spid="14"/>
                                        </p:tgtEl>
                                        <p:attrNameLst>
                                          <p:attrName>ppt_x</p:attrName>
                                          <p:attrName>ppt_y</p:attrName>
                                        </p:attrNameLst>
                                      </p:cBhvr>
                                      <p:rCtr x="7591" y="0"/>
                                    </p:animMotion>
                                  </p:childTnLst>
                                </p:cTn>
                              </p:par>
                              <p:par>
                                <p:cTn id="249" presetID="10" presetClass="exit" presetSubtype="0" fill="hold" nodeType="withEffect">
                                  <p:stCondLst>
                                    <p:cond delay="0"/>
                                  </p:stCondLst>
                                  <p:childTnLst>
                                    <p:animEffect transition="out" filter="fade">
                                      <p:cBhvr>
                                        <p:cTn id="250" dur="500"/>
                                        <p:tgtEl>
                                          <p:spTgt spid="31"/>
                                        </p:tgtEl>
                                      </p:cBhvr>
                                    </p:animEffect>
                                    <p:set>
                                      <p:cBhvr>
                                        <p:cTn id="251" dur="1" fill="hold">
                                          <p:stCondLst>
                                            <p:cond delay="499"/>
                                          </p:stCondLst>
                                        </p:cTn>
                                        <p:tgtEl>
                                          <p:spTgt spid="31"/>
                                        </p:tgtEl>
                                        <p:attrNameLst>
                                          <p:attrName>style.visibility</p:attrName>
                                        </p:attrNameLst>
                                      </p:cBhvr>
                                      <p:to>
                                        <p:strVal val="hidden"/>
                                      </p:to>
                                    </p:set>
                                  </p:childTnLst>
                                </p:cTn>
                              </p:par>
                              <p:par>
                                <p:cTn id="252" presetID="10" presetClass="exit" presetSubtype="0" fill="hold" nodeType="withEffect">
                                  <p:stCondLst>
                                    <p:cond delay="0"/>
                                  </p:stCondLst>
                                  <p:childTnLst>
                                    <p:animEffect transition="out" filter="fade">
                                      <p:cBhvr>
                                        <p:cTn id="253" dur="500"/>
                                        <p:tgtEl>
                                          <p:spTgt spid="12"/>
                                        </p:tgtEl>
                                      </p:cBhvr>
                                    </p:animEffect>
                                    <p:set>
                                      <p:cBhvr>
                                        <p:cTn id="254" dur="1" fill="hold">
                                          <p:stCondLst>
                                            <p:cond delay="499"/>
                                          </p:stCondLst>
                                        </p:cTn>
                                        <p:tgtEl>
                                          <p:spTgt spid="12"/>
                                        </p:tgtEl>
                                        <p:attrNameLst>
                                          <p:attrName>style.visibility</p:attrName>
                                        </p:attrNameLst>
                                      </p:cBhvr>
                                      <p:to>
                                        <p:strVal val="hidden"/>
                                      </p:to>
                                    </p:set>
                                  </p:childTnLst>
                                </p:cTn>
                              </p:par>
                              <p:par>
                                <p:cTn id="255" presetID="10" presetClass="exit" presetSubtype="0" fill="hold" nodeType="withEffect">
                                  <p:stCondLst>
                                    <p:cond delay="0"/>
                                  </p:stCondLst>
                                  <p:childTnLst>
                                    <p:animEffect transition="out" filter="fade">
                                      <p:cBhvr>
                                        <p:cTn id="256" dur="500"/>
                                        <p:tgtEl>
                                          <p:spTgt spid="2"/>
                                        </p:tgtEl>
                                      </p:cBhvr>
                                    </p:animEffect>
                                    <p:set>
                                      <p:cBhvr>
                                        <p:cTn id="257" dur="1" fill="hold">
                                          <p:stCondLst>
                                            <p:cond delay="499"/>
                                          </p:stCondLst>
                                        </p:cTn>
                                        <p:tgtEl>
                                          <p:spTgt spid="2"/>
                                        </p:tgtEl>
                                        <p:attrNameLst>
                                          <p:attrName>style.visibility</p:attrName>
                                        </p:attrNameLst>
                                      </p:cBhvr>
                                      <p:to>
                                        <p:strVal val="hidden"/>
                                      </p:to>
                                    </p:set>
                                  </p:childTnLst>
                                </p:cTn>
                              </p:par>
                              <p:par>
                                <p:cTn id="258" presetID="10" presetClass="exit" presetSubtype="0" fill="hold" nodeType="withEffect">
                                  <p:stCondLst>
                                    <p:cond delay="0"/>
                                  </p:stCondLst>
                                  <p:childTnLst>
                                    <p:animEffect transition="out" filter="fade">
                                      <p:cBhvr>
                                        <p:cTn id="259" dur="500"/>
                                        <p:tgtEl>
                                          <p:spTgt spid="16"/>
                                        </p:tgtEl>
                                      </p:cBhvr>
                                    </p:animEffect>
                                    <p:set>
                                      <p:cBhvr>
                                        <p:cTn id="260" dur="1" fill="hold">
                                          <p:stCondLst>
                                            <p:cond delay="499"/>
                                          </p:stCondLst>
                                        </p:cTn>
                                        <p:tgtEl>
                                          <p:spTgt spid="16"/>
                                        </p:tgtEl>
                                        <p:attrNameLst>
                                          <p:attrName>style.visibility</p:attrName>
                                        </p:attrNameLst>
                                      </p:cBhvr>
                                      <p:to>
                                        <p:strVal val="hidden"/>
                                      </p:to>
                                    </p:set>
                                  </p:childTnLst>
                                </p:cTn>
                              </p:par>
                              <p:par>
                                <p:cTn id="261" presetID="10" presetClass="exit" presetSubtype="0" fill="hold" nodeType="withEffect">
                                  <p:stCondLst>
                                    <p:cond delay="0"/>
                                  </p:stCondLst>
                                  <p:childTnLst>
                                    <p:animEffect transition="out" filter="fade">
                                      <p:cBhvr>
                                        <p:cTn id="262" dur="500"/>
                                        <p:tgtEl>
                                          <p:spTgt spid="15"/>
                                        </p:tgtEl>
                                      </p:cBhvr>
                                    </p:animEffect>
                                    <p:set>
                                      <p:cBhvr>
                                        <p:cTn id="263" dur="1" fill="hold">
                                          <p:stCondLst>
                                            <p:cond delay="499"/>
                                          </p:stCondLst>
                                        </p:cTn>
                                        <p:tgtEl>
                                          <p:spTgt spid="15"/>
                                        </p:tgtEl>
                                        <p:attrNameLst>
                                          <p:attrName>style.visibility</p:attrName>
                                        </p:attrNameLst>
                                      </p:cBhvr>
                                      <p:to>
                                        <p:strVal val="hidden"/>
                                      </p:to>
                                    </p:set>
                                  </p:childTnLst>
                                </p:cTn>
                              </p:par>
                              <p:par>
                                <p:cTn id="264" presetID="10" presetClass="exit" presetSubtype="0" fill="hold" nodeType="withEffect">
                                  <p:stCondLst>
                                    <p:cond delay="0"/>
                                  </p:stCondLst>
                                  <p:childTnLst>
                                    <p:animEffect transition="out" filter="fade">
                                      <p:cBhvr>
                                        <p:cTn id="265" dur="500"/>
                                        <p:tgtEl>
                                          <p:spTgt spid="18"/>
                                        </p:tgtEl>
                                      </p:cBhvr>
                                    </p:animEffect>
                                    <p:set>
                                      <p:cBhvr>
                                        <p:cTn id="266" dur="1" fill="hold">
                                          <p:stCondLst>
                                            <p:cond delay="499"/>
                                          </p:stCondLst>
                                        </p:cTn>
                                        <p:tgtEl>
                                          <p:spTgt spid="18"/>
                                        </p:tgtEl>
                                        <p:attrNameLst>
                                          <p:attrName>style.visibility</p:attrName>
                                        </p:attrNameLst>
                                      </p:cBhvr>
                                      <p:to>
                                        <p:strVal val="hidden"/>
                                      </p:to>
                                    </p:set>
                                  </p:childTnLst>
                                </p:cTn>
                              </p:par>
                              <p:par>
                                <p:cTn id="267" presetID="10" presetClass="exit" presetSubtype="0" fill="hold" nodeType="withEffect">
                                  <p:stCondLst>
                                    <p:cond delay="0"/>
                                  </p:stCondLst>
                                  <p:childTnLst>
                                    <p:animEffect transition="out" filter="fade">
                                      <p:cBhvr>
                                        <p:cTn id="268" dur="500"/>
                                        <p:tgtEl>
                                          <p:spTgt spid="20"/>
                                        </p:tgtEl>
                                      </p:cBhvr>
                                    </p:animEffect>
                                    <p:set>
                                      <p:cBhvr>
                                        <p:cTn id="269" dur="1" fill="hold">
                                          <p:stCondLst>
                                            <p:cond delay="499"/>
                                          </p:stCondLst>
                                        </p:cTn>
                                        <p:tgtEl>
                                          <p:spTgt spid="20"/>
                                        </p:tgtEl>
                                        <p:attrNameLst>
                                          <p:attrName>style.visibility</p:attrName>
                                        </p:attrNameLst>
                                      </p:cBhvr>
                                      <p:to>
                                        <p:strVal val="hidden"/>
                                      </p:to>
                                    </p:set>
                                  </p:childTnLst>
                                </p:cTn>
                              </p:par>
                              <p:par>
                                <p:cTn id="270" presetID="10" presetClass="exit" presetSubtype="0" fill="hold" nodeType="withEffect">
                                  <p:stCondLst>
                                    <p:cond delay="0"/>
                                  </p:stCondLst>
                                  <p:childTnLst>
                                    <p:animEffect transition="out" filter="fade">
                                      <p:cBhvr>
                                        <p:cTn id="271" dur="500"/>
                                        <p:tgtEl>
                                          <p:spTgt spid="17"/>
                                        </p:tgtEl>
                                      </p:cBhvr>
                                    </p:animEffect>
                                    <p:set>
                                      <p:cBhvr>
                                        <p:cTn id="272" dur="1" fill="hold">
                                          <p:stCondLst>
                                            <p:cond delay="499"/>
                                          </p:stCondLst>
                                        </p:cTn>
                                        <p:tgtEl>
                                          <p:spTgt spid="17"/>
                                        </p:tgtEl>
                                        <p:attrNameLst>
                                          <p:attrName>style.visibility</p:attrName>
                                        </p:attrNameLst>
                                      </p:cBhvr>
                                      <p:to>
                                        <p:strVal val="hidden"/>
                                      </p:to>
                                    </p:set>
                                  </p:childTnLst>
                                </p:cTn>
                              </p:par>
                              <p:par>
                                <p:cTn id="273" presetID="10" presetClass="exit" presetSubtype="0" fill="hold" nodeType="withEffect">
                                  <p:stCondLst>
                                    <p:cond delay="0"/>
                                  </p:stCondLst>
                                  <p:childTnLst>
                                    <p:animEffect transition="out" filter="fade">
                                      <p:cBhvr>
                                        <p:cTn id="274" dur="500"/>
                                        <p:tgtEl>
                                          <p:spTgt spid="21"/>
                                        </p:tgtEl>
                                      </p:cBhvr>
                                    </p:animEffect>
                                    <p:set>
                                      <p:cBhvr>
                                        <p:cTn id="275" dur="1" fill="hold">
                                          <p:stCondLst>
                                            <p:cond delay="499"/>
                                          </p:stCondLst>
                                        </p:cTn>
                                        <p:tgtEl>
                                          <p:spTgt spid="21"/>
                                        </p:tgtEl>
                                        <p:attrNameLst>
                                          <p:attrName>style.visibility</p:attrName>
                                        </p:attrNameLst>
                                      </p:cBhvr>
                                      <p:to>
                                        <p:strVal val="hidden"/>
                                      </p:to>
                                    </p:set>
                                  </p:childTnLst>
                                </p:cTn>
                              </p:par>
                              <p:par>
                                <p:cTn id="276" presetID="10" presetClass="exit" presetSubtype="0" fill="hold" nodeType="withEffect">
                                  <p:stCondLst>
                                    <p:cond delay="0"/>
                                  </p:stCondLst>
                                  <p:childTnLst>
                                    <p:animEffect transition="out" filter="fade">
                                      <p:cBhvr>
                                        <p:cTn id="277" dur="500"/>
                                        <p:tgtEl>
                                          <p:spTgt spid="19"/>
                                        </p:tgtEl>
                                      </p:cBhvr>
                                    </p:animEffect>
                                    <p:set>
                                      <p:cBhvr>
                                        <p:cTn id="278" dur="1" fill="hold">
                                          <p:stCondLst>
                                            <p:cond delay="499"/>
                                          </p:stCondLst>
                                        </p:cTn>
                                        <p:tgtEl>
                                          <p:spTgt spid="19"/>
                                        </p:tgtEl>
                                        <p:attrNameLst>
                                          <p:attrName>style.visibility</p:attrName>
                                        </p:attrNameLst>
                                      </p:cBhvr>
                                      <p:to>
                                        <p:strVal val="hidden"/>
                                      </p:to>
                                    </p:set>
                                  </p:childTnLst>
                                </p:cTn>
                              </p:par>
                              <p:par>
                                <p:cTn id="279" presetID="10" presetClass="exit" presetSubtype="0" fill="hold" nodeType="withEffect">
                                  <p:stCondLst>
                                    <p:cond delay="0"/>
                                  </p:stCondLst>
                                  <p:childTnLst>
                                    <p:animEffect transition="out" filter="fade">
                                      <p:cBhvr>
                                        <p:cTn id="280" dur="500"/>
                                        <p:tgtEl>
                                          <p:spTgt spid="4"/>
                                        </p:tgtEl>
                                      </p:cBhvr>
                                    </p:animEffect>
                                    <p:set>
                                      <p:cBhvr>
                                        <p:cTn id="281" dur="1" fill="hold">
                                          <p:stCondLst>
                                            <p:cond delay="499"/>
                                          </p:stCondLst>
                                        </p:cTn>
                                        <p:tgtEl>
                                          <p:spTgt spid="4"/>
                                        </p:tgtEl>
                                        <p:attrNameLst>
                                          <p:attrName>style.visibility</p:attrName>
                                        </p:attrNameLst>
                                      </p:cBhvr>
                                      <p:to>
                                        <p:strVal val="hidden"/>
                                      </p:to>
                                    </p:set>
                                  </p:childTnLst>
                                </p:cTn>
                              </p:par>
                              <p:par>
                                <p:cTn id="282" presetID="10" presetClass="exit" presetSubtype="0" fill="hold" nodeType="withEffect">
                                  <p:stCondLst>
                                    <p:cond delay="0"/>
                                  </p:stCondLst>
                                  <p:childTnLst>
                                    <p:animEffect transition="out" filter="fade">
                                      <p:cBhvr>
                                        <p:cTn id="283" dur="500"/>
                                        <p:tgtEl>
                                          <p:spTgt spid="6"/>
                                        </p:tgtEl>
                                      </p:cBhvr>
                                    </p:animEffect>
                                    <p:set>
                                      <p:cBhvr>
                                        <p:cTn id="284"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0"/>
                  </p:tgtEl>
                </p:cond>
              </p:nextCondLst>
            </p:seq>
            <p:seq concurrent="1" nextAc="seek">
              <p:cTn id="285" restart="whenNotActive" fill="hold" evtFilter="cancelBubble" nodeType="interactiveSeq">
                <p:stCondLst>
                  <p:cond evt="onClick" delay="0">
                    <p:tgtEl>
                      <p:spTgt spid="21"/>
                    </p:tgtEl>
                  </p:cond>
                </p:stCondLst>
                <p:endSync evt="end" delay="0">
                  <p:rtn val="all"/>
                </p:endSync>
                <p:childTnLst>
                  <p:par>
                    <p:cTn id="286" fill="hold">
                      <p:stCondLst>
                        <p:cond delay="0"/>
                      </p:stCondLst>
                      <p:childTnLst>
                        <p:par>
                          <p:cTn id="287" fill="hold">
                            <p:stCondLst>
                              <p:cond delay="0"/>
                            </p:stCondLst>
                            <p:childTnLst>
                              <p:par>
                                <p:cTn id="288" presetID="26" presetClass="emph" presetSubtype="0" fill="hold" nodeType="clickEffect">
                                  <p:stCondLst>
                                    <p:cond delay="0"/>
                                  </p:stCondLst>
                                  <p:childTnLst>
                                    <p:animEffect transition="out" filter="fade">
                                      <p:cBhvr>
                                        <p:cTn id="289" dur="500" tmFilter="0, 0; .2, .5; .8, .5; 1, 0"/>
                                        <p:tgtEl>
                                          <p:spTgt spid="21"/>
                                        </p:tgtEl>
                                      </p:cBhvr>
                                    </p:animEffect>
                                    <p:animScale>
                                      <p:cBhvr>
                                        <p:cTn id="290" dur="250" autoRev="1" fill="hold"/>
                                        <p:tgtEl>
                                          <p:spTgt spid="21"/>
                                        </p:tgtEl>
                                      </p:cBhvr>
                                      <p:by x="105000" y="105000"/>
                                    </p:animScale>
                                  </p:childTnLst>
                                  <p:subTnLst>
                                    <p:audio>
                                      <p:cMediaNode>
                                        <p:cTn display="0" masterRel="sameClick">
                                          <p:stCondLst>
                                            <p:cond evt="begin" delay="0">
                                              <p:tn val="288"/>
                                            </p:cond>
                                          </p:stCondLst>
                                          <p:endCondLst>
                                            <p:cond evt="onStopAudio" delay="0">
                                              <p:tgtEl>
                                                <p:sldTgt/>
                                              </p:tgtEl>
                                            </p:cond>
                                          </p:endCondLst>
                                        </p:cTn>
                                        <p:tgtEl>
                                          <p:sndTgt r:embed="rId7" name="click.wav"/>
                                        </p:tgtEl>
                                      </p:cMediaNode>
                                    </p:audio>
                                  </p:subTnLst>
                                </p:cTn>
                              </p:par>
                            </p:childTnLst>
                          </p:cTn>
                        </p:par>
                        <p:par>
                          <p:cTn id="291" fill="hold">
                            <p:stCondLst>
                              <p:cond delay="500"/>
                            </p:stCondLst>
                            <p:childTnLst>
                              <p:par>
                                <p:cTn id="292" presetID="1" presetClass="mediacall" presetSubtype="0" fill="hold" nodeType="afterEffect">
                                  <p:stCondLst>
                                    <p:cond delay="0"/>
                                  </p:stCondLst>
                                  <p:childTnLst>
                                    <p:cmd type="call" cmd="playFrom(0.0)">
                                      <p:cBhvr>
                                        <p:cTn id="293" dur="4995" fill="hold"/>
                                        <p:tgtEl>
                                          <p:spTgt spid="7"/>
                                        </p:tgtEl>
                                      </p:cBhvr>
                                    </p:cmd>
                                  </p:childTnLst>
                                </p:cTn>
                              </p:par>
                              <p:par>
                                <p:cTn id="294" presetID="1" presetClass="entr" presetSubtype="0" fill="hold" nodeType="withEffect">
                                  <p:stCondLst>
                                    <p:cond delay="0"/>
                                  </p:stCondLst>
                                  <p:childTnLst>
                                    <p:set>
                                      <p:cBhvr>
                                        <p:cTn id="295" dur="1" fill="hold">
                                          <p:stCondLst>
                                            <p:cond delay="0"/>
                                          </p:stCondLst>
                                        </p:cTn>
                                        <p:tgtEl>
                                          <p:spTgt spid="13"/>
                                        </p:tgtEl>
                                        <p:attrNameLst>
                                          <p:attrName>style.visibility</p:attrName>
                                        </p:attrNameLst>
                                      </p:cBhvr>
                                      <p:to>
                                        <p:strVal val="visible"/>
                                      </p:to>
                                    </p:set>
                                  </p:childTnLst>
                                </p:cTn>
                              </p:par>
                              <p:par>
                                <p:cTn id="296" presetID="63" presetClass="path" presetSubtype="0" accel="50000" decel="50000" fill="hold" nodeType="withEffect">
                                  <p:stCondLst>
                                    <p:cond delay="0"/>
                                  </p:stCondLst>
                                  <p:childTnLst>
                                    <p:animMotion origin="layout" path="M 6.25E-7 -4.81481E-6 L 0.16093 -4.81481E-6 " pathEditMode="relative" rAng="0" ptsTypes="AA">
                                      <p:cBhvr>
                                        <p:cTn id="297" dur="500" fill="hold"/>
                                        <p:tgtEl>
                                          <p:spTgt spid="14"/>
                                        </p:tgtEl>
                                        <p:attrNameLst>
                                          <p:attrName>ppt_x</p:attrName>
                                          <p:attrName>ppt_y</p:attrName>
                                        </p:attrNameLst>
                                      </p:cBhvr>
                                      <p:rCtr x="7956" y="0"/>
                                    </p:animMotion>
                                  </p:childTnLst>
                                </p:cTn>
                              </p:par>
                              <p:par>
                                <p:cTn id="298" presetID="10" presetClass="exit" presetSubtype="0" fill="hold" nodeType="withEffect">
                                  <p:stCondLst>
                                    <p:cond delay="0"/>
                                  </p:stCondLst>
                                  <p:childTnLst>
                                    <p:animEffect transition="out" filter="fade">
                                      <p:cBhvr>
                                        <p:cTn id="299" dur="500"/>
                                        <p:tgtEl>
                                          <p:spTgt spid="31"/>
                                        </p:tgtEl>
                                      </p:cBhvr>
                                    </p:animEffect>
                                    <p:set>
                                      <p:cBhvr>
                                        <p:cTn id="300" dur="1" fill="hold">
                                          <p:stCondLst>
                                            <p:cond delay="499"/>
                                          </p:stCondLst>
                                        </p:cTn>
                                        <p:tgtEl>
                                          <p:spTgt spid="31"/>
                                        </p:tgtEl>
                                        <p:attrNameLst>
                                          <p:attrName>style.visibility</p:attrName>
                                        </p:attrNameLst>
                                      </p:cBhvr>
                                      <p:to>
                                        <p:strVal val="hidden"/>
                                      </p:to>
                                    </p:set>
                                  </p:childTnLst>
                                </p:cTn>
                              </p:par>
                              <p:par>
                                <p:cTn id="301" presetID="10" presetClass="exit" presetSubtype="0" fill="hold" nodeType="withEffect">
                                  <p:stCondLst>
                                    <p:cond delay="0"/>
                                  </p:stCondLst>
                                  <p:childTnLst>
                                    <p:animEffect transition="out" filter="fade">
                                      <p:cBhvr>
                                        <p:cTn id="302" dur="500"/>
                                        <p:tgtEl>
                                          <p:spTgt spid="12"/>
                                        </p:tgtEl>
                                      </p:cBhvr>
                                    </p:animEffect>
                                    <p:set>
                                      <p:cBhvr>
                                        <p:cTn id="303" dur="1" fill="hold">
                                          <p:stCondLst>
                                            <p:cond delay="499"/>
                                          </p:stCondLst>
                                        </p:cTn>
                                        <p:tgtEl>
                                          <p:spTgt spid="12"/>
                                        </p:tgtEl>
                                        <p:attrNameLst>
                                          <p:attrName>style.visibility</p:attrName>
                                        </p:attrNameLst>
                                      </p:cBhvr>
                                      <p:to>
                                        <p:strVal val="hidden"/>
                                      </p:to>
                                    </p:set>
                                  </p:childTnLst>
                                </p:cTn>
                              </p:par>
                              <p:par>
                                <p:cTn id="304" presetID="10" presetClass="exit" presetSubtype="0" fill="hold" nodeType="withEffect">
                                  <p:stCondLst>
                                    <p:cond delay="0"/>
                                  </p:stCondLst>
                                  <p:childTnLst>
                                    <p:animEffect transition="out" filter="fade">
                                      <p:cBhvr>
                                        <p:cTn id="305" dur="500"/>
                                        <p:tgtEl>
                                          <p:spTgt spid="2"/>
                                        </p:tgtEl>
                                      </p:cBhvr>
                                    </p:animEffect>
                                    <p:set>
                                      <p:cBhvr>
                                        <p:cTn id="306" dur="1" fill="hold">
                                          <p:stCondLst>
                                            <p:cond delay="499"/>
                                          </p:stCondLst>
                                        </p:cTn>
                                        <p:tgtEl>
                                          <p:spTgt spid="2"/>
                                        </p:tgtEl>
                                        <p:attrNameLst>
                                          <p:attrName>style.visibility</p:attrName>
                                        </p:attrNameLst>
                                      </p:cBhvr>
                                      <p:to>
                                        <p:strVal val="hidden"/>
                                      </p:to>
                                    </p:set>
                                  </p:childTnLst>
                                </p:cTn>
                              </p:par>
                              <p:par>
                                <p:cTn id="307" presetID="10" presetClass="exit" presetSubtype="0" fill="hold" nodeType="withEffect">
                                  <p:stCondLst>
                                    <p:cond delay="0"/>
                                  </p:stCondLst>
                                  <p:childTnLst>
                                    <p:animEffect transition="out" filter="fade">
                                      <p:cBhvr>
                                        <p:cTn id="308" dur="500"/>
                                        <p:tgtEl>
                                          <p:spTgt spid="16"/>
                                        </p:tgtEl>
                                      </p:cBhvr>
                                    </p:animEffect>
                                    <p:set>
                                      <p:cBhvr>
                                        <p:cTn id="309" dur="1" fill="hold">
                                          <p:stCondLst>
                                            <p:cond delay="499"/>
                                          </p:stCondLst>
                                        </p:cTn>
                                        <p:tgtEl>
                                          <p:spTgt spid="16"/>
                                        </p:tgtEl>
                                        <p:attrNameLst>
                                          <p:attrName>style.visibility</p:attrName>
                                        </p:attrNameLst>
                                      </p:cBhvr>
                                      <p:to>
                                        <p:strVal val="hidden"/>
                                      </p:to>
                                    </p:set>
                                  </p:childTnLst>
                                </p:cTn>
                              </p:par>
                              <p:par>
                                <p:cTn id="310" presetID="10" presetClass="exit" presetSubtype="0" fill="hold" nodeType="withEffect">
                                  <p:stCondLst>
                                    <p:cond delay="0"/>
                                  </p:stCondLst>
                                  <p:childTnLst>
                                    <p:animEffect transition="out" filter="fade">
                                      <p:cBhvr>
                                        <p:cTn id="311" dur="500"/>
                                        <p:tgtEl>
                                          <p:spTgt spid="15"/>
                                        </p:tgtEl>
                                      </p:cBhvr>
                                    </p:animEffect>
                                    <p:set>
                                      <p:cBhvr>
                                        <p:cTn id="312" dur="1" fill="hold">
                                          <p:stCondLst>
                                            <p:cond delay="499"/>
                                          </p:stCondLst>
                                        </p:cTn>
                                        <p:tgtEl>
                                          <p:spTgt spid="15"/>
                                        </p:tgtEl>
                                        <p:attrNameLst>
                                          <p:attrName>style.visibility</p:attrName>
                                        </p:attrNameLst>
                                      </p:cBhvr>
                                      <p:to>
                                        <p:strVal val="hidden"/>
                                      </p:to>
                                    </p:set>
                                  </p:childTnLst>
                                </p:cTn>
                              </p:par>
                              <p:par>
                                <p:cTn id="313" presetID="10" presetClass="exit" presetSubtype="0" fill="hold" nodeType="withEffect">
                                  <p:stCondLst>
                                    <p:cond delay="0"/>
                                  </p:stCondLst>
                                  <p:childTnLst>
                                    <p:animEffect transition="out" filter="fade">
                                      <p:cBhvr>
                                        <p:cTn id="314" dur="500"/>
                                        <p:tgtEl>
                                          <p:spTgt spid="18"/>
                                        </p:tgtEl>
                                      </p:cBhvr>
                                    </p:animEffect>
                                    <p:set>
                                      <p:cBhvr>
                                        <p:cTn id="315" dur="1" fill="hold">
                                          <p:stCondLst>
                                            <p:cond delay="499"/>
                                          </p:stCondLst>
                                        </p:cTn>
                                        <p:tgtEl>
                                          <p:spTgt spid="18"/>
                                        </p:tgtEl>
                                        <p:attrNameLst>
                                          <p:attrName>style.visibility</p:attrName>
                                        </p:attrNameLst>
                                      </p:cBhvr>
                                      <p:to>
                                        <p:strVal val="hidden"/>
                                      </p:to>
                                    </p:set>
                                  </p:childTnLst>
                                </p:cTn>
                              </p:par>
                              <p:par>
                                <p:cTn id="316" presetID="10" presetClass="exit" presetSubtype="0" fill="hold" nodeType="withEffect">
                                  <p:stCondLst>
                                    <p:cond delay="0"/>
                                  </p:stCondLst>
                                  <p:childTnLst>
                                    <p:animEffect transition="out" filter="fade">
                                      <p:cBhvr>
                                        <p:cTn id="317" dur="500"/>
                                        <p:tgtEl>
                                          <p:spTgt spid="20"/>
                                        </p:tgtEl>
                                      </p:cBhvr>
                                    </p:animEffect>
                                    <p:set>
                                      <p:cBhvr>
                                        <p:cTn id="318" dur="1" fill="hold">
                                          <p:stCondLst>
                                            <p:cond delay="499"/>
                                          </p:stCondLst>
                                        </p:cTn>
                                        <p:tgtEl>
                                          <p:spTgt spid="20"/>
                                        </p:tgtEl>
                                        <p:attrNameLst>
                                          <p:attrName>style.visibility</p:attrName>
                                        </p:attrNameLst>
                                      </p:cBhvr>
                                      <p:to>
                                        <p:strVal val="hidden"/>
                                      </p:to>
                                    </p:set>
                                  </p:childTnLst>
                                </p:cTn>
                              </p:par>
                              <p:par>
                                <p:cTn id="319" presetID="10" presetClass="exit" presetSubtype="0" fill="hold" nodeType="withEffect">
                                  <p:stCondLst>
                                    <p:cond delay="0"/>
                                  </p:stCondLst>
                                  <p:childTnLst>
                                    <p:animEffect transition="out" filter="fade">
                                      <p:cBhvr>
                                        <p:cTn id="320" dur="500"/>
                                        <p:tgtEl>
                                          <p:spTgt spid="17"/>
                                        </p:tgtEl>
                                      </p:cBhvr>
                                    </p:animEffect>
                                    <p:set>
                                      <p:cBhvr>
                                        <p:cTn id="321" dur="1" fill="hold">
                                          <p:stCondLst>
                                            <p:cond delay="499"/>
                                          </p:stCondLst>
                                        </p:cTn>
                                        <p:tgtEl>
                                          <p:spTgt spid="17"/>
                                        </p:tgtEl>
                                        <p:attrNameLst>
                                          <p:attrName>style.visibility</p:attrName>
                                        </p:attrNameLst>
                                      </p:cBhvr>
                                      <p:to>
                                        <p:strVal val="hidden"/>
                                      </p:to>
                                    </p:set>
                                  </p:childTnLst>
                                </p:cTn>
                              </p:par>
                              <p:par>
                                <p:cTn id="322" presetID="10" presetClass="exit" presetSubtype="0" fill="hold" nodeType="withEffect">
                                  <p:stCondLst>
                                    <p:cond delay="0"/>
                                  </p:stCondLst>
                                  <p:childTnLst>
                                    <p:animEffect transition="out" filter="fade">
                                      <p:cBhvr>
                                        <p:cTn id="323" dur="500"/>
                                        <p:tgtEl>
                                          <p:spTgt spid="21"/>
                                        </p:tgtEl>
                                      </p:cBhvr>
                                    </p:animEffect>
                                    <p:set>
                                      <p:cBhvr>
                                        <p:cTn id="324" dur="1" fill="hold">
                                          <p:stCondLst>
                                            <p:cond delay="499"/>
                                          </p:stCondLst>
                                        </p:cTn>
                                        <p:tgtEl>
                                          <p:spTgt spid="21"/>
                                        </p:tgtEl>
                                        <p:attrNameLst>
                                          <p:attrName>style.visibility</p:attrName>
                                        </p:attrNameLst>
                                      </p:cBhvr>
                                      <p:to>
                                        <p:strVal val="hidden"/>
                                      </p:to>
                                    </p:set>
                                  </p:childTnLst>
                                </p:cTn>
                              </p:par>
                              <p:par>
                                <p:cTn id="325" presetID="10" presetClass="exit" presetSubtype="0" fill="hold" nodeType="withEffect">
                                  <p:stCondLst>
                                    <p:cond delay="0"/>
                                  </p:stCondLst>
                                  <p:childTnLst>
                                    <p:animEffect transition="out" filter="fade">
                                      <p:cBhvr>
                                        <p:cTn id="326" dur="500"/>
                                        <p:tgtEl>
                                          <p:spTgt spid="19"/>
                                        </p:tgtEl>
                                      </p:cBhvr>
                                    </p:animEffect>
                                    <p:set>
                                      <p:cBhvr>
                                        <p:cTn id="327" dur="1" fill="hold">
                                          <p:stCondLst>
                                            <p:cond delay="499"/>
                                          </p:stCondLst>
                                        </p:cTn>
                                        <p:tgtEl>
                                          <p:spTgt spid="19"/>
                                        </p:tgtEl>
                                        <p:attrNameLst>
                                          <p:attrName>style.visibility</p:attrName>
                                        </p:attrNameLst>
                                      </p:cBhvr>
                                      <p:to>
                                        <p:strVal val="hidden"/>
                                      </p:to>
                                    </p:set>
                                  </p:childTnLst>
                                </p:cTn>
                              </p:par>
                              <p:par>
                                <p:cTn id="328" presetID="10" presetClass="exit" presetSubtype="0" fill="hold" nodeType="withEffect">
                                  <p:stCondLst>
                                    <p:cond delay="0"/>
                                  </p:stCondLst>
                                  <p:childTnLst>
                                    <p:animEffect transition="out" filter="fade">
                                      <p:cBhvr>
                                        <p:cTn id="329" dur="500"/>
                                        <p:tgtEl>
                                          <p:spTgt spid="4"/>
                                        </p:tgtEl>
                                      </p:cBhvr>
                                    </p:animEffect>
                                    <p:set>
                                      <p:cBhvr>
                                        <p:cTn id="330" dur="1" fill="hold">
                                          <p:stCondLst>
                                            <p:cond delay="499"/>
                                          </p:stCondLst>
                                        </p:cTn>
                                        <p:tgtEl>
                                          <p:spTgt spid="4"/>
                                        </p:tgtEl>
                                        <p:attrNameLst>
                                          <p:attrName>style.visibility</p:attrName>
                                        </p:attrNameLst>
                                      </p:cBhvr>
                                      <p:to>
                                        <p:strVal val="hidden"/>
                                      </p:to>
                                    </p:set>
                                  </p:childTnLst>
                                </p:cTn>
                              </p:par>
                              <p:par>
                                <p:cTn id="331" presetID="10" presetClass="exit" presetSubtype="0" fill="hold" nodeType="withEffect">
                                  <p:stCondLst>
                                    <p:cond delay="0"/>
                                  </p:stCondLst>
                                  <p:childTnLst>
                                    <p:animEffect transition="out" filter="fade">
                                      <p:cBhvr>
                                        <p:cTn id="332" dur="500"/>
                                        <p:tgtEl>
                                          <p:spTgt spid="6"/>
                                        </p:tgtEl>
                                      </p:cBhvr>
                                    </p:animEffect>
                                    <p:set>
                                      <p:cBhvr>
                                        <p:cTn id="333" dur="1" fill="hold">
                                          <p:stCondLst>
                                            <p:cond delay="499"/>
                                          </p:stCondLst>
                                        </p:cTn>
                                        <p:tgtEl>
                                          <p:spTgt spid="6"/>
                                        </p:tgtEl>
                                        <p:attrNameLst>
                                          <p:attrName>style.visibility</p:attrName>
                                        </p:attrNameLst>
                                      </p:cBhvr>
                                      <p:to>
                                        <p:strVal val="hidden"/>
                                      </p:to>
                                    </p:set>
                                  </p:childTnLst>
                                </p:cTn>
                              </p:par>
                            </p:childTnLst>
                          </p:cTn>
                        </p:par>
                      </p:childTnLst>
                    </p:cTn>
                  </p:par>
                </p:childTnLst>
              </p:cTn>
              <p:nextCondLst>
                <p:cond evt="onClick" delay="0">
                  <p:tgtEl>
                    <p:spTgt spid="21"/>
                  </p:tgtEl>
                </p:cond>
              </p:nextCondLst>
            </p:seq>
            <p:audio>
              <p:cMediaNode vol="80000">
                <p:cTn id="334" fill="hold" display="0">
                  <p:stCondLst>
                    <p:cond delay="indefinite"/>
                  </p:stCondLst>
                  <p:endCondLst>
                    <p:cond evt="onStopAudio" delay="0">
                      <p:tgtEl>
                        <p:sldTgt/>
                      </p:tgtEl>
                    </p:cond>
                  </p:endCondLst>
                </p:cTn>
                <p:tgtEl>
                  <p:spTgt spid="7"/>
                </p:tgtEl>
              </p:cMediaNode>
            </p:audio>
            <p:audio>
              <p:cMediaNode vol="80000">
                <p:cTn id="335" fill="hold" display="0">
                  <p:stCondLst>
                    <p:cond delay="indefinite"/>
                  </p:stCondLst>
                  <p:endCondLst>
                    <p:cond evt="onStopAudio" delay="0">
                      <p:tgtEl>
                        <p:sldTgt/>
                      </p:tgtEl>
                    </p:cond>
                  </p:endCondLst>
                </p:cTn>
                <p:tgtEl>
                  <p:spTgt spid="22"/>
                </p:tgtEl>
              </p:cMediaNode>
            </p:audio>
            <p:seq concurrent="1" nextAc="seek">
              <p:cTn id="336" restart="whenNotActive" fill="hold" evtFilter="cancelBubble" nodeType="interactiveSeq">
                <p:stCondLst>
                  <p:cond evt="onClick" delay="0">
                    <p:tgtEl>
                      <p:spTgt spid="44"/>
                    </p:tgtEl>
                  </p:cond>
                </p:stCondLst>
                <p:endSync evt="end" delay="0">
                  <p:rtn val="all"/>
                </p:endSync>
                <p:childTnLst>
                  <p:par>
                    <p:cTn id="337" fill="hold">
                      <p:stCondLst>
                        <p:cond delay="0"/>
                      </p:stCondLst>
                      <p:childTnLst>
                        <p:par>
                          <p:cTn id="338" fill="hold">
                            <p:stCondLst>
                              <p:cond delay="0"/>
                            </p:stCondLst>
                            <p:childTnLst>
                              <p:par>
                                <p:cTn id="339" presetID="26" presetClass="emph" presetSubtype="0" fill="hold" nodeType="clickEffect">
                                  <p:stCondLst>
                                    <p:cond delay="0"/>
                                  </p:stCondLst>
                                  <p:childTnLst>
                                    <p:animEffect transition="out" filter="fade">
                                      <p:cBhvr>
                                        <p:cTn id="340" dur="500" tmFilter="0, 0; .2, .5; .8, .5; 1, 0"/>
                                        <p:tgtEl>
                                          <p:spTgt spid="44"/>
                                        </p:tgtEl>
                                      </p:cBhvr>
                                    </p:animEffect>
                                    <p:animScale>
                                      <p:cBhvr>
                                        <p:cTn id="341" dur="250" autoRev="1" fill="hold"/>
                                        <p:tgtEl>
                                          <p:spTgt spid="44"/>
                                        </p:tgtEl>
                                      </p:cBhvr>
                                      <p:by x="105000" y="105000"/>
                                    </p:animScale>
                                  </p:childTnLst>
                                  <p:subTnLst>
                                    <p:audio>
                                      <p:cMediaNode>
                                        <p:cTn display="0" masterRel="sameClick">
                                          <p:stCondLst>
                                            <p:cond evt="begin" delay="0">
                                              <p:tn val="339"/>
                                            </p:cond>
                                          </p:stCondLst>
                                          <p:endCondLst>
                                            <p:cond evt="onStopAudio" delay="0">
                                              <p:tgtEl>
                                                <p:sldTgt/>
                                              </p:tgtEl>
                                            </p:cond>
                                          </p:endCondLst>
                                        </p:cTn>
                                        <p:tgtEl>
                                          <p:sndTgt r:embed="rId7" name="click.wav"/>
                                        </p:tgtEl>
                                      </p:cMediaNode>
                                    </p:audio>
                                  </p:subTnLst>
                                </p:cTn>
                              </p:par>
                            </p:childTnLst>
                          </p:cTn>
                        </p:par>
                      </p:childTnLst>
                    </p:cTn>
                  </p:par>
                </p:childTnLst>
              </p:cTn>
              <p:nextCondLst>
                <p:cond evt="onClick" delay="0">
                  <p:tgtEl>
                    <p:spTgt spid="44"/>
                  </p:tgtEl>
                </p:cond>
              </p:nextCondLst>
            </p:seq>
            <p:seq concurrent="1" nextAc="seek">
              <p:cTn id="342" restart="whenNotActive" fill="hold" evtFilter="cancelBubble" nodeType="interactiveSeq">
                <p:stCondLst>
                  <p:cond evt="onClick" delay="0">
                    <p:tgtEl>
                      <p:spTgt spid="42"/>
                    </p:tgtEl>
                  </p:cond>
                </p:stCondLst>
                <p:endSync evt="end" delay="0">
                  <p:rtn val="all"/>
                </p:endSync>
                <p:childTnLst>
                  <p:par>
                    <p:cTn id="343" fill="hold">
                      <p:stCondLst>
                        <p:cond delay="0"/>
                      </p:stCondLst>
                      <p:childTnLst>
                        <p:par>
                          <p:cTn id="344" fill="hold">
                            <p:stCondLst>
                              <p:cond delay="0"/>
                            </p:stCondLst>
                            <p:childTnLst>
                              <p:par>
                                <p:cTn id="345" presetID="26" presetClass="emph" presetSubtype="0" fill="hold" nodeType="clickEffect">
                                  <p:stCondLst>
                                    <p:cond delay="0"/>
                                  </p:stCondLst>
                                  <p:childTnLst>
                                    <p:animEffect transition="out" filter="fade">
                                      <p:cBhvr>
                                        <p:cTn id="346" dur="500" tmFilter="0, 0; .2, .5; .8, .5; 1, 0"/>
                                        <p:tgtEl>
                                          <p:spTgt spid="42"/>
                                        </p:tgtEl>
                                      </p:cBhvr>
                                    </p:animEffect>
                                    <p:animScale>
                                      <p:cBhvr>
                                        <p:cTn id="347" dur="250" autoRev="1" fill="hold"/>
                                        <p:tgtEl>
                                          <p:spTgt spid="42"/>
                                        </p:tgtEl>
                                      </p:cBhvr>
                                      <p:by x="105000" y="105000"/>
                                    </p:animScale>
                                  </p:childTnLst>
                                  <p:subTnLst>
                                    <p:audio>
                                      <p:cMediaNode>
                                        <p:cTn display="0" masterRel="sameClick">
                                          <p:stCondLst>
                                            <p:cond evt="begin" delay="0">
                                              <p:tn val="345"/>
                                            </p:cond>
                                          </p:stCondLst>
                                          <p:endCondLst>
                                            <p:cond evt="onStopAudio" delay="0">
                                              <p:tgtEl>
                                                <p:sldTgt/>
                                              </p:tgtEl>
                                            </p:cond>
                                          </p:endCondLst>
                                        </p:cTn>
                                        <p:tgtEl>
                                          <p:sndTgt r:embed="rId7" name="click.wav"/>
                                        </p:tgtEl>
                                      </p:cMediaNode>
                                    </p:audio>
                                  </p:subTnLst>
                                </p:cTn>
                              </p:par>
                            </p:childTnLst>
                          </p:cTn>
                        </p:par>
                      </p:childTnLst>
                    </p:cTn>
                  </p:par>
                </p:childTnLst>
              </p:cTn>
              <p:nextCondLst>
                <p:cond evt="onClick" delay="0">
                  <p:tgtEl>
                    <p:spTgt spid="42"/>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492"/>
        <p:cNvGrpSpPr/>
        <p:nvPr/>
      </p:nvGrpSpPr>
      <p:grpSpPr>
        <a:xfrm>
          <a:off x="0" y="0"/>
          <a:ext cx="0" cy="0"/>
          <a:chOff x="0" y="0"/>
          <a:chExt cx="0" cy="0"/>
        </a:xfrm>
      </p:grpSpPr>
      <p:sp>
        <p:nvSpPr>
          <p:cNvPr id="3" name="Title 2">
            <a:extLst>
              <a:ext uri="{FF2B5EF4-FFF2-40B4-BE49-F238E27FC236}">
                <a16:creationId xmlns:a16="http://schemas.microsoft.com/office/drawing/2014/main" id="{0A87E2AC-4851-14B8-E8C0-45026C0B81B3}"/>
              </a:ext>
            </a:extLst>
          </p:cNvPr>
          <p:cNvSpPr>
            <a:spLocks noGrp="1"/>
          </p:cNvSpPr>
          <p:nvPr>
            <p:ph type="title"/>
          </p:nvPr>
        </p:nvSpPr>
        <p:spPr>
          <a:xfrm>
            <a:off x="713250" y="925975"/>
            <a:ext cx="7717500" cy="685800"/>
          </a:xfrm>
        </p:spPr>
        <p:txBody>
          <a:bodyPr/>
          <a:lstStyle/>
          <a:p>
            <a:r>
              <a:rPr lang="en-US" sz="6000" dirty="0"/>
              <a:t>Thank you for listening</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173FA2-CF48-4420-93C8-CE819FBDE40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Effect>
                      <a14:brightnessContrast contrast="40000"/>
                    </a14:imgEffect>
                  </a14:imgLayer>
                </a14:imgProps>
              </a:ext>
            </a:extLst>
          </a:blip>
          <a:stretch>
            <a:fillRect/>
          </a:stretch>
        </p:blipFill>
        <p:spPr>
          <a:xfrm>
            <a:off x="657225" y="2174421"/>
            <a:ext cx="7829550" cy="2964656"/>
          </a:xfrm>
          <a:prstGeom prst="rect">
            <a:avLst/>
          </a:prstGeom>
        </p:spPr>
      </p:pic>
      <p:sp>
        <p:nvSpPr>
          <p:cNvPr id="4" name="Rectangle 3">
            <a:extLst>
              <a:ext uri="{FF2B5EF4-FFF2-40B4-BE49-F238E27FC236}">
                <a16:creationId xmlns:a16="http://schemas.microsoft.com/office/drawing/2014/main" id="{DD83259F-EAE7-4FE6-9EBD-C96E3F80DC06}"/>
              </a:ext>
            </a:extLst>
          </p:cNvPr>
          <p:cNvSpPr/>
          <p:nvPr/>
        </p:nvSpPr>
        <p:spPr>
          <a:xfrm>
            <a:off x="2664724" y="141919"/>
            <a:ext cx="4264927" cy="1869743"/>
          </a:xfrm>
          <a:custGeom>
            <a:avLst/>
            <a:gdLst>
              <a:gd name="connsiteX0" fmla="*/ 0 w 5686569"/>
              <a:gd name="connsiteY0" fmla="*/ 0 h 2462213"/>
              <a:gd name="connsiteX1" fmla="*/ 5686569 w 5686569"/>
              <a:gd name="connsiteY1" fmla="*/ 0 h 2462213"/>
              <a:gd name="connsiteX2" fmla="*/ 5686569 w 5686569"/>
              <a:gd name="connsiteY2" fmla="*/ 2462213 h 2462213"/>
              <a:gd name="connsiteX3" fmla="*/ 0 w 5686569"/>
              <a:gd name="connsiteY3" fmla="*/ 2462213 h 2462213"/>
              <a:gd name="connsiteX4" fmla="*/ 0 w 5686569"/>
              <a:gd name="connsiteY4" fmla="*/ 0 h 2462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6569" h="2462213" fill="none" extrusionOk="0">
                <a:moveTo>
                  <a:pt x="0" y="0"/>
                </a:moveTo>
                <a:cubicBezTo>
                  <a:pt x="2559125" y="86492"/>
                  <a:pt x="3886238" y="-117637"/>
                  <a:pt x="5686569" y="0"/>
                </a:cubicBezTo>
                <a:cubicBezTo>
                  <a:pt x="5658546" y="380539"/>
                  <a:pt x="5809999" y="1300745"/>
                  <a:pt x="5686569" y="2462213"/>
                </a:cubicBezTo>
                <a:cubicBezTo>
                  <a:pt x="3342662" y="2488122"/>
                  <a:pt x="2746365" y="2394331"/>
                  <a:pt x="0" y="2462213"/>
                </a:cubicBezTo>
                <a:cubicBezTo>
                  <a:pt x="117407" y="2041845"/>
                  <a:pt x="78871" y="669191"/>
                  <a:pt x="0" y="0"/>
                </a:cubicBezTo>
                <a:close/>
              </a:path>
              <a:path w="5686569" h="2462213" stroke="0" extrusionOk="0">
                <a:moveTo>
                  <a:pt x="0" y="0"/>
                </a:moveTo>
                <a:cubicBezTo>
                  <a:pt x="1024394" y="-94642"/>
                  <a:pt x="4126256" y="-17644"/>
                  <a:pt x="5686569" y="0"/>
                </a:cubicBezTo>
                <a:cubicBezTo>
                  <a:pt x="5855545" y="284342"/>
                  <a:pt x="5697256" y="2161643"/>
                  <a:pt x="5686569" y="2462213"/>
                </a:cubicBezTo>
                <a:cubicBezTo>
                  <a:pt x="3582221" y="2604196"/>
                  <a:pt x="2348221" y="2321584"/>
                  <a:pt x="0" y="2462213"/>
                </a:cubicBezTo>
                <a:cubicBezTo>
                  <a:pt x="-5653" y="1518688"/>
                  <a:pt x="-104214" y="1012946"/>
                  <a:pt x="0" y="0"/>
                </a:cubicBezTo>
                <a:close/>
              </a:path>
            </a:pathLst>
          </a:custGeom>
          <a:solidFill>
            <a:schemeClr val="accent5">
              <a:lumMod val="20000"/>
              <a:lumOff val="80000"/>
            </a:schemeClr>
          </a:solidFill>
          <a:ln>
            <a:solidFill>
              <a:schemeClr val="tx1"/>
            </a:solidFill>
            <a:extLst>
              <a:ext uri="{C807C97D-BFC1-408E-A445-0C87EB9F89A2}">
                <ask:lineSketchStyleProps xmlns:ask="http://schemas.microsoft.com/office/drawing/2018/sketchyshapes" xmlns="" sd="1217046285">
                  <a:prstGeom prst="rect">
                    <a:avLst/>
                  </a:prstGeom>
                  <ask:type>
                    <ask:lineSketchCurved/>
                  </ask:type>
                </ask:lineSketchStyleProps>
              </a:ext>
            </a:extLst>
          </a:ln>
        </p:spPr>
        <p:txBody>
          <a:bodyPr wrap="square">
            <a:spAutoFit/>
          </a:bodyPr>
          <a:lstStyle/>
          <a:p>
            <a:r>
              <a:rPr lang="vi-VN" sz="1650">
                <a:solidFill>
                  <a:schemeClr val="tx1">
                    <a:lumMod val="85000"/>
                    <a:lumOff val="15000"/>
                  </a:schemeClr>
                </a:solidFill>
              </a:rPr>
              <a:t>1. Nhạc sĩ sáng tác bản nhạc "Trường ca sông Lô" là </a:t>
            </a:r>
            <a:r>
              <a:rPr lang="en-US" sz="1650">
                <a:solidFill>
                  <a:schemeClr val="tx1">
                    <a:lumMod val="85000"/>
                    <a:lumOff val="15000"/>
                  </a:schemeClr>
                </a:solidFill>
              </a:rPr>
              <a:t>nhạc sĩ </a:t>
            </a:r>
            <a:r>
              <a:rPr lang="vi-VN" sz="1650">
                <a:solidFill>
                  <a:schemeClr val="accent5">
                    <a:lumMod val="75000"/>
                  </a:schemeClr>
                </a:solidFill>
              </a:rPr>
              <a:t>Văn Cao</a:t>
            </a:r>
          </a:p>
          <a:p>
            <a:r>
              <a:rPr lang="vi-VN" sz="1650">
                <a:solidFill>
                  <a:schemeClr val="tx1">
                    <a:lumMod val="85000"/>
                    <a:lumOff val="15000"/>
                  </a:schemeClr>
                </a:solidFill>
              </a:rPr>
              <a:t>Nhạc sĩ sáng tác bản nhạc "Xa khơi" là nhạc sĩ </a:t>
            </a:r>
            <a:r>
              <a:rPr lang="vi-VN" sz="1650">
                <a:solidFill>
                  <a:schemeClr val="accent5">
                    <a:lumMod val="75000"/>
                  </a:schemeClr>
                </a:solidFill>
              </a:rPr>
              <a:t>Nguyễn Tài Tuệ</a:t>
            </a:r>
          </a:p>
          <a:p>
            <a:r>
              <a:rPr lang="vi-VN" sz="1650">
                <a:solidFill>
                  <a:schemeClr val="tx1">
                    <a:lumMod val="85000"/>
                    <a:lumOff val="15000"/>
                  </a:schemeClr>
                </a:solidFill>
              </a:rPr>
              <a:t>2. Bản thu âm tương ứng với dòng 0005 TN là bản thu âm của bản nhạc </a:t>
            </a:r>
            <a:r>
              <a:rPr lang="en-US" sz="1650">
                <a:solidFill>
                  <a:schemeClr val="accent5">
                    <a:lumMod val="75000"/>
                  </a:schemeClr>
                </a:solidFill>
              </a:rPr>
              <a:t>“Việt Nam quê h</a:t>
            </a:r>
            <a:r>
              <a:rPr lang="vi-VN" sz="1650">
                <a:solidFill>
                  <a:schemeClr val="accent5">
                    <a:lumMod val="75000"/>
                  </a:schemeClr>
                </a:solidFill>
              </a:rPr>
              <a:t>ư</a:t>
            </a:r>
            <a:r>
              <a:rPr lang="en-US" sz="1650">
                <a:solidFill>
                  <a:schemeClr val="accent5">
                    <a:lumMod val="75000"/>
                  </a:schemeClr>
                </a:solidFill>
              </a:rPr>
              <a:t>ơng tôi”</a:t>
            </a:r>
            <a:r>
              <a:rPr lang="vi-VN" sz="1650">
                <a:solidFill>
                  <a:schemeClr val="accent5">
                    <a:lumMod val="75000"/>
                  </a:schemeClr>
                </a:solidFill>
              </a:rPr>
              <a:t>, </a:t>
            </a:r>
            <a:r>
              <a:rPr lang="vi-VN" sz="1650">
                <a:solidFill>
                  <a:schemeClr val="tx1">
                    <a:lumMod val="85000"/>
                    <a:lumOff val="15000"/>
                  </a:schemeClr>
                </a:solidFill>
              </a:rPr>
              <a:t>do ca sĩ </a:t>
            </a:r>
            <a:r>
              <a:rPr lang="en-US" sz="1650">
                <a:solidFill>
                  <a:schemeClr val="accent5">
                    <a:lumMod val="75000"/>
                  </a:schemeClr>
                </a:solidFill>
              </a:rPr>
              <a:t>Tân Nhân</a:t>
            </a:r>
            <a:r>
              <a:rPr lang="vi-VN" sz="1650">
                <a:solidFill>
                  <a:schemeClr val="accent5">
                    <a:lumMod val="75000"/>
                  </a:schemeClr>
                </a:solidFill>
              </a:rPr>
              <a:t> </a:t>
            </a:r>
            <a:r>
              <a:rPr lang="vi-VN" sz="1650">
                <a:solidFill>
                  <a:schemeClr val="tx1">
                    <a:lumMod val="85000"/>
                    <a:lumOff val="15000"/>
                  </a:schemeClr>
                </a:solidFill>
              </a:rPr>
              <a:t>thể hiện</a:t>
            </a:r>
          </a:p>
        </p:txBody>
      </p:sp>
      <p:pic>
        <p:nvPicPr>
          <p:cNvPr id="5" name="Picture 4"/>
          <p:cNvPicPr/>
          <p:nvPr/>
        </p:nvPicPr>
        <p:blipFill rotWithShape="1">
          <a:blip r:embed="rId5">
            <a:extLst>
              <a:ext uri="{28A0092B-C50C-407E-A947-70E740481C1C}">
                <a14:useLocalDpi xmlns:a14="http://schemas.microsoft.com/office/drawing/2010/main" val="0"/>
              </a:ext>
            </a:extLst>
          </a:blip>
          <a:srcRect t="10520"/>
          <a:stretch/>
        </p:blipFill>
        <p:spPr>
          <a:xfrm>
            <a:off x="7301320" y="3007724"/>
            <a:ext cx="1185455" cy="1783080"/>
          </a:xfrm>
          <a:prstGeom prst="rect">
            <a:avLst/>
          </a:prstGeom>
        </p:spPr>
      </p:pic>
    </p:spTree>
    <p:extLst>
      <p:ext uri="{BB962C8B-B14F-4D97-AF65-F5344CB8AC3E}">
        <p14:creationId xmlns:p14="http://schemas.microsoft.com/office/powerpoint/2010/main" val="406816620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33E469B-4F65-44B3-B42A-78384577523C}"/>
              </a:ext>
            </a:extLst>
          </p:cNvPr>
          <p:cNvSpPr txBox="1"/>
          <p:nvPr/>
        </p:nvSpPr>
        <p:spPr>
          <a:xfrm>
            <a:off x="1193169" y="2707291"/>
            <a:ext cx="3145688" cy="923330"/>
          </a:xfrm>
          <a:custGeom>
            <a:avLst/>
            <a:gdLst>
              <a:gd name="connsiteX0" fmla="*/ 0 w 4194251"/>
              <a:gd name="connsiteY0" fmla="*/ 0 h 1200329"/>
              <a:gd name="connsiteX1" fmla="*/ 4194251 w 4194251"/>
              <a:gd name="connsiteY1" fmla="*/ 0 h 1200329"/>
              <a:gd name="connsiteX2" fmla="*/ 4194251 w 4194251"/>
              <a:gd name="connsiteY2" fmla="*/ 1200329 h 1200329"/>
              <a:gd name="connsiteX3" fmla="*/ 0 w 4194251"/>
              <a:gd name="connsiteY3" fmla="*/ 1200329 h 1200329"/>
              <a:gd name="connsiteX4" fmla="*/ 0 w 4194251"/>
              <a:gd name="connsiteY4" fmla="*/ 0 h 12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4251" h="1200329" fill="none" extrusionOk="0">
                <a:moveTo>
                  <a:pt x="0" y="0"/>
                </a:moveTo>
                <a:cubicBezTo>
                  <a:pt x="1466082" y="62944"/>
                  <a:pt x="2109869" y="-143488"/>
                  <a:pt x="4194251" y="0"/>
                </a:cubicBezTo>
                <a:cubicBezTo>
                  <a:pt x="4143969" y="397692"/>
                  <a:pt x="4204264" y="880727"/>
                  <a:pt x="4194251" y="1200329"/>
                </a:cubicBezTo>
                <a:cubicBezTo>
                  <a:pt x="2812914" y="1335847"/>
                  <a:pt x="1534721" y="1290224"/>
                  <a:pt x="0" y="1200329"/>
                </a:cubicBezTo>
                <a:cubicBezTo>
                  <a:pt x="105131" y="710805"/>
                  <a:pt x="87262" y="150547"/>
                  <a:pt x="0" y="0"/>
                </a:cubicBezTo>
                <a:close/>
              </a:path>
              <a:path w="4194251" h="1200329" stroke="0" extrusionOk="0">
                <a:moveTo>
                  <a:pt x="0" y="0"/>
                </a:moveTo>
                <a:cubicBezTo>
                  <a:pt x="1729871" y="-9158"/>
                  <a:pt x="2630131" y="121975"/>
                  <a:pt x="4194251" y="0"/>
                </a:cubicBezTo>
                <a:cubicBezTo>
                  <a:pt x="4091015" y="272333"/>
                  <a:pt x="4268862" y="807055"/>
                  <a:pt x="4194251" y="1200329"/>
                </a:cubicBezTo>
                <a:cubicBezTo>
                  <a:pt x="2897020" y="1153445"/>
                  <a:pt x="1284892" y="1290189"/>
                  <a:pt x="0" y="1200329"/>
                </a:cubicBezTo>
                <a:cubicBezTo>
                  <a:pt x="53871" y="986482"/>
                  <a:pt x="2334" y="129117"/>
                  <a:pt x="0" y="0"/>
                </a:cubicBezTo>
                <a:close/>
              </a:path>
            </a:pathLst>
          </a:custGeom>
          <a:solidFill>
            <a:schemeClr val="accent5">
              <a:lumMod val="20000"/>
              <a:lumOff val="80000"/>
            </a:schemeClr>
          </a:solidFill>
          <a:ln>
            <a:solidFill>
              <a:schemeClr val="tx1"/>
            </a:solidFill>
            <a:extLst>
              <a:ext uri="{C807C97D-BFC1-408E-A445-0C87EB9F89A2}">
                <ask:lineSketchStyleProps xmlns:ask="http://schemas.microsoft.com/office/drawing/2018/sketchyshapes" xmlns="" sd="3349440333">
                  <a:prstGeom prst="rect">
                    <a:avLst/>
                  </a:prstGeom>
                  <ask:type>
                    <ask:lineSketchCurved/>
                  </ask:type>
                </ask:lineSketchStyleProps>
              </a:ext>
            </a:extLst>
          </a:ln>
        </p:spPr>
        <p:txBody>
          <a:bodyPr wrap="square" rtlCol="0">
            <a:spAutoFit/>
          </a:bodyPr>
          <a:lstStyle/>
          <a:p>
            <a:r>
              <a:rPr lang="en-US" sz="1800" dirty="0">
                <a:solidFill>
                  <a:schemeClr val="tx1">
                    <a:lumMod val="75000"/>
                    <a:lumOff val="25000"/>
                  </a:schemeClr>
                </a:solidFill>
              </a:rPr>
              <a:t>CSDL </a:t>
            </a:r>
            <a:r>
              <a:rPr lang="en-US" sz="1800" dirty="0" err="1">
                <a:solidFill>
                  <a:schemeClr val="tx1">
                    <a:lumMod val="75000"/>
                    <a:lumOff val="25000"/>
                  </a:schemeClr>
                </a:solidFill>
              </a:rPr>
              <a:t>quan</a:t>
            </a:r>
            <a:r>
              <a:rPr lang="en-US" sz="1800" dirty="0">
                <a:solidFill>
                  <a:schemeClr val="tx1">
                    <a:lumMod val="75000"/>
                    <a:lumOff val="25000"/>
                  </a:schemeClr>
                </a:solidFill>
              </a:rPr>
              <a:t> </a:t>
            </a:r>
            <a:r>
              <a:rPr lang="en-US" sz="1800" dirty="0" err="1">
                <a:solidFill>
                  <a:schemeClr val="tx1">
                    <a:lumMod val="75000"/>
                    <a:lumOff val="25000"/>
                  </a:schemeClr>
                </a:solidFill>
              </a:rPr>
              <a:t>hệ</a:t>
            </a:r>
            <a:r>
              <a:rPr lang="en-US" sz="1800" dirty="0">
                <a:solidFill>
                  <a:schemeClr val="tx1">
                    <a:lumMod val="75000"/>
                    <a:lumOff val="25000"/>
                  </a:schemeClr>
                </a:solidFill>
              </a:rPr>
              <a:t> </a:t>
            </a:r>
            <a:r>
              <a:rPr lang="en-US" sz="1800" dirty="0" err="1">
                <a:solidFill>
                  <a:schemeClr val="tx1">
                    <a:lumMod val="75000"/>
                    <a:lumOff val="25000"/>
                  </a:schemeClr>
                </a:solidFill>
              </a:rPr>
              <a:t>là</a:t>
            </a:r>
            <a:r>
              <a:rPr lang="en-US" sz="1800" dirty="0">
                <a:solidFill>
                  <a:schemeClr val="tx1">
                    <a:lumMod val="75000"/>
                    <a:lumOff val="25000"/>
                  </a:schemeClr>
                </a:solidFill>
              </a:rPr>
              <a:t> CSDL l</a:t>
            </a:r>
            <a:r>
              <a:rPr lang="vi-VN" sz="1800" dirty="0">
                <a:solidFill>
                  <a:schemeClr val="tx1">
                    <a:lumMod val="75000"/>
                    <a:lumOff val="25000"/>
                  </a:schemeClr>
                </a:solidFill>
              </a:rPr>
              <a:t>ư</a:t>
            </a:r>
            <a:r>
              <a:rPr lang="en-US" sz="1800" dirty="0">
                <a:solidFill>
                  <a:schemeClr val="tx1">
                    <a:lumMod val="75000"/>
                    <a:lumOff val="25000"/>
                  </a:schemeClr>
                </a:solidFill>
              </a:rPr>
              <a:t>u </a:t>
            </a:r>
            <a:r>
              <a:rPr lang="en-US" sz="1800" dirty="0" err="1">
                <a:solidFill>
                  <a:schemeClr val="tx1">
                    <a:lumMod val="75000"/>
                    <a:lumOff val="25000"/>
                  </a:schemeClr>
                </a:solidFill>
              </a:rPr>
              <a:t>trữ</a:t>
            </a:r>
            <a:r>
              <a:rPr lang="en-US" sz="1800" dirty="0">
                <a:solidFill>
                  <a:schemeClr val="tx1">
                    <a:lumMod val="75000"/>
                    <a:lumOff val="25000"/>
                  </a:schemeClr>
                </a:solidFill>
              </a:rPr>
              <a:t> </a:t>
            </a:r>
            <a:r>
              <a:rPr lang="en-US" sz="1800" dirty="0" err="1">
                <a:solidFill>
                  <a:schemeClr val="tx1">
                    <a:lumMod val="75000"/>
                    <a:lumOff val="25000"/>
                  </a:schemeClr>
                </a:solidFill>
              </a:rPr>
              <a:t>dữ</a:t>
            </a:r>
            <a:r>
              <a:rPr lang="en-US" sz="1800" dirty="0">
                <a:solidFill>
                  <a:schemeClr val="tx1">
                    <a:lumMod val="75000"/>
                    <a:lumOff val="25000"/>
                  </a:schemeClr>
                </a:solidFill>
              </a:rPr>
              <a:t> </a:t>
            </a:r>
            <a:r>
              <a:rPr lang="en-US" sz="1800" dirty="0" err="1">
                <a:solidFill>
                  <a:schemeClr val="tx1">
                    <a:lumMod val="75000"/>
                    <a:lumOff val="25000"/>
                  </a:schemeClr>
                </a:solidFill>
              </a:rPr>
              <a:t>liệu</a:t>
            </a:r>
            <a:r>
              <a:rPr lang="en-US" sz="1800" dirty="0">
                <a:solidFill>
                  <a:schemeClr val="tx1">
                    <a:lumMod val="75000"/>
                    <a:lumOff val="25000"/>
                  </a:schemeClr>
                </a:solidFill>
              </a:rPr>
              <a:t> d</a:t>
            </a:r>
            <a:r>
              <a:rPr lang="vi-VN" sz="1800" dirty="0">
                <a:solidFill>
                  <a:schemeClr val="tx1">
                    <a:lumMod val="75000"/>
                    <a:lumOff val="25000"/>
                  </a:schemeClr>
                </a:solidFill>
              </a:rPr>
              <a:t>ư</a:t>
            </a:r>
            <a:r>
              <a:rPr lang="en-US" sz="1800" dirty="0" err="1">
                <a:solidFill>
                  <a:schemeClr val="tx1">
                    <a:lumMod val="75000"/>
                    <a:lumOff val="25000"/>
                  </a:schemeClr>
                </a:solidFill>
              </a:rPr>
              <a:t>ới</a:t>
            </a:r>
            <a:r>
              <a:rPr lang="en-US" sz="1800" dirty="0">
                <a:solidFill>
                  <a:schemeClr val="tx1">
                    <a:lumMod val="75000"/>
                    <a:lumOff val="25000"/>
                  </a:schemeClr>
                </a:solidFill>
              </a:rPr>
              <a:t> </a:t>
            </a:r>
            <a:r>
              <a:rPr lang="en-US" sz="1800" dirty="0" err="1">
                <a:solidFill>
                  <a:schemeClr val="tx1">
                    <a:lumMod val="75000"/>
                    <a:lumOff val="25000"/>
                  </a:schemeClr>
                </a:solidFill>
              </a:rPr>
              <a:t>dạng</a:t>
            </a:r>
            <a:r>
              <a:rPr lang="en-US" sz="1800" dirty="0">
                <a:solidFill>
                  <a:schemeClr val="tx1">
                    <a:lumMod val="75000"/>
                    <a:lumOff val="25000"/>
                  </a:schemeClr>
                </a:solidFill>
              </a:rPr>
              <a:t> </a:t>
            </a:r>
            <a:r>
              <a:rPr lang="en-US" sz="1800" dirty="0" err="1">
                <a:solidFill>
                  <a:schemeClr val="tx1">
                    <a:lumMod val="75000"/>
                    <a:lumOff val="25000"/>
                  </a:schemeClr>
                </a:solidFill>
              </a:rPr>
              <a:t>các</a:t>
            </a:r>
            <a:r>
              <a:rPr lang="en-US" sz="1800" dirty="0">
                <a:solidFill>
                  <a:schemeClr val="tx1">
                    <a:lumMod val="75000"/>
                    <a:lumOff val="25000"/>
                  </a:schemeClr>
                </a:solidFill>
              </a:rPr>
              <a:t> </a:t>
            </a:r>
            <a:r>
              <a:rPr lang="en-US" sz="1800" dirty="0" err="1">
                <a:solidFill>
                  <a:schemeClr val="tx1">
                    <a:lumMod val="75000"/>
                    <a:lumOff val="25000"/>
                  </a:schemeClr>
                </a:solidFill>
              </a:rPr>
              <a:t>bảng</a:t>
            </a:r>
            <a:r>
              <a:rPr lang="en-US" sz="1800" dirty="0">
                <a:solidFill>
                  <a:schemeClr val="tx1">
                    <a:lumMod val="75000"/>
                    <a:lumOff val="25000"/>
                  </a:schemeClr>
                </a:solidFill>
              </a:rPr>
              <a:t> </a:t>
            </a:r>
            <a:r>
              <a:rPr lang="en-US" sz="1800" dirty="0" err="1">
                <a:solidFill>
                  <a:schemeClr val="tx1">
                    <a:lumMod val="75000"/>
                    <a:lumOff val="25000"/>
                  </a:schemeClr>
                </a:solidFill>
              </a:rPr>
              <a:t>có</a:t>
            </a:r>
            <a:r>
              <a:rPr lang="en-US" sz="1800" dirty="0">
                <a:solidFill>
                  <a:schemeClr val="tx1">
                    <a:lumMod val="75000"/>
                    <a:lumOff val="25000"/>
                  </a:schemeClr>
                </a:solidFill>
              </a:rPr>
              <a:t> </a:t>
            </a:r>
            <a:r>
              <a:rPr lang="en-US" sz="1800" dirty="0" err="1">
                <a:solidFill>
                  <a:schemeClr val="tx1">
                    <a:lumMod val="75000"/>
                    <a:lumOff val="25000"/>
                  </a:schemeClr>
                </a:solidFill>
              </a:rPr>
              <a:t>quan</a:t>
            </a:r>
            <a:r>
              <a:rPr lang="en-US" sz="1800" dirty="0">
                <a:solidFill>
                  <a:schemeClr val="tx1">
                    <a:lumMod val="75000"/>
                    <a:lumOff val="25000"/>
                  </a:schemeClr>
                </a:solidFill>
              </a:rPr>
              <a:t> </a:t>
            </a:r>
            <a:r>
              <a:rPr lang="en-US" sz="1800" dirty="0" err="1">
                <a:solidFill>
                  <a:schemeClr val="tx1">
                    <a:lumMod val="75000"/>
                    <a:lumOff val="25000"/>
                  </a:schemeClr>
                </a:solidFill>
              </a:rPr>
              <a:t>hệ</a:t>
            </a:r>
            <a:r>
              <a:rPr lang="en-US" sz="1800" dirty="0">
                <a:solidFill>
                  <a:schemeClr val="tx1">
                    <a:lumMod val="75000"/>
                    <a:lumOff val="25000"/>
                  </a:schemeClr>
                </a:solidFill>
              </a:rPr>
              <a:t> </a:t>
            </a:r>
            <a:r>
              <a:rPr lang="en-US" sz="1800" dirty="0" err="1">
                <a:solidFill>
                  <a:schemeClr val="tx1">
                    <a:lumMod val="75000"/>
                    <a:lumOff val="25000"/>
                  </a:schemeClr>
                </a:solidFill>
              </a:rPr>
              <a:t>với</a:t>
            </a:r>
            <a:r>
              <a:rPr lang="en-US" sz="1800" dirty="0">
                <a:solidFill>
                  <a:schemeClr val="tx1">
                    <a:lumMod val="75000"/>
                    <a:lumOff val="25000"/>
                  </a:schemeClr>
                </a:solidFill>
              </a:rPr>
              <a:t> </a:t>
            </a:r>
            <a:r>
              <a:rPr lang="en-US" sz="1800" dirty="0" err="1">
                <a:solidFill>
                  <a:schemeClr val="tx1">
                    <a:lumMod val="75000"/>
                    <a:lumOff val="25000"/>
                  </a:schemeClr>
                </a:solidFill>
              </a:rPr>
              <a:t>nhau</a:t>
            </a:r>
            <a:endParaRPr lang="vi-VN" sz="1800" dirty="0">
              <a:solidFill>
                <a:schemeClr val="tx1">
                  <a:lumMod val="75000"/>
                  <a:lumOff val="25000"/>
                </a:schemeClr>
              </a:solidFill>
            </a:endParaRPr>
          </a:p>
        </p:txBody>
      </p:sp>
      <p:sp>
        <p:nvSpPr>
          <p:cNvPr id="6" name="Title 8">
            <a:extLst>
              <a:ext uri="{FF2B5EF4-FFF2-40B4-BE49-F238E27FC236}">
                <a16:creationId xmlns:a16="http://schemas.microsoft.com/office/drawing/2014/main" id="{897AF51D-BB43-409C-BB87-16F46173CAE7}"/>
              </a:ext>
            </a:extLst>
          </p:cNvPr>
          <p:cNvSpPr>
            <a:spLocks noGrp="1"/>
          </p:cNvSpPr>
          <p:nvPr>
            <p:ph type="title"/>
          </p:nvPr>
        </p:nvSpPr>
        <p:spPr>
          <a:xfrm>
            <a:off x="1" y="0"/>
            <a:ext cx="4114800" cy="966505"/>
          </a:xfrm>
        </p:spPr>
        <p:txBody>
          <a:bodyPr>
            <a:normAutofit fontScale="90000"/>
          </a:bodyPr>
          <a:lstStyle/>
          <a:p>
            <a:pPr algn="ctr"/>
            <a:r>
              <a:rPr lang="en-US" dirty="0"/>
              <a:t>1. </a:t>
            </a:r>
            <a:r>
              <a:rPr lang="en-US" dirty="0" err="1"/>
              <a:t>Khái</a:t>
            </a:r>
            <a:r>
              <a:rPr lang="en-US" dirty="0"/>
              <a:t> </a:t>
            </a:r>
            <a:r>
              <a:rPr lang="en-US" dirty="0" err="1"/>
              <a:t>niệm</a:t>
            </a:r>
            <a:r>
              <a:rPr lang="en-US" dirty="0"/>
              <a:t> CSDL </a:t>
            </a:r>
            <a:r>
              <a:rPr lang="en-US" dirty="0" err="1"/>
              <a:t>quan</a:t>
            </a:r>
            <a:r>
              <a:rPr lang="en-US" dirty="0"/>
              <a:t> </a:t>
            </a:r>
            <a:r>
              <a:rPr lang="en-US" dirty="0" err="1"/>
              <a:t>hệ</a:t>
            </a:r>
            <a:endParaRPr lang="en-US" dirty="0"/>
          </a:p>
        </p:txBody>
      </p:sp>
      <p:pic>
        <p:nvPicPr>
          <p:cNvPr id="2" name="Picture 1">
            <a:extLst>
              <a:ext uri="{FF2B5EF4-FFF2-40B4-BE49-F238E27FC236}">
                <a16:creationId xmlns:a16="http://schemas.microsoft.com/office/drawing/2014/main" id="{9CFF5AA7-568F-4189-BD8A-677505DB2CD8}"/>
              </a:ext>
            </a:extLst>
          </p:cNvPr>
          <p:cNvPicPr>
            <a:picLocks noChangeAspect="1"/>
          </p:cNvPicPr>
          <p:nvPr/>
        </p:nvPicPr>
        <p:blipFill>
          <a:blip r:embed="rId4"/>
          <a:stretch>
            <a:fillRect/>
          </a:stretch>
        </p:blipFill>
        <p:spPr>
          <a:xfrm>
            <a:off x="5004265" y="2571751"/>
            <a:ext cx="4055716" cy="2514818"/>
          </a:xfrm>
          <a:prstGeom prst="rect">
            <a:avLst/>
          </a:prstGeom>
        </p:spPr>
      </p:pic>
      <p:pic>
        <p:nvPicPr>
          <p:cNvPr id="7" name="Picture 6">
            <a:extLst>
              <a:ext uri="{FF2B5EF4-FFF2-40B4-BE49-F238E27FC236}">
                <a16:creationId xmlns:a16="http://schemas.microsoft.com/office/drawing/2014/main" id="{D4FE1B75-6030-496A-8789-8634C671C3A2}"/>
              </a:ext>
            </a:extLst>
          </p:cNvPr>
          <p:cNvPicPr>
            <a:picLocks noChangeAspect="1"/>
          </p:cNvPicPr>
          <p:nvPr/>
        </p:nvPicPr>
        <p:blipFill>
          <a:blip r:embed="rId5"/>
          <a:stretch>
            <a:fillRect/>
          </a:stretch>
        </p:blipFill>
        <p:spPr>
          <a:xfrm>
            <a:off x="5164298" y="243894"/>
            <a:ext cx="3735648" cy="2158171"/>
          </a:xfrm>
          <a:prstGeom prst="rect">
            <a:avLst/>
          </a:prstGeom>
        </p:spPr>
      </p:pic>
      <p:grpSp>
        <p:nvGrpSpPr>
          <p:cNvPr id="8" name="Confrontation" descr="{&quot;Key&quot;:&quot;POWER_USER_SHAPE_ICON&quot;,&quot;Value&quot;:&quot;POWER_USER_SHAPE_ICON_STYLE_1&quot;}">
            <a:extLst>
              <a:ext uri="{FF2B5EF4-FFF2-40B4-BE49-F238E27FC236}">
                <a16:creationId xmlns:a16="http://schemas.microsoft.com/office/drawing/2014/main" id="{94CD9153-57DC-4F01-9B0F-6317306790D8}"/>
              </a:ext>
            </a:extLst>
          </p:cNvPr>
          <p:cNvGrpSpPr>
            <a:grpSpLocks noChangeAspect="1"/>
          </p:cNvGrpSpPr>
          <p:nvPr>
            <p:custDataLst>
              <p:tags r:id="rId1"/>
            </p:custDataLst>
          </p:nvPr>
        </p:nvGrpSpPr>
        <p:grpSpPr>
          <a:xfrm>
            <a:off x="169428" y="2871064"/>
            <a:ext cx="782504" cy="736475"/>
            <a:chOff x="6764338" y="5940425"/>
            <a:chExt cx="782637" cy="736601"/>
          </a:xfrm>
          <a:noFill/>
        </p:grpSpPr>
        <p:sp>
          <p:nvSpPr>
            <p:cNvPr id="9" name="Freeform 31">
              <a:extLst>
                <a:ext uri="{FF2B5EF4-FFF2-40B4-BE49-F238E27FC236}">
                  <a16:creationId xmlns:a16="http://schemas.microsoft.com/office/drawing/2014/main" id="{B982F085-AD13-4883-81A6-FF65DA627155}"/>
                </a:ext>
              </a:extLst>
            </p:cNvPr>
            <p:cNvSpPr>
              <a:spLocks/>
            </p:cNvSpPr>
            <p:nvPr/>
          </p:nvSpPr>
          <p:spPr bwMode="auto">
            <a:xfrm>
              <a:off x="6935788" y="6016625"/>
              <a:ext cx="95250" cy="112713"/>
            </a:xfrm>
            <a:custGeom>
              <a:avLst/>
              <a:gdLst>
                <a:gd name="T0" fmla="*/ 112 w 123"/>
                <a:gd name="T1" fmla="*/ 141 h 147"/>
                <a:gd name="T2" fmla="*/ 119 w 123"/>
                <a:gd name="T3" fmla="*/ 119 h 147"/>
                <a:gd name="T4" fmla="*/ 47 w 123"/>
                <a:gd name="T5" fmla="*/ 14 h 147"/>
                <a:gd name="T6" fmla="*/ 13 w 123"/>
                <a:gd name="T7" fmla="*/ 9 h 147"/>
                <a:gd name="T8" fmla="*/ 8 w 123"/>
                <a:gd name="T9" fmla="*/ 43 h 147"/>
                <a:gd name="T10" fmla="*/ 89 w 123"/>
                <a:gd name="T11" fmla="*/ 141 h 147"/>
                <a:gd name="T12" fmla="*/ 112 w 123"/>
                <a:gd name="T13" fmla="*/ 141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112" y="141"/>
                  </a:moveTo>
                  <a:cubicBezTo>
                    <a:pt x="120" y="135"/>
                    <a:pt x="123" y="125"/>
                    <a:pt x="119" y="119"/>
                  </a:cubicBezTo>
                  <a:lnTo>
                    <a:pt x="47" y="14"/>
                  </a:lnTo>
                  <a:cubicBezTo>
                    <a:pt x="40" y="3"/>
                    <a:pt x="25" y="0"/>
                    <a:pt x="13" y="9"/>
                  </a:cubicBezTo>
                  <a:cubicBezTo>
                    <a:pt x="2" y="17"/>
                    <a:pt x="0" y="33"/>
                    <a:pt x="8" y="43"/>
                  </a:cubicBezTo>
                  <a:lnTo>
                    <a:pt x="89" y="141"/>
                  </a:lnTo>
                  <a:cubicBezTo>
                    <a:pt x="94" y="147"/>
                    <a:pt x="104" y="146"/>
                    <a:pt x="112" y="141"/>
                  </a:cubicBez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10" name="Freeform 32">
              <a:extLst>
                <a:ext uri="{FF2B5EF4-FFF2-40B4-BE49-F238E27FC236}">
                  <a16:creationId xmlns:a16="http://schemas.microsoft.com/office/drawing/2014/main" id="{F481ECE7-73FF-4411-BFCB-7731F02FAC01}"/>
                </a:ext>
              </a:extLst>
            </p:cNvPr>
            <p:cNvSpPr>
              <a:spLocks/>
            </p:cNvSpPr>
            <p:nvPr/>
          </p:nvSpPr>
          <p:spPr bwMode="auto">
            <a:xfrm>
              <a:off x="7065963" y="5962650"/>
              <a:ext cx="46038" cy="127000"/>
            </a:xfrm>
            <a:custGeom>
              <a:avLst/>
              <a:gdLst>
                <a:gd name="T0" fmla="*/ 24 w 60"/>
                <a:gd name="T1" fmla="*/ 1 h 166"/>
                <a:gd name="T2" fmla="*/ 3 w 60"/>
                <a:gd name="T3" fmla="*/ 28 h 166"/>
                <a:gd name="T4" fmla="*/ 23 w 60"/>
                <a:gd name="T5" fmla="*/ 154 h 166"/>
                <a:gd name="T6" fmla="*/ 42 w 60"/>
                <a:gd name="T7" fmla="*/ 165 h 166"/>
                <a:gd name="T8" fmla="*/ 59 w 60"/>
                <a:gd name="T9" fmla="*/ 150 h 166"/>
                <a:gd name="T10" fmla="*/ 51 w 60"/>
                <a:gd name="T11" fmla="*/ 23 h 166"/>
                <a:gd name="T12" fmla="*/ 24 w 60"/>
                <a:gd name="T13" fmla="*/ 1 h 166"/>
              </a:gdLst>
              <a:ahLst/>
              <a:cxnLst>
                <a:cxn ang="0">
                  <a:pos x="T0" y="T1"/>
                </a:cxn>
                <a:cxn ang="0">
                  <a:pos x="T2" y="T3"/>
                </a:cxn>
                <a:cxn ang="0">
                  <a:pos x="T4" y="T5"/>
                </a:cxn>
                <a:cxn ang="0">
                  <a:pos x="T6" y="T7"/>
                </a:cxn>
                <a:cxn ang="0">
                  <a:pos x="T8" y="T9"/>
                </a:cxn>
                <a:cxn ang="0">
                  <a:pos x="T10" y="T11"/>
                </a:cxn>
                <a:cxn ang="0">
                  <a:pos x="T12" y="T13"/>
                </a:cxn>
              </a:cxnLst>
              <a:rect l="0" t="0" r="r" b="b"/>
              <a:pathLst>
                <a:path w="60" h="166">
                  <a:moveTo>
                    <a:pt x="24" y="1"/>
                  </a:moveTo>
                  <a:cubicBezTo>
                    <a:pt x="10" y="3"/>
                    <a:pt x="0" y="15"/>
                    <a:pt x="3" y="28"/>
                  </a:cubicBezTo>
                  <a:lnTo>
                    <a:pt x="23" y="154"/>
                  </a:lnTo>
                  <a:cubicBezTo>
                    <a:pt x="24" y="161"/>
                    <a:pt x="33" y="166"/>
                    <a:pt x="42" y="165"/>
                  </a:cubicBezTo>
                  <a:cubicBezTo>
                    <a:pt x="52" y="164"/>
                    <a:pt x="60" y="157"/>
                    <a:pt x="59" y="150"/>
                  </a:cubicBezTo>
                  <a:lnTo>
                    <a:pt x="51" y="23"/>
                  </a:lnTo>
                  <a:cubicBezTo>
                    <a:pt x="50" y="10"/>
                    <a:pt x="38" y="0"/>
                    <a:pt x="24" y="1"/>
                  </a:cubicBez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11" name="Freeform 33">
              <a:extLst>
                <a:ext uri="{FF2B5EF4-FFF2-40B4-BE49-F238E27FC236}">
                  <a16:creationId xmlns:a16="http://schemas.microsoft.com/office/drawing/2014/main" id="{12B06BB5-D1E3-41D3-9A3C-286C879C76B0}"/>
                </a:ext>
              </a:extLst>
            </p:cNvPr>
            <p:cNvSpPr>
              <a:spLocks/>
            </p:cNvSpPr>
            <p:nvPr/>
          </p:nvSpPr>
          <p:spPr bwMode="auto">
            <a:xfrm>
              <a:off x="6845300" y="6126163"/>
              <a:ext cx="123825" cy="69850"/>
            </a:xfrm>
            <a:custGeom>
              <a:avLst/>
              <a:gdLst>
                <a:gd name="T0" fmla="*/ 35 w 162"/>
                <a:gd name="T1" fmla="*/ 5 h 91"/>
                <a:gd name="T2" fmla="*/ 4 w 162"/>
                <a:gd name="T3" fmla="*/ 20 h 91"/>
                <a:gd name="T4" fmla="*/ 19 w 162"/>
                <a:gd name="T5" fmla="*/ 51 h 91"/>
                <a:gd name="T6" fmla="*/ 141 w 162"/>
                <a:gd name="T7" fmla="*/ 89 h 91"/>
                <a:gd name="T8" fmla="*/ 159 w 162"/>
                <a:gd name="T9" fmla="*/ 76 h 91"/>
                <a:gd name="T10" fmla="*/ 153 w 162"/>
                <a:gd name="T11" fmla="*/ 54 h 91"/>
                <a:gd name="T12" fmla="*/ 35 w 162"/>
                <a:gd name="T13" fmla="*/ 5 h 91"/>
              </a:gdLst>
              <a:ahLst/>
              <a:cxnLst>
                <a:cxn ang="0">
                  <a:pos x="T0" y="T1"/>
                </a:cxn>
                <a:cxn ang="0">
                  <a:pos x="T2" y="T3"/>
                </a:cxn>
                <a:cxn ang="0">
                  <a:pos x="T4" y="T5"/>
                </a:cxn>
                <a:cxn ang="0">
                  <a:pos x="T6" y="T7"/>
                </a:cxn>
                <a:cxn ang="0">
                  <a:pos x="T8" y="T9"/>
                </a:cxn>
                <a:cxn ang="0">
                  <a:pos x="T10" y="T11"/>
                </a:cxn>
                <a:cxn ang="0">
                  <a:pos x="T12" y="T13"/>
                </a:cxn>
              </a:cxnLst>
              <a:rect l="0" t="0" r="r" b="b"/>
              <a:pathLst>
                <a:path w="162" h="91">
                  <a:moveTo>
                    <a:pt x="35" y="5"/>
                  </a:moveTo>
                  <a:cubicBezTo>
                    <a:pt x="24" y="0"/>
                    <a:pt x="9" y="6"/>
                    <a:pt x="4" y="20"/>
                  </a:cubicBezTo>
                  <a:cubicBezTo>
                    <a:pt x="0" y="33"/>
                    <a:pt x="6" y="47"/>
                    <a:pt x="19" y="51"/>
                  </a:cubicBezTo>
                  <a:lnTo>
                    <a:pt x="141" y="89"/>
                  </a:lnTo>
                  <a:cubicBezTo>
                    <a:pt x="148" y="91"/>
                    <a:pt x="156" y="85"/>
                    <a:pt x="159" y="76"/>
                  </a:cubicBezTo>
                  <a:cubicBezTo>
                    <a:pt x="162" y="67"/>
                    <a:pt x="160" y="57"/>
                    <a:pt x="153" y="54"/>
                  </a:cubicBezTo>
                  <a:lnTo>
                    <a:pt x="35" y="5"/>
                  </a:lnTo>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12" name="Freeform 34">
              <a:extLst>
                <a:ext uri="{FF2B5EF4-FFF2-40B4-BE49-F238E27FC236}">
                  <a16:creationId xmlns:a16="http://schemas.microsoft.com/office/drawing/2014/main" id="{6044EAFB-7649-42BC-9375-E6DA97B05B37}"/>
                </a:ext>
              </a:extLst>
            </p:cNvPr>
            <p:cNvSpPr>
              <a:spLocks/>
            </p:cNvSpPr>
            <p:nvPr/>
          </p:nvSpPr>
          <p:spPr bwMode="auto">
            <a:xfrm>
              <a:off x="7281863" y="6475413"/>
              <a:ext cx="93663" cy="112713"/>
            </a:xfrm>
            <a:custGeom>
              <a:avLst/>
              <a:gdLst>
                <a:gd name="T0" fmla="*/ 34 w 123"/>
                <a:gd name="T1" fmla="*/ 5 h 147"/>
                <a:gd name="T2" fmla="*/ 12 w 123"/>
                <a:gd name="T3" fmla="*/ 6 h 147"/>
                <a:gd name="T4" fmla="*/ 4 w 123"/>
                <a:gd name="T5" fmla="*/ 28 h 147"/>
                <a:gd name="T6" fmla="*/ 76 w 123"/>
                <a:gd name="T7" fmla="*/ 133 h 147"/>
                <a:gd name="T8" fmla="*/ 110 w 123"/>
                <a:gd name="T9" fmla="*/ 138 h 147"/>
                <a:gd name="T10" fmla="*/ 115 w 123"/>
                <a:gd name="T11" fmla="*/ 104 h 147"/>
                <a:gd name="T12" fmla="*/ 34 w 123"/>
                <a:gd name="T13" fmla="*/ 5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34" y="5"/>
                  </a:moveTo>
                  <a:cubicBezTo>
                    <a:pt x="29" y="0"/>
                    <a:pt x="19" y="1"/>
                    <a:pt x="12" y="6"/>
                  </a:cubicBezTo>
                  <a:cubicBezTo>
                    <a:pt x="4" y="12"/>
                    <a:pt x="0" y="22"/>
                    <a:pt x="4" y="28"/>
                  </a:cubicBezTo>
                  <a:lnTo>
                    <a:pt x="76" y="133"/>
                  </a:lnTo>
                  <a:cubicBezTo>
                    <a:pt x="83" y="144"/>
                    <a:pt x="99" y="147"/>
                    <a:pt x="110" y="138"/>
                  </a:cubicBezTo>
                  <a:cubicBezTo>
                    <a:pt x="121" y="130"/>
                    <a:pt x="123" y="114"/>
                    <a:pt x="115" y="104"/>
                  </a:cubicBezTo>
                  <a:lnTo>
                    <a:pt x="34" y="5"/>
                  </a:ln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13" name="Freeform 35">
              <a:extLst>
                <a:ext uri="{FF2B5EF4-FFF2-40B4-BE49-F238E27FC236}">
                  <a16:creationId xmlns:a16="http://schemas.microsoft.com/office/drawing/2014/main" id="{D4F62B2C-8229-4562-B58A-9D28F133BF9B}"/>
                </a:ext>
              </a:extLst>
            </p:cNvPr>
            <p:cNvSpPr>
              <a:spLocks/>
            </p:cNvSpPr>
            <p:nvPr/>
          </p:nvSpPr>
          <p:spPr bwMode="auto">
            <a:xfrm>
              <a:off x="7200900" y="6515100"/>
              <a:ext cx="44450" cy="127000"/>
            </a:xfrm>
            <a:custGeom>
              <a:avLst/>
              <a:gdLst>
                <a:gd name="T0" fmla="*/ 37 w 59"/>
                <a:gd name="T1" fmla="*/ 12 h 166"/>
                <a:gd name="T2" fmla="*/ 17 w 59"/>
                <a:gd name="T3" fmla="*/ 1 h 166"/>
                <a:gd name="T4" fmla="*/ 0 w 59"/>
                <a:gd name="T5" fmla="*/ 16 h 166"/>
                <a:gd name="T6" fmla="*/ 9 w 59"/>
                <a:gd name="T7" fmla="*/ 143 h 166"/>
                <a:gd name="T8" fmla="*/ 35 w 59"/>
                <a:gd name="T9" fmla="*/ 165 h 166"/>
                <a:gd name="T10" fmla="*/ 57 w 59"/>
                <a:gd name="T11" fmla="*/ 138 h 166"/>
                <a:gd name="T12" fmla="*/ 37 w 59"/>
                <a:gd name="T13" fmla="*/ 12 h 166"/>
              </a:gdLst>
              <a:ahLst/>
              <a:cxnLst>
                <a:cxn ang="0">
                  <a:pos x="T0" y="T1"/>
                </a:cxn>
                <a:cxn ang="0">
                  <a:pos x="T2" y="T3"/>
                </a:cxn>
                <a:cxn ang="0">
                  <a:pos x="T4" y="T5"/>
                </a:cxn>
                <a:cxn ang="0">
                  <a:pos x="T6" y="T7"/>
                </a:cxn>
                <a:cxn ang="0">
                  <a:pos x="T8" y="T9"/>
                </a:cxn>
                <a:cxn ang="0">
                  <a:pos x="T10" y="T11"/>
                </a:cxn>
                <a:cxn ang="0">
                  <a:pos x="T12" y="T13"/>
                </a:cxn>
              </a:cxnLst>
              <a:rect l="0" t="0" r="r" b="b"/>
              <a:pathLst>
                <a:path w="59" h="166">
                  <a:moveTo>
                    <a:pt x="37" y="12"/>
                  </a:moveTo>
                  <a:cubicBezTo>
                    <a:pt x="36" y="5"/>
                    <a:pt x="27" y="0"/>
                    <a:pt x="17" y="1"/>
                  </a:cubicBezTo>
                  <a:cubicBezTo>
                    <a:pt x="7" y="2"/>
                    <a:pt x="0" y="9"/>
                    <a:pt x="0" y="16"/>
                  </a:cubicBezTo>
                  <a:lnTo>
                    <a:pt x="9" y="143"/>
                  </a:lnTo>
                  <a:cubicBezTo>
                    <a:pt x="9" y="156"/>
                    <a:pt x="21" y="166"/>
                    <a:pt x="35" y="165"/>
                  </a:cubicBezTo>
                  <a:cubicBezTo>
                    <a:pt x="50" y="163"/>
                    <a:pt x="59" y="151"/>
                    <a:pt x="57" y="138"/>
                  </a:cubicBezTo>
                  <a:lnTo>
                    <a:pt x="37" y="12"/>
                  </a:ln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14" name="Freeform 36">
              <a:extLst>
                <a:ext uri="{FF2B5EF4-FFF2-40B4-BE49-F238E27FC236}">
                  <a16:creationId xmlns:a16="http://schemas.microsoft.com/office/drawing/2014/main" id="{C5BE3D00-002A-43F0-ADF1-8CB17192CC3B}"/>
                </a:ext>
              </a:extLst>
            </p:cNvPr>
            <p:cNvSpPr>
              <a:spLocks/>
            </p:cNvSpPr>
            <p:nvPr/>
          </p:nvSpPr>
          <p:spPr bwMode="auto">
            <a:xfrm>
              <a:off x="7342188" y="6408738"/>
              <a:ext cx="125413" cy="69850"/>
            </a:xfrm>
            <a:custGeom>
              <a:avLst/>
              <a:gdLst>
                <a:gd name="T0" fmla="*/ 144 w 163"/>
                <a:gd name="T1" fmla="*/ 40 h 91"/>
                <a:gd name="T2" fmla="*/ 22 w 163"/>
                <a:gd name="T3" fmla="*/ 2 h 91"/>
                <a:gd name="T4" fmla="*/ 3 w 163"/>
                <a:gd name="T5" fmla="*/ 15 h 91"/>
                <a:gd name="T6" fmla="*/ 9 w 163"/>
                <a:gd name="T7" fmla="*/ 37 h 91"/>
                <a:gd name="T8" fmla="*/ 127 w 163"/>
                <a:gd name="T9" fmla="*/ 86 h 91"/>
                <a:gd name="T10" fmla="*/ 158 w 163"/>
                <a:gd name="T11" fmla="*/ 71 h 91"/>
                <a:gd name="T12" fmla="*/ 144 w 163"/>
                <a:gd name="T13" fmla="*/ 40 h 91"/>
              </a:gdLst>
              <a:ahLst/>
              <a:cxnLst>
                <a:cxn ang="0">
                  <a:pos x="T0" y="T1"/>
                </a:cxn>
                <a:cxn ang="0">
                  <a:pos x="T2" y="T3"/>
                </a:cxn>
                <a:cxn ang="0">
                  <a:pos x="T4" y="T5"/>
                </a:cxn>
                <a:cxn ang="0">
                  <a:pos x="T6" y="T7"/>
                </a:cxn>
                <a:cxn ang="0">
                  <a:pos x="T8" y="T9"/>
                </a:cxn>
                <a:cxn ang="0">
                  <a:pos x="T10" y="T11"/>
                </a:cxn>
                <a:cxn ang="0">
                  <a:pos x="T12" y="T13"/>
                </a:cxn>
              </a:cxnLst>
              <a:rect l="0" t="0" r="r" b="b"/>
              <a:pathLst>
                <a:path w="163" h="91">
                  <a:moveTo>
                    <a:pt x="144" y="40"/>
                  </a:moveTo>
                  <a:lnTo>
                    <a:pt x="22" y="2"/>
                  </a:lnTo>
                  <a:cubicBezTo>
                    <a:pt x="15" y="0"/>
                    <a:pt x="7" y="6"/>
                    <a:pt x="3" y="15"/>
                  </a:cubicBezTo>
                  <a:cubicBezTo>
                    <a:pt x="0" y="24"/>
                    <a:pt x="2" y="34"/>
                    <a:pt x="9" y="37"/>
                  </a:cubicBezTo>
                  <a:lnTo>
                    <a:pt x="127" y="86"/>
                  </a:lnTo>
                  <a:cubicBezTo>
                    <a:pt x="139" y="91"/>
                    <a:pt x="153" y="85"/>
                    <a:pt x="158" y="71"/>
                  </a:cubicBezTo>
                  <a:cubicBezTo>
                    <a:pt x="163" y="58"/>
                    <a:pt x="156" y="44"/>
                    <a:pt x="144" y="40"/>
                  </a:cubicBezTo>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15" name="Freeform 37">
              <a:extLst>
                <a:ext uri="{FF2B5EF4-FFF2-40B4-BE49-F238E27FC236}">
                  <a16:creationId xmlns:a16="http://schemas.microsoft.com/office/drawing/2014/main" id="{7B857553-22D9-45B2-AEF6-FE4C2A378FBA}"/>
                </a:ext>
              </a:extLst>
            </p:cNvPr>
            <p:cNvSpPr>
              <a:spLocks/>
            </p:cNvSpPr>
            <p:nvPr/>
          </p:nvSpPr>
          <p:spPr bwMode="auto">
            <a:xfrm>
              <a:off x="6764338" y="6221413"/>
              <a:ext cx="433388" cy="455613"/>
            </a:xfrm>
            <a:custGeom>
              <a:avLst/>
              <a:gdLst>
                <a:gd name="T0" fmla="*/ 502 w 568"/>
                <a:gd name="T1" fmla="*/ 285 h 598"/>
                <a:gd name="T2" fmla="*/ 519 w 568"/>
                <a:gd name="T3" fmla="*/ 267 h 598"/>
                <a:gd name="T4" fmla="*/ 519 w 568"/>
                <a:gd name="T5" fmla="*/ 192 h 598"/>
                <a:gd name="T6" fmla="*/ 455 w 568"/>
                <a:gd name="T7" fmla="*/ 184 h 598"/>
                <a:gd name="T8" fmla="*/ 463 w 568"/>
                <a:gd name="T9" fmla="*/ 100 h 598"/>
                <a:gd name="T10" fmla="*/ 393 w 568"/>
                <a:gd name="T11" fmla="*/ 95 h 598"/>
                <a:gd name="T12" fmla="*/ 392 w 568"/>
                <a:gd name="T13" fmla="*/ 21 h 598"/>
                <a:gd name="T14" fmla="*/ 317 w 568"/>
                <a:gd name="T15" fmla="*/ 21 h 598"/>
                <a:gd name="T16" fmla="*/ 205 w 568"/>
                <a:gd name="T17" fmla="*/ 132 h 598"/>
                <a:gd name="T18" fmla="*/ 205 w 568"/>
                <a:gd name="T19" fmla="*/ 69 h 598"/>
                <a:gd name="T20" fmla="*/ 236 w 568"/>
                <a:gd name="T21" fmla="*/ 38 h 598"/>
                <a:gd name="T22" fmla="*/ 112 w 568"/>
                <a:gd name="T23" fmla="*/ 93 h 598"/>
                <a:gd name="T24" fmla="*/ 79 w 568"/>
                <a:gd name="T25" fmla="*/ 311 h 598"/>
                <a:gd name="T26" fmla="*/ 0 w 568"/>
                <a:gd name="T27" fmla="*/ 390 h 598"/>
                <a:gd name="T28" fmla="*/ 209 w 568"/>
                <a:gd name="T29" fmla="*/ 598 h 598"/>
                <a:gd name="T30" fmla="*/ 279 w 568"/>
                <a:gd name="T31" fmla="*/ 528 h 598"/>
                <a:gd name="T32" fmla="*/ 434 w 568"/>
                <a:gd name="T33" fmla="*/ 486 h 598"/>
                <a:gd name="T34" fmla="*/ 548 w 568"/>
                <a:gd name="T35" fmla="*/ 372 h 598"/>
                <a:gd name="T36" fmla="*/ 548 w 568"/>
                <a:gd name="T37" fmla="*/ 299 h 598"/>
                <a:gd name="T38" fmla="*/ 502 w 568"/>
                <a:gd name="T39" fmla="*/ 28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502" y="285"/>
                  </a:moveTo>
                  <a:lnTo>
                    <a:pt x="519" y="267"/>
                  </a:lnTo>
                  <a:cubicBezTo>
                    <a:pt x="539" y="247"/>
                    <a:pt x="539" y="213"/>
                    <a:pt x="519" y="192"/>
                  </a:cubicBezTo>
                  <a:cubicBezTo>
                    <a:pt x="501" y="175"/>
                    <a:pt x="475" y="172"/>
                    <a:pt x="455" y="184"/>
                  </a:cubicBezTo>
                  <a:cubicBezTo>
                    <a:pt x="480" y="158"/>
                    <a:pt x="488" y="125"/>
                    <a:pt x="463" y="100"/>
                  </a:cubicBezTo>
                  <a:cubicBezTo>
                    <a:pt x="444" y="80"/>
                    <a:pt x="414" y="79"/>
                    <a:pt x="393" y="95"/>
                  </a:cubicBezTo>
                  <a:cubicBezTo>
                    <a:pt x="413" y="75"/>
                    <a:pt x="413" y="41"/>
                    <a:pt x="392" y="21"/>
                  </a:cubicBezTo>
                  <a:cubicBezTo>
                    <a:pt x="371" y="0"/>
                    <a:pt x="338" y="0"/>
                    <a:pt x="317" y="21"/>
                  </a:cubicBezTo>
                  <a:lnTo>
                    <a:pt x="205" y="132"/>
                  </a:lnTo>
                  <a:cubicBezTo>
                    <a:pt x="188" y="115"/>
                    <a:pt x="188" y="86"/>
                    <a:pt x="205" y="69"/>
                  </a:cubicBezTo>
                  <a:lnTo>
                    <a:pt x="236" y="38"/>
                  </a:lnTo>
                  <a:cubicBezTo>
                    <a:pt x="182" y="42"/>
                    <a:pt x="125" y="68"/>
                    <a:pt x="112" y="93"/>
                  </a:cubicBezTo>
                  <a:cubicBezTo>
                    <a:pt x="93" y="129"/>
                    <a:pt x="79" y="253"/>
                    <a:pt x="79" y="311"/>
                  </a:cubicBezTo>
                  <a:lnTo>
                    <a:pt x="0" y="390"/>
                  </a:lnTo>
                  <a:lnTo>
                    <a:pt x="209" y="598"/>
                  </a:lnTo>
                  <a:lnTo>
                    <a:pt x="279" y="528"/>
                  </a:lnTo>
                  <a:cubicBezTo>
                    <a:pt x="335" y="545"/>
                    <a:pt x="398" y="522"/>
                    <a:pt x="434" y="486"/>
                  </a:cubicBezTo>
                  <a:lnTo>
                    <a:pt x="548" y="372"/>
                  </a:lnTo>
                  <a:cubicBezTo>
                    <a:pt x="568" y="352"/>
                    <a:pt x="568" y="319"/>
                    <a:pt x="548" y="299"/>
                  </a:cubicBezTo>
                  <a:cubicBezTo>
                    <a:pt x="535" y="286"/>
                    <a:pt x="518" y="282"/>
                    <a:pt x="502" y="285"/>
                  </a:cubicBez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sp>
          <p:nvSpPr>
            <p:cNvPr id="16" name="Freeform 38">
              <a:extLst>
                <a:ext uri="{FF2B5EF4-FFF2-40B4-BE49-F238E27FC236}">
                  <a16:creationId xmlns:a16="http://schemas.microsoft.com/office/drawing/2014/main" id="{A8A84865-B332-4524-9696-B507E1091039}"/>
                </a:ext>
              </a:extLst>
            </p:cNvPr>
            <p:cNvSpPr>
              <a:spLocks/>
            </p:cNvSpPr>
            <p:nvPr/>
          </p:nvSpPr>
          <p:spPr bwMode="auto">
            <a:xfrm>
              <a:off x="7115175" y="5940425"/>
              <a:ext cx="431800" cy="455613"/>
            </a:xfrm>
            <a:custGeom>
              <a:avLst/>
              <a:gdLst>
                <a:gd name="T0" fmla="*/ 289 w 568"/>
                <a:gd name="T1" fmla="*/ 70 h 598"/>
                <a:gd name="T2" fmla="*/ 134 w 568"/>
                <a:gd name="T3" fmla="*/ 112 h 598"/>
                <a:gd name="T4" fmla="*/ 21 w 568"/>
                <a:gd name="T5" fmla="*/ 226 h 598"/>
                <a:gd name="T6" fmla="*/ 21 w 568"/>
                <a:gd name="T7" fmla="*/ 299 h 598"/>
                <a:gd name="T8" fmla="*/ 67 w 568"/>
                <a:gd name="T9" fmla="*/ 313 h 598"/>
                <a:gd name="T10" fmla="*/ 50 w 568"/>
                <a:gd name="T11" fmla="*/ 331 h 598"/>
                <a:gd name="T12" fmla="*/ 50 w 568"/>
                <a:gd name="T13" fmla="*/ 406 h 598"/>
                <a:gd name="T14" fmla="*/ 114 w 568"/>
                <a:gd name="T15" fmla="*/ 414 h 598"/>
                <a:gd name="T16" fmla="*/ 105 w 568"/>
                <a:gd name="T17" fmla="*/ 498 h 598"/>
                <a:gd name="T18" fmla="*/ 175 w 568"/>
                <a:gd name="T19" fmla="*/ 503 h 598"/>
                <a:gd name="T20" fmla="*/ 176 w 568"/>
                <a:gd name="T21" fmla="*/ 577 h 598"/>
                <a:gd name="T22" fmla="*/ 252 w 568"/>
                <a:gd name="T23" fmla="*/ 577 h 598"/>
                <a:gd name="T24" fmla="*/ 363 w 568"/>
                <a:gd name="T25" fmla="*/ 465 h 598"/>
                <a:gd name="T26" fmla="*/ 363 w 568"/>
                <a:gd name="T27" fmla="*/ 529 h 598"/>
                <a:gd name="T28" fmla="*/ 332 w 568"/>
                <a:gd name="T29" fmla="*/ 560 h 598"/>
                <a:gd name="T30" fmla="*/ 456 w 568"/>
                <a:gd name="T31" fmla="*/ 505 h 598"/>
                <a:gd name="T32" fmla="*/ 490 w 568"/>
                <a:gd name="T33" fmla="*/ 286 h 598"/>
                <a:gd name="T34" fmla="*/ 568 w 568"/>
                <a:gd name="T35" fmla="*/ 208 h 598"/>
                <a:gd name="T36" fmla="*/ 359 w 568"/>
                <a:gd name="T37" fmla="*/ 0 h 598"/>
                <a:gd name="T38" fmla="*/ 289 w 568"/>
                <a:gd name="T39" fmla="*/ 7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289" y="70"/>
                  </a:moveTo>
                  <a:cubicBezTo>
                    <a:pt x="233" y="53"/>
                    <a:pt x="171" y="76"/>
                    <a:pt x="134" y="112"/>
                  </a:cubicBezTo>
                  <a:lnTo>
                    <a:pt x="21" y="226"/>
                  </a:lnTo>
                  <a:cubicBezTo>
                    <a:pt x="0" y="246"/>
                    <a:pt x="0" y="279"/>
                    <a:pt x="21" y="299"/>
                  </a:cubicBezTo>
                  <a:cubicBezTo>
                    <a:pt x="33" y="312"/>
                    <a:pt x="50" y="316"/>
                    <a:pt x="67" y="313"/>
                  </a:cubicBezTo>
                  <a:lnTo>
                    <a:pt x="50" y="331"/>
                  </a:lnTo>
                  <a:cubicBezTo>
                    <a:pt x="29" y="351"/>
                    <a:pt x="29" y="385"/>
                    <a:pt x="50" y="406"/>
                  </a:cubicBezTo>
                  <a:cubicBezTo>
                    <a:pt x="67" y="423"/>
                    <a:pt x="93" y="426"/>
                    <a:pt x="114" y="414"/>
                  </a:cubicBezTo>
                  <a:cubicBezTo>
                    <a:pt x="88" y="440"/>
                    <a:pt x="80" y="473"/>
                    <a:pt x="105" y="498"/>
                  </a:cubicBezTo>
                  <a:cubicBezTo>
                    <a:pt x="124" y="518"/>
                    <a:pt x="154" y="519"/>
                    <a:pt x="175" y="503"/>
                  </a:cubicBezTo>
                  <a:cubicBezTo>
                    <a:pt x="155" y="523"/>
                    <a:pt x="156" y="556"/>
                    <a:pt x="176" y="577"/>
                  </a:cubicBezTo>
                  <a:cubicBezTo>
                    <a:pt x="197" y="598"/>
                    <a:pt x="230" y="598"/>
                    <a:pt x="252" y="577"/>
                  </a:cubicBezTo>
                  <a:lnTo>
                    <a:pt x="363" y="465"/>
                  </a:lnTo>
                  <a:cubicBezTo>
                    <a:pt x="381" y="483"/>
                    <a:pt x="381" y="512"/>
                    <a:pt x="363" y="529"/>
                  </a:cubicBezTo>
                  <a:lnTo>
                    <a:pt x="332" y="560"/>
                  </a:lnTo>
                  <a:cubicBezTo>
                    <a:pt x="387" y="556"/>
                    <a:pt x="443" y="530"/>
                    <a:pt x="456" y="505"/>
                  </a:cubicBezTo>
                  <a:cubicBezTo>
                    <a:pt x="475" y="469"/>
                    <a:pt x="489" y="345"/>
                    <a:pt x="490" y="286"/>
                  </a:cubicBezTo>
                  <a:lnTo>
                    <a:pt x="568" y="208"/>
                  </a:lnTo>
                  <a:lnTo>
                    <a:pt x="359" y="0"/>
                  </a:lnTo>
                  <a:lnTo>
                    <a:pt x="289" y="70"/>
                  </a:lnTo>
                  <a:close/>
                </a:path>
              </a:pathLst>
            </a:custGeom>
            <a:grpFill/>
            <a:ln w="38100">
              <a:solidFill>
                <a:srgbClr val="00B050"/>
              </a:solidFill>
              <a:round/>
              <a:headEnd/>
              <a:tailEnd/>
            </a:ln>
          </p:spPr>
          <p:txBody>
            <a:bodyPr vert="horz" wrap="square" lIns="68580" tIns="34290" rIns="68580" bIns="34290" numCol="1" anchor="t" anchorCtr="0" compatLnSpc="1">
              <a:prstTxWarp prst="textNoShape">
                <a:avLst/>
              </a:prstTxWarp>
            </a:bodyPr>
            <a:lstStyle/>
            <a:p>
              <a:pPr defTabSz="685800">
                <a:buClrTx/>
                <a:defRPr/>
              </a:pPr>
              <a:endParaRPr lang="fr-FR" sz="1350" kern="1200">
                <a:solidFill>
                  <a:prstClr val="black"/>
                </a:solidFill>
                <a:latin typeface="Calibri" panose="020F0502020204030204"/>
                <a:ea typeface="+mn-ea"/>
                <a:cs typeface="+mn-cs"/>
              </a:endParaRPr>
            </a:p>
          </p:txBody>
        </p:sp>
      </p:grpSp>
      <p:sp>
        <p:nvSpPr>
          <p:cNvPr id="18" name="Rectangle 17">
            <a:extLst>
              <a:ext uri="{FF2B5EF4-FFF2-40B4-BE49-F238E27FC236}">
                <a16:creationId xmlns:a16="http://schemas.microsoft.com/office/drawing/2014/main" id="{0E9A062C-9698-43B9-9006-B0FABC511FEF}"/>
              </a:ext>
            </a:extLst>
          </p:cNvPr>
          <p:cNvSpPr/>
          <p:nvPr/>
        </p:nvSpPr>
        <p:spPr>
          <a:xfrm>
            <a:off x="250375" y="3826457"/>
            <a:ext cx="4390946" cy="369332"/>
          </a:xfrm>
          <a:prstGeom prst="rect">
            <a:avLst/>
          </a:prstGeom>
        </p:spPr>
        <p:txBody>
          <a:bodyPr wrap="none">
            <a:spAutoFit/>
          </a:bodyPr>
          <a:lstStyle/>
          <a:p>
            <a:r>
              <a:rPr lang="en-US" sz="1800">
                <a:solidFill>
                  <a:schemeClr val="accent5">
                    <a:lumMod val="75000"/>
                  </a:schemeClr>
                </a:solidFill>
              </a:rPr>
              <a:t>1. </a:t>
            </a:r>
            <a:r>
              <a:rPr lang="vi-VN" sz="1800">
                <a:solidFill>
                  <a:schemeClr val="accent5">
                    <a:lumMod val="75000"/>
                  </a:schemeClr>
                </a:solidFill>
              </a:rPr>
              <a:t>Hãy chỉ ra các cột của bảng Bản nhạc.</a:t>
            </a:r>
          </a:p>
        </p:txBody>
      </p:sp>
      <p:sp>
        <p:nvSpPr>
          <p:cNvPr id="19" name="Rectangle 18">
            <a:extLst>
              <a:ext uri="{FF2B5EF4-FFF2-40B4-BE49-F238E27FC236}">
                <a16:creationId xmlns:a16="http://schemas.microsoft.com/office/drawing/2014/main" id="{4465B367-DDA8-4458-A1F3-B161B39F53F9}"/>
              </a:ext>
            </a:extLst>
          </p:cNvPr>
          <p:cNvSpPr/>
          <p:nvPr/>
        </p:nvSpPr>
        <p:spPr>
          <a:xfrm>
            <a:off x="250376" y="4199014"/>
            <a:ext cx="4321625" cy="646331"/>
          </a:xfrm>
          <a:prstGeom prst="rect">
            <a:avLst/>
          </a:prstGeom>
        </p:spPr>
        <p:txBody>
          <a:bodyPr wrap="square">
            <a:spAutoFit/>
          </a:bodyPr>
          <a:lstStyle/>
          <a:p>
            <a:r>
              <a:rPr lang="en-US" sz="1800">
                <a:solidFill>
                  <a:schemeClr val="accent5">
                    <a:lumMod val="75000"/>
                  </a:schemeClr>
                </a:solidFill>
              </a:rPr>
              <a:t>2. </a:t>
            </a:r>
            <a:r>
              <a:rPr lang="vi-VN" sz="1800">
                <a:solidFill>
                  <a:schemeClr val="accent5">
                    <a:lumMod val="75000"/>
                  </a:schemeClr>
                </a:solidFill>
              </a:rPr>
              <a:t>Bảng Bản thu âm và bảng Ca sĩ có chung thuộc tính nào?</a:t>
            </a:r>
          </a:p>
        </p:txBody>
      </p:sp>
      <p:sp>
        <p:nvSpPr>
          <p:cNvPr id="20" name="Oval 19">
            <a:extLst>
              <a:ext uri="{FF2B5EF4-FFF2-40B4-BE49-F238E27FC236}">
                <a16:creationId xmlns:a16="http://schemas.microsoft.com/office/drawing/2014/main" id="{9A89CA27-F989-4054-AF68-51CE16BBC83A}"/>
              </a:ext>
            </a:extLst>
          </p:cNvPr>
          <p:cNvSpPr/>
          <p:nvPr/>
        </p:nvSpPr>
        <p:spPr>
          <a:xfrm>
            <a:off x="5004265" y="2794379"/>
            <a:ext cx="2846610" cy="357624"/>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1050"/>
          </a:p>
        </p:txBody>
      </p:sp>
      <p:sp>
        <p:nvSpPr>
          <p:cNvPr id="21" name="Oval 20">
            <a:extLst>
              <a:ext uri="{FF2B5EF4-FFF2-40B4-BE49-F238E27FC236}">
                <a16:creationId xmlns:a16="http://schemas.microsoft.com/office/drawing/2014/main" id="{FF69775F-155C-42F4-8136-7261D19BDC20}"/>
              </a:ext>
            </a:extLst>
          </p:cNvPr>
          <p:cNvSpPr/>
          <p:nvPr/>
        </p:nvSpPr>
        <p:spPr>
          <a:xfrm>
            <a:off x="7154839" y="522027"/>
            <a:ext cx="481084" cy="44447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1050"/>
          </a:p>
        </p:txBody>
      </p:sp>
      <p:sp>
        <p:nvSpPr>
          <p:cNvPr id="22" name="Oval 21">
            <a:extLst>
              <a:ext uri="{FF2B5EF4-FFF2-40B4-BE49-F238E27FC236}">
                <a16:creationId xmlns:a16="http://schemas.microsoft.com/office/drawing/2014/main" id="{6D315582-4553-4569-AA55-AED9B7EBB7DA}"/>
              </a:ext>
            </a:extLst>
          </p:cNvPr>
          <p:cNvSpPr/>
          <p:nvPr/>
        </p:nvSpPr>
        <p:spPr>
          <a:xfrm>
            <a:off x="8562610" y="2750952"/>
            <a:ext cx="481084" cy="44447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1050"/>
          </a:p>
        </p:txBody>
      </p:sp>
      <p:pic>
        <p:nvPicPr>
          <p:cNvPr id="23" name="Picture 22"/>
          <p:cNvPicPr/>
          <p:nvPr/>
        </p:nvPicPr>
        <p:blipFill rotWithShape="1">
          <a:blip r:embed="rId6">
            <a:extLst>
              <a:ext uri="{28A0092B-C50C-407E-A947-70E740481C1C}">
                <a14:useLocalDpi xmlns:a14="http://schemas.microsoft.com/office/drawing/2010/main" val="0"/>
              </a:ext>
            </a:extLst>
          </a:blip>
          <a:srcRect t="23158"/>
          <a:stretch/>
        </p:blipFill>
        <p:spPr>
          <a:xfrm>
            <a:off x="7887547" y="3126607"/>
            <a:ext cx="1100993" cy="1845275"/>
          </a:xfrm>
          <a:prstGeom prst="rect">
            <a:avLst/>
          </a:prstGeom>
        </p:spPr>
      </p:pic>
      <p:sp>
        <p:nvSpPr>
          <p:cNvPr id="24" name="TextBox 23">
            <a:extLst>
              <a:ext uri="{FF2B5EF4-FFF2-40B4-BE49-F238E27FC236}">
                <a16:creationId xmlns:a16="http://schemas.microsoft.com/office/drawing/2014/main" id="{333E469B-4F65-44B3-B42A-78384577523C}"/>
              </a:ext>
            </a:extLst>
          </p:cNvPr>
          <p:cNvSpPr txBox="1"/>
          <p:nvPr/>
        </p:nvSpPr>
        <p:spPr>
          <a:xfrm>
            <a:off x="340848" y="856356"/>
            <a:ext cx="3953952" cy="1477328"/>
          </a:xfrm>
          <a:custGeom>
            <a:avLst/>
            <a:gdLst>
              <a:gd name="connsiteX0" fmla="*/ 0 w 4194251"/>
              <a:gd name="connsiteY0" fmla="*/ 0 h 1200329"/>
              <a:gd name="connsiteX1" fmla="*/ 4194251 w 4194251"/>
              <a:gd name="connsiteY1" fmla="*/ 0 h 1200329"/>
              <a:gd name="connsiteX2" fmla="*/ 4194251 w 4194251"/>
              <a:gd name="connsiteY2" fmla="*/ 1200329 h 1200329"/>
              <a:gd name="connsiteX3" fmla="*/ 0 w 4194251"/>
              <a:gd name="connsiteY3" fmla="*/ 1200329 h 1200329"/>
              <a:gd name="connsiteX4" fmla="*/ 0 w 4194251"/>
              <a:gd name="connsiteY4" fmla="*/ 0 h 12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4251" h="1200329" fill="none" extrusionOk="0">
                <a:moveTo>
                  <a:pt x="0" y="0"/>
                </a:moveTo>
                <a:cubicBezTo>
                  <a:pt x="1466082" y="62944"/>
                  <a:pt x="2109869" y="-143488"/>
                  <a:pt x="4194251" y="0"/>
                </a:cubicBezTo>
                <a:cubicBezTo>
                  <a:pt x="4143969" y="397692"/>
                  <a:pt x="4204264" y="880727"/>
                  <a:pt x="4194251" y="1200329"/>
                </a:cubicBezTo>
                <a:cubicBezTo>
                  <a:pt x="2812914" y="1335847"/>
                  <a:pt x="1534721" y="1290224"/>
                  <a:pt x="0" y="1200329"/>
                </a:cubicBezTo>
                <a:cubicBezTo>
                  <a:pt x="105131" y="710805"/>
                  <a:pt x="87262" y="150547"/>
                  <a:pt x="0" y="0"/>
                </a:cubicBezTo>
                <a:close/>
              </a:path>
              <a:path w="4194251" h="1200329" stroke="0" extrusionOk="0">
                <a:moveTo>
                  <a:pt x="0" y="0"/>
                </a:moveTo>
                <a:cubicBezTo>
                  <a:pt x="1729871" y="-9158"/>
                  <a:pt x="2630131" y="121975"/>
                  <a:pt x="4194251" y="0"/>
                </a:cubicBezTo>
                <a:cubicBezTo>
                  <a:pt x="4091015" y="272333"/>
                  <a:pt x="4268862" y="807055"/>
                  <a:pt x="4194251" y="1200329"/>
                </a:cubicBezTo>
                <a:cubicBezTo>
                  <a:pt x="2897020" y="1153445"/>
                  <a:pt x="1284892" y="1290189"/>
                  <a:pt x="0" y="1200329"/>
                </a:cubicBezTo>
                <a:cubicBezTo>
                  <a:pt x="53871" y="986482"/>
                  <a:pt x="2334" y="129117"/>
                  <a:pt x="0" y="0"/>
                </a:cubicBezTo>
                <a:close/>
              </a:path>
            </a:pathLst>
          </a:custGeom>
          <a:solidFill>
            <a:schemeClr val="accent5">
              <a:lumMod val="20000"/>
              <a:lumOff val="80000"/>
            </a:schemeClr>
          </a:solidFill>
          <a:ln>
            <a:solidFill>
              <a:schemeClr val="tx1"/>
            </a:solidFill>
            <a:extLst>
              <a:ext uri="{C807C97D-BFC1-408E-A445-0C87EB9F89A2}">
                <ask:lineSketchStyleProps xmlns:ask="http://schemas.microsoft.com/office/drawing/2018/sketchyshapes" xmlns="" sd="3349440333">
                  <a:prstGeom prst="rect">
                    <a:avLst/>
                  </a:prstGeom>
                  <ask:type>
                    <ask:lineSketchCurved/>
                  </ask:type>
                </ask:lineSketchStyleProps>
              </a:ext>
            </a:extLst>
          </a:ln>
        </p:spPr>
        <p:txBody>
          <a:bodyPr wrap="square" rtlCol="0">
            <a:spAutoFit/>
          </a:bodyPr>
          <a:lstStyle/>
          <a:p>
            <a:pPr algn="just"/>
            <a:r>
              <a:rPr lang="en-US" sz="1800" dirty="0" err="1">
                <a:solidFill>
                  <a:schemeClr val="tx1">
                    <a:lumMod val="75000"/>
                    <a:lumOff val="25000"/>
                  </a:schemeClr>
                </a:solidFill>
              </a:rPr>
              <a:t>Mô</a:t>
            </a:r>
            <a:r>
              <a:rPr lang="en-US" sz="1800" dirty="0">
                <a:solidFill>
                  <a:schemeClr val="tx1">
                    <a:lumMod val="75000"/>
                    <a:lumOff val="25000"/>
                  </a:schemeClr>
                </a:solidFill>
              </a:rPr>
              <a:t> </a:t>
            </a:r>
            <a:r>
              <a:rPr lang="en-US" sz="1800" dirty="0" err="1">
                <a:solidFill>
                  <a:schemeClr val="tx1">
                    <a:lumMod val="75000"/>
                    <a:lumOff val="25000"/>
                  </a:schemeClr>
                </a:solidFill>
              </a:rPr>
              <a:t>hình</a:t>
            </a:r>
            <a:r>
              <a:rPr lang="en-US" sz="1800" dirty="0">
                <a:solidFill>
                  <a:schemeClr val="tx1">
                    <a:lumMod val="75000"/>
                    <a:lumOff val="25000"/>
                  </a:schemeClr>
                </a:solidFill>
              </a:rPr>
              <a:t> </a:t>
            </a:r>
            <a:r>
              <a:rPr lang="en-US" sz="1800" dirty="0" err="1">
                <a:solidFill>
                  <a:schemeClr val="tx1">
                    <a:lumMod val="75000"/>
                    <a:lumOff val="25000"/>
                  </a:schemeClr>
                </a:solidFill>
              </a:rPr>
              <a:t>dữ</a:t>
            </a:r>
            <a:r>
              <a:rPr lang="en-US" sz="1800" dirty="0">
                <a:solidFill>
                  <a:schemeClr val="tx1">
                    <a:lumMod val="75000"/>
                    <a:lumOff val="25000"/>
                  </a:schemeClr>
                </a:solidFill>
              </a:rPr>
              <a:t> </a:t>
            </a:r>
            <a:r>
              <a:rPr lang="en-US" sz="1800" dirty="0" err="1">
                <a:solidFill>
                  <a:schemeClr val="tx1">
                    <a:lumMod val="75000"/>
                    <a:lumOff val="25000"/>
                  </a:schemeClr>
                </a:solidFill>
              </a:rPr>
              <a:t>liệu</a:t>
            </a:r>
            <a:r>
              <a:rPr lang="en-US" sz="1800" dirty="0">
                <a:solidFill>
                  <a:schemeClr val="tx1">
                    <a:lumMod val="75000"/>
                    <a:lumOff val="25000"/>
                  </a:schemeClr>
                </a:solidFill>
              </a:rPr>
              <a:t> </a:t>
            </a:r>
            <a:r>
              <a:rPr lang="en-US" sz="1800" dirty="0" err="1">
                <a:solidFill>
                  <a:schemeClr val="tx1">
                    <a:lumMod val="75000"/>
                    <a:lumOff val="25000"/>
                  </a:schemeClr>
                </a:solidFill>
              </a:rPr>
              <a:t>quan</a:t>
            </a:r>
            <a:r>
              <a:rPr lang="en-US" sz="1800" dirty="0">
                <a:solidFill>
                  <a:schemeClr val="tx1">
                    <a:lumMod val="75000"/>
                    <a:lumOff val="25000"/>
                  </a:schemeClr>
                </a:solidFill>
              </a:rPr>
              <a:t> </a:t>
            </a:r>
            <a:r>
              <a:rPr lang="en-US" sz="1800" dirty="0" err="1">
                <a:solidFill>
                  <a:schemeClr val="tx1">
                    <a:lumMod val="75000"/>
                    <a:lumOff val="25000"/>
                  </a:schemeClr>
                </a:solidFill>
              </a:rPr>
              <a:t>hệ</a:t>
            </a:r>
            <a:r>
              <a:rPr lang="en-US" sz="1800" dirty="0">
                <a:solidFill>
                  <a:schemeClr val="tx1">
                    <a:lumMod val="75000"/>
                    <a:lumOff val="25000"/>
                  </a:schemeClr>
                </a:solidFill>
              </a:rPr>
              <a:t> </a:t>
            </a:r>
            <a:r>
              <a:rPr lang="en-US" sz="1800" dirty="0" err="1">
                <a:solidFill>
                  <a:schemeClr val="tx1">
                    <a:lumMod val="75000"/>
                    <a:lumOff val="25000"/>
                  </a:schemeClr>
                </a:solidFill>
              </a:rPr>
              <a:t>là</a:t>
            </a:r>
            <a:r>
              <a:rPr lang="en-US" sz="1800" dirty="0">
                <a:solidFill>
                  <a:schemeClr val="tx1">
                    <a:lumMod val="75000"/>
                    <a:lumOff val="25000"/>
                  </a:schemeClr>
                </a:solidFill>
              </a:rPr>
              <a:t> </a:t>
            </a:r>
            <a:r>
              <a:rPr lang="en-US" sz="1800" dirty="0" err="1">
                <a:solidFill>
                  <a:schemeClr val="tx1">
                    <a:lumMod val="75000"/>
                    <a:lumOff val="25000"/>
                  </a:schemeClr>
                </a:solidFill>
              </a:rPr>
              <a:t>mô</a:t>
            </a:r>
            <a:r>
              <a:rPr lang="en-US" sz="1800" dirty="0">
                <a:solidFill>
                  <a:schemeClr val="tx1">
                    <a:lumMod val="75000"/>
                    <a:lumOff val="25000"/>
                  </a:schemeClr>
                </a:solidFill>
              </a:rPr>
              <a:t> </a:t>
            </a:r>
            <a:r>
              <a:rPr lang="en-US" sz="1800" dirty="0" err="1">
                <a:solidFill>
                  <a:schemeClr val="tx1">
                    <a:lumMod val="75000"/>
                    <a:lumOff val="25000"/>
                  </a:schemeClr>
                </a:solidFill>
              </a:rPr>
              <a:t>hình</a:t>
            </a:r>
            <a:r>
              <a:rPr lang="en-US" sz="1800" dirty="0">
                <a:solidFill>
                  <a:schemeClr val="tx1">
                    <a:lumMod val="75000"/>
                    <a:lumOff val="25000"/>
                  </a:schemeClr>
                </a:solidFill>
              </a:rPr>
              <a:t> </a:t>
            </a:r>
            <a:r>
              <a:rPr lang="en-US" sz="1800" dirty="0" err="1">
                <a:solidFill>
                  <a:schemeClr val="tx1">
                    <a:lumMod val="75000"/>
                    <a:lumOff val="25000"/>
                  </a:schemeClr>
                </a:solidFill>
              </a:rPr>
              <a:t>tổ</a:t>
            </a:r>
            <a:r>
              <a:rPr lang="en-US" sz="1800" dirty="0">
                <a:solidFill>
                  <a:schemeClr val="tx1">
                    <a:lumMod val="75000"/>
                    <a:lumOff val="25000"/>
                  </a:schemeClr>
                </a:solidFill>
              </a:rPr>
              <a:t> </a:t>
            </a:r>
            <a:r>
              <a:rPr lang="en-US" sz="1800" dirty="0" err="1">
                <a:solidFill>
                  <a:schemeClr val="tx1">
                    <a:lumMod val="75000"/>
                    <a:lumOff val="25000"/>
                  </a:schemeClr>
                </a:solidFill>
              </a:rPr>
              <a:t>chức</a:t>
            </a:r>
            <a:r>
              <a:rPr lang="en-US" sz="1800" dirty="0">
                <a:solidFill>
                  <a:schemeClr val="tx1">
                    <a:lumMod val="75000"/>
                    <a:lumOff val="25000"/>
                  </a:schemeClr>
                </a:solidFill>
              </a:rPr>
              <a:t> </a:t>
            </a:r>
            <a:r>
              <a:rPr lang="en-US" sz="1800" dirty="0" err="1">
                <a:solidFill>
                  <a:schemeClr val="tx1">
                    <a:lumMod val="75000"/>
                    <a:lumOff val="25000"/>
                  </a:schemeClr>
                </a:solidFill>
              </a:rPr>
              <a:t>dữ</a:t>
            </a:r>
            <a:r>
              <a:rPr lang="en-US" sz="1800" dirty="0">
                <a:solidFill>
                  <a:schemeClr val="tx1">
                    <a:lumMod val="75000"/>
                    <a:lumOff val="25000"/>
                  </a:schemeClr>
                </a:solidFill>
              </a:rPr>
              <a:t> </a:t>
            </a:r>
            <a:r>
              <a:rPr lang="en-US" sz="1800" dirty="0" err="1">
                <a:solidFill>
                  <a:schemeClr val="tx1">
                    <a:lumMod val="75000"/>
                    <a:lumOff val="25000"/>
                  </a:schemeClr>
                </a:solidFill>
              </a:rPr>
              <a:t>liệu</a:t>
            </a:r>
            <a:r>
              <a:rPr lang="en-US" sz="1800" dirty="0">
                <a:solidFill>
                  <a:schemeClr val="tx1">
                    <a:lumMod val="75000"/>
                    <a:lumOff val="25000"/>
                  </a:schemeClr>
                </a:solidFill>
              </a:rPr>
              <a:t> </a:t>
            </a:r>
            <a:r>
              <a:rPr lang="en-US" sz="1800" dirty="0" err="1">
                <a:solidFill>
                  <a:schemeClr val="tx1">
                    <a:lumMod val="75000"/>
                    <a:lumOff val="25000"/>
                  </a:schemeClr>
                </a:solidFill>
              </a:rPr>
              <a:t>thành</a:t>
            </a:r>
            <a:r>
              <a:rPr lang="en-US" sz="1800" dirty="0">
                <a:solidFill>
                  <a:schemeClr val="tx1">
                    <a:lumMod val="75000"/>
                    <a:lumOff val="25000"/>
                  </a:schemeClr>
                </a:solidFill>
              </a:rPr>
              <a:t> </a:t>
            </a:r>
            <a:r>
              <a:rPr lang="en-US" sz="1800" dirty="0" err="1">
                <a:solidFill>
                  <a:schemeClr val="tx1">
                    <a:lumMod val="75000"/>
                    <a:lumOff val="25000"/>
                  </a:schemeClr>
                </a:solidFill>
              </a:rPr>
              <a:t>các</a:t>
            </a:r>
            <a:r>
              <a:rPr lang="en-US" sz="1800" dirty="0">
                <a:solidFill>
                  <a:schemeClr val="tx1">
                    <a:lumMod val="75000"/>
                    <a:lumOff val="25000"/>
                  </a:schemeClr>
                </a:solidFill>
              </a:rPr>
              <a:t> </a:t>
            </a:r>
            <a:r>
              <a:rPr lang="en-US" sz="1800" dirty="0" err="1">
                <a:solidFill>
                  <a:schemeClr val="tx1">
                    <a:lumMod val="75000"/>
                    <a:lumOff val="25000"/>
                  </a:schemeClr>
                </a:solidFill>
              </a:rPr>
              <a:t>bảng</a:t>
            </a:r>
            <a:r>
              <a:rPr lang="en-US" sz="1800" dirty="0">
                <a:solidFill>
                  <a:schemeClr val="tx1">
                    <a:lumMod val="75000"/>
                    <a:lumOff val="25000"/>
                  </a:schemeClr>
                </a:solidFill>
              </a:rPr>
              <a:t> </a:t>
            </a:r>
            <a:r>
              <a:rPr lang="en-US" sz="1800" dirty="0" err="1">
                <a:solidFill>
                  <a:schemeClr val="tx1">
                    <a:lumMod val="75000"/>
                    <a:lumOff val="25000"/>
                  </a:schemeClr>
                </a:solidFill>
              </a:rPr>
              <a:t>dữ</a:t>
            </a:r>
            <a:r>
              <a:rPr lang="en-US" sz="1800" dirty="0">
                <a:solidFill>
                  <a:schemeClr val="tx1">
                    <a:lumMod val="75000"/>
                    <a:lumOff val="25000"/>
                  </a:schemeClr>
                </a:solidFill>
              </a:rPr>
              <a:t> </a:t>
            </a:r>
            <a:r>
              <a:rPr lang="en-US" sz="1800" dirty="0" err="1">
                <a:solidFill>
                  <a:schemeClr val="tx1">
                    <a:lumMod val="75000"/>
                    <a:lumOff val="25000"/>
                  </a:schemeClr>
                </a:solidFill>
              </a:rPr>
              <a:t>liệu</a:t>
            </a:r>
            <a:r>
              <a:rPr lang="en-US" sz="1800" dirty="0">
                <a:solidFill>
                  <a:schemeClr val="tx1">
                    <a:lumMod val="75000"/>
                    <a:lumOff val="25000"/>
                  </a:schemeClr>
                </a:solidFill>
              </a:rPr>
              <a:t> </a:t>
            </a:r>
            <a:r>
              <a:rPr lang="en-US" sz="1800" dirty="0" err="1">
                <a:solidFill>
                  <a:schemeClr val="tx1">
                    <a:lumMod val="75000"/>
                    <a:lumOff val="25000"/>
                  </a:schemeClr>
                </a:solidFill>
              </a:rPr>
              <a:t>của</a:t>
            </a:r>
            <a:r>
              <a:rPr lang="en-US" sz="1800" dirty="0">
                <a:solidFill>
                  <a:schemeClr val="tx1">
                    <a:lumMod val="75000"/>
                    <a:lumOff val="25000"/>
                  </a:schemeClr>
                </a:solidFill>
              </a:rPr>
              <a:t> </a:t>
            </a:r>
            <a:r>
              <a:rPr lang="en-US" sz="1800" dirty="0" err="1">
                <a:solidFill>
                  <a:schemeClr val="tx1">
                    <a:lumMod val="75000"/>
                    <a:lumOff val="25000"/>
                  </a:schemeClr>
                </a:solidFill>
              </a:rPr>
              <a:t>các</a:t>
            </a:r>
            <a:r>
              <a:rPr lang="en-US" sz="1800" dirty="0">
                <a:solidFill>
                  <a:schemeClr val="tx1">
                    <a:lumMod val="75000"/>
                    <a:lumOff val="25000"/>
                  </a:schemeClr>
                </a:solidFill>
              </a:rPr>
              <a:t> </a:t>
            </a:r>
            <a:r>
              <a:rPr lang="en-US" sz="1800" dirty="0" err="1">
                <a:solidFill>
                  <a:schemeClr val="tx1">
                    <a:lumMod val="75000"/>
                    <a:lumOff val="25000"/>
                  </a:schemeClr>
                </a:solidFill>
              </a:rPr>
              <a:t>đối</a:t>
            </a:r>
            <a:r>
              <a:rPr lang="en-US" sz="1800" dirty="0">
                <a:solidFill>
                  <a:schemeClr val="tx1">
                    <a:lumMod val="75000"/>
                    <a:lumOff val="25000"/>
                  </a:schemeClr>
                </a:solidFill>
              </a:rPr>
              <a:t> </a:t>
            </a:r>
            <a:r>
              <a:rPr lang="en-US" sz="1800" dirty="0" err="1">
                <a:solidFill>
                  <a:schemeClr val="tx1">
                    <a:lumMod val="75000"/>
                    <a:lumOff val="25000"/>
                  </a:schemeClr>
                </a:solidFill>
              </a:rPr>
              <a:t>tượng</a:t>
            </a:r>
            <a:r>
              <a:rPr lang="en-US" sz="1800" dirty="0">
                <a:solidFill>
                  <a:schemeClr val="tx1">
                    <a:lumMod val="75000"/>
                    <a:lumOff val="25000"/>
                  </a:schemeClr>
                </a:solidFill>
              </a:rPr>
              <a:t> </a:t>
            </a:r>
            <a:r>
              <a:rPr lang="en-US" sz="1800" dirty="0" err="1">
                <a:solidFill>
                  <a:schemeClr val="tx1">
                    <a:lumMod val="75000"/>
                    <a:lumOff val="25000"/>
                  </a:schemeClr>
                </a:solidFill>
              </a:rPr>
              <a:t>có</a:t>
            </a:r>
            <a:r>
              <a:rPr lang="en-US" sz="1800" dirty="0">
                <a:solidFill>
                  <a:schemeClr val="tx1">
                    <a:lumMod val="75000"/>
                    <a:lumOff val="25000"/>
                  </a:schemeClr>
                </a:solidFill>
              </a:rPr>
              <a:t> </a:t>
            </a:r>
            <a:r>
              <a:rPr lang="en-US" sz="1800" dirty="0" err="1">
                <a:solidFill>
                  <a:schemeClr val="tx1">
                    <a:lumMod val="75000"/>
                    <a:lumOff val="25000"/>
                  </a:schemeClr>
                </a:solidFill>
              </a:rPr>
              <a:t>thuộc</a:t>
            </a:r>
            <a:r>
              <a:rPr lang="en-US" sz="1800" dirty="0">
                <a:solidFill>
                  <a:schemeClr val="tx1">
                    <a:lumMod val="75000"/>
                    <a:lumOff val="25000"/>
                  </a:schemeClr>
                </a:solidFill>
              </a:rPr>
              <a:t> </a:t>
            </a:r>
            <a:r>
              <a:rPr lang="en-US" sz="1800" dirty="0" err="1">
                <a:solidFill>
                  <a:schemeClr val="tx1">
                    <a:lumMod val="75000"/>
                    <a:lumOff val="25000"/>
                  </a:schemeClr>
                </a:solidFill>
              </a:rPr>
              <a:t>tính</a:t>
            </a:r>
            <a:r>
              <a:rPr lang="en-US" sz="1800" dirty="0">
                <a:solidFill>
                  <a:schemeClr val="tx1">
                    <a:lumMod val="75000"/>
                    <a:lumOff val="25000"/>
                  </a:schemeClr>
                </a:solidFill>
              </a:rPr>
              <a:t> </a:t>
            </a:r>
            <a:r>
              <a:rPr lang="en-US" sz="1800" dirty="0" err="1">
                <a:solidFill>
                  <a:schemeClr val="tx1">
                    <a:lumMod val="75000"/>
                    <a:lumOff val="25000"/>
                  </a:schemeClr>
                </a:solidFill>
              </a:rPr>
              <a:t>giống</a:t>
            </a:r>
            <a:r>
              <a:rPr lang="en-US" sz="1800" dirty="0">
                <a:solidFill>
                  <a:schemeClr val="tx1">
                    <a:lumMod val="75000"/>
                    <a:lumOff val="25000"/>
                  </a:schemeClr>
                </a:solidFill>
              </a:rPr>
              <a:t> </a:t>
            </a:r>
            <a:r>
              <a:rPr lang="en-US" sz="1800" dirty="0" err="1">
                <a:solidFill>
                  <a:schemeClr val="tx1">
                    <a:lumMod val="75000"/>
                    <a:lumOff val="25000"/>
                  </a:schemeClr>
                </a:solidFill>
              </a:rPr>
              <a:t>nhau</a:t>
            </a:r>
            <a:r>
              <a:rPr lang="en-US" sz="1800" dirty="0">
                <a:solidFill>
                  <a:schemeClr val="tx1">
                    <a:lumMod val="75000"/>
                    <a:lumOff val="25000"/>
                  </a:schemeClr>
                </a:solidFill>
              </a:rPr>
              <a:t>, </a:t>
            </a:r>
            <a:r>
              <a:rPr lang="en-US" sz="1800" dirty="0" err="1">
                <a:solidFill>
                  <a:schemeClr val="tx1">
                    <a:lumMod val="75000"/>
                    <a:lumOff val="25000"/>
                  </a:schemeClr>
                </a:solidFill>
              </a:rPr>
              <a:t>giữa</a:t>
            </a:r>
            <a:r>
              <a:rPr lang="en-US" sz="1800" dirty="0">
                <a:solidFill>
                  <a:schemeClr val="tx1">
                    <a:lumMod val="75000"/>
                    <a:lumOff val="25000"/>
                  </a:schemeClr>
                </a:solidFill>
              </a:rPr>
              <a:t> </a:t>
            </a:r>
            <a:r>
              <a:rPr lang="en-US" sz="1800" dirty="0" err="1">
                <a:solidFill>
                  <a:schemeClr val="tx1">
                    <a:lumMod val="75000"/>
                    <a:lumOff val="25000"/>
                  </a:schemeClr>
                </a:solidFill>
              </a:rPr>
              <a:t>các</a:t>
            </a:r>
            <a:r>
              <a:rPr lang="en-US" sz="1800" dirty="0">
                <a:solidFill>
                  <a:schemeClr val="tx1">
                    <a:lumMod val="75000"/>
                    <a:lumOff val="25000"/>
                  </a:schemeClr>
                </a:solidFill>
              </a:rPr>
              <a:t> </a:t>
            </a:r>
            <a:r>
              <a:rPr lang="en-US" sz="1800" dirty="0" err="1">
                <a:solidFill>
                  <a:schemeClr val="tx1">
                    <a:lumMod val="75000"/>
                    <a:lumOff val="25000"/>
                  </a:schemeClr>
                </a:solidFill>
              </a:rPr>
              <a:t>bảng</a:t>
            </a:r>
            <a:r>
              <a:rPr lang="en-US" sz="1800" dirty="0">
                <a:solidFill>
                  <a:schemeClr val="tx1">
                    <a:lumMod val="75000"/>
                    <a:lumOff val="25000"/>
                  </a:schemeClr>
                </a:solidFill>
              </a:rPr>
              <a:t> </a:t>
            </a:r>
            <a:r>
              <a:rPr lang="en-US" sz="1800" dirty="0" err="1">
                <a:solidFill>
                  <a:schemeClr val="tx1">
                    <a:lumMod val="75000"/>
                    <a:lumOff val="25000"/>
                  </a:schemeClr>
                </a:solidFill>
              </a:rPr>
              <a:t>có</a:t>
            </a:r>
            <a:r>
              <a:rPr lang="en-US" sz="1800" dirty="0">
                <a:solidFill>
                  <a:schemeClr val="tx1">
                    <a:lumMod val="75000"/>
                    <a:lumOff val="25000"/>
                  </a:schemeClr>
                </a:solidFill>
              </a:rPr>
              <a:t> </a:t>
            </a:r>
            <a:r>
              <a:rPr lang="en-US" sz="1800" dirty="0" err="1">
                <a:solidFill>
                  <a:schemeClr val="tx1">
                    <a:lumMod val="75000"/>
                    <a:lumOff val="25000"/>
                  </a:schemeClr>
                </a:solidFill>
              </a:rPr>
              <a:t>sự</a:t>
            </a:r>
            <a:r>
              <a:rPr lang="en-US" sz="1800" dirty="0">
                <a:solidFill>
                  <a:schemeClr val="tx1">
                    <a:lumMod val="75000"/>
                    <a:lumOff val="25000"/>
                  </a:schemeClr>
                </a:solidFill>
              </a:rPr>
              <a:t> </a:t>
            </a:r>
            <a:r>
              <a:rPr lang="en-US" sz="1800" dirty="0" err="1">
                <a:solidFill>
                  <a:schemeClr val="tx1">
                    <a:lumMod val="75000"/>
                    <a:lumOff val="25000"/>
                  </a:schemeClr>
                </a:solidFill>
              </a:rPr>
              <a:t>liên</a:t>
            </a:r>
            <a:r>
              <a:rPr lang="en-US" sz="1800" dirty="0">
                <a:solidFill>
                  <a:schemeClr val="tx1">
                    <a:lumMod val="75000"/>
                    <a:lumOff val="25000"/>
                  </a:schemeClr>
                </a:solidFill>
              </a:rPr>
              <a:t> </a:t>
            </a:r>
            <a:r>
              <a:rPr lang="en-US" sz="1800" dirty="0" err="1">
                <a:solidFill>
                  <a:schemeClr val="tx1">
                    <a:lumMod val="75000"/>
                    <a:lumOff val="25000"/>
                  </a:schemeClr>
                </a:solidFill>
              </a:rPr>
              <a:t>kết</a:t>
            </a:r>
            <a:r>
              <a:rPr lang="en-US" sz="1800" dirty="0">
                <a:solidFill>
                  <a:schemeClr val="tx1">
                    <a:lumMod val="75000"/>
                    <a:lumOff val="25000"/>
                  </a:schemeClr>
                </a:solidFill>
              </a:rPr>
              <a:t> </a:t>
            </a:r>
            <a:r>
              <a:rPr lang="en-US" sz="1800" dirty="0" err="1">
                <a:solidFill>
                  <a:schemeClr val="tx1">
                    <a:lumMod val="75000"/>
                    <a:lumOff val="25000"/>
                  </a:schemeClr>
                </a:solidFill>
              </a:rPr>
              <a:t>với</a:t>
            </a:r>
            <a:r>
              <a:rPr lang="en-US" sz="1800" dirty="0">
                <a:solidFill>
                  <a:schemeClr val="tx1">
                    <a:lumMod val="75000"/>
                    <a:lumOff val="25000"/>
                  </a:schemeClr>
                </a:solidFill>
              </a:rPr>
              <a:t> </a:t>
            </a:r>
            <a:r>
              <a:rPr lang="en-US" sz="1800" dirty="0" err="1">
                <a:solidFill>
                  <a:schemeClr val="tx1">
                    <a:lumMod val="75000"/>
                    <a:lumOff val="25000"/>
                  </a:schemeClr>
                </a:solidFill>
              </a:rPr>
              <a:t>nhau</a:t>
            </a:r>
            <a:r>
              <a:rPr lang="en-US" sz="1800" dirty="0">
                <a:solidFill>
                  <a:schemeClr val="tx1">
                    <a:lumMod val="75000"/>
                    <a:lumOff val="25000"/>
                  </a:schemeClr>
                </a:solidFill>
              </a:rPr>
              <a:t>.</a:t>
            </a:r>
            <a:endParaRPr lang="vi-VN" sz="1800" dirty="0">
              <a:solidFill>
                <a:schemeClr val="tx1">
                  <a:lumMod val="75000"/>
                  <a:lumOff val="25000"/>
                </a:schemeClr>
              </a:solidFill>
            </a:endParaRPr>
          </a:p>
        </p:txBody>
      </p:sp>
    </p:spTree>
    <p:extLst>
      <p:ext uri="{BB962C8B-B14F-4D97-AF65-F5344CB8AC3E}">
        <p14:creationId xmlns:p14="http://schemas.microsoft.com/office/powerpoint/2010/main" val="398029097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arn(inVertical)">
                                      <p:cBhvr>
                                        <p:cTn id="10" dur="500"/>
                                        <p:tgtEl>
                                          <p:spTgt spid="18"/>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barn(inVertical)">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barn(inVertical)">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barn(inVertical)">
                                      <p:cBhvr>
                                        <p:cTn id="23" dur="500"/>
                                        <p:tgtEl>
                                          <p:spTgt spid="21"/>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barn(inVertical)">
                                      <p:cBhvr>
                                        <p:cTn id="26" dur="500"/>
                                        <p:tgtEl>
                                          <p:spTgt spid="22"/>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wipe(down)">
                                      <p:cBhvr>
                                        <p:cTn id="31" dur="500"/>
                                        <p:tgtEl>
                                          <p:spTgt spid="24"/>
                                        </p:tgtEl>
                                      </p:cBhvr>
                                    </p:animEffect>
                                  </p:childTnLst>
                                </p:cTn>
                              </p:par>
                            </p:childTnLst>
                          </p:cTn>
                        </p:par>
                      </p:childTnLst>
                    </p:cTn>
                  </p:par>
                  <p:par>
                    <p:cTn id="32" fill="hold">
                      <p:stCondLst>
                        <p:cond delay="indefinite"/>
                      </p:stCondLst>
                      <p:childTnLst>
                        <p:par>
                          <p:cTn id="33" fill="hold">
                            <p:stCondLst>
                              <p:cond delay="0"/>
                            </p:stCondLst>
                            <p:childTnLst>
                              <p:par>
                                <p:cTn id="34" presetID="6" presetClass="entr" presetSubtype="16" fill="hold" grpId="0"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circle(in)">
                                      <p:cBhvr>
                                        <p:cTn id="36"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8" grpId="0"/>
      <p:bldP spid="19" grpId="0"/>
      <p:bldP spid="20" grpId="0" animBg="1"/>
      <p:bldP spid="21" grpId="0" animBg="1"/>
      <p:bldP spid="22" grpId="0" animBg="1"/>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99"/>
        <p:cNvGrpSpPr/>
        <p:nvPr/>
      </p:nvGrpSpPr>
      <p:grpSpPr>
        <a:xfrm>
          <a:off x="0" y="0"/>
          <a:ext cx="0" cy="0"/>
          <a:chOff x="0" y="0"/>
          <a:chExt cx="0" cy="0"/>
        </a:xfrm>
      </p:grpSpPr>
      <p:pic>
        <p:nvPicPr>
          <p:cNvPr id="3" name="Picture 2">
            <a:extLst>
              <a:ext uri="{FF2B5EF4-FFF2-40B4-BE49-F238E27FC236}">
                <a16:creationId xmlns:a16="http://schemas.microsoft.com/office/drawing/2014/main" id="{B703728B-6A57-629C-B554-353EF541D979}"/>
              </a:ext>
            </a:extLst>
          </p:cNvPr>
          <p:cNvPicPr>
            <a:picLocks noChangeAspect="1"/>
          </p:cNvPicPr>
          <p:nvPr/>
        </p:nvPicPr>
        <p:blipFill>
          <a:blip r:embed="rId3"/>
          <a:stretch>
            <a:fillRect/>
          </a:stretch>
        </p:blipFill>
        <p:spPr>
          <a:xfrm>
            <a:off x="830222" y="545850"/>
            <a:ext cx="7483556" cy="4051800"/>
          </a:xfrm>
          <a:prstGeom prst="rect">
            <a:avLst/>
          </a:prstGeom>
        </p:spPr>
      </p:pic>
      <p:sp>
        <p:nvSpPr>
          <p:cNvPr id="6" name="TextBox 5">
            <a:extLst>
              <a:ext uri="{FF2B5EF4-FFF2-40B4-BE49-F238E27FC236}">
                <a16:creationId xmlns:a16="http://schemas.microsoft.com/office/drawing/2014/main" id="{0168C696-82C7-12CA-1752-53166FF2F8C9}"/>
              </a:ext>
            </a:extLst>
          </p:cNvPr>
          <p:cNvSpPr txBox="1"/>
          <p:nvPr/>
        </p:nvSpPr>
        <p:spPr>
          <a:xfrm>
            <a:off x="1979876" y="84185"/>
            <a:ext cx="1888274" cy="461665"/>
          </a:xfrm>
          <a:prstGeom prst="rect">
            <a:avLst/>
          </a:prstGeom>
          <a:noFill/>
        </p:spPr>
        <p:txBody>
          <a:bodyPr wrap="square" rtlCol="0">
            <a:spAutoFit/>
          </a:bodyPr>
          <a:lstStyle/>
          <a:p>
            <a:r>
              <a:rPr lang="en-US" sz="2400" dirty="0" err="1">
                <a:latin typeface="Times New Roman" panose="02020603050405020304" pitchFamily="18" charset="0"/>
                <a:cs typeface="Times New Roman" panose="02020603050405020304" pitchFamily="18" charset="0"/>
              </a:rPr>
              <a:t>Đố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ượng</a:t>
            </a:r>
            <a:endParaRPr lang="en-US" sz="2400" dirty="0">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03861DE0-9E1D-EFA1-C423-E61A5BA8AEC2}"/>
              </a:ext>
            </a:extLst>
          </p:cNvPr>
          <p:cNvSpPr txBox="1"/>
          <p:nvPr/>
        </p:nvSpPr>
        <p:spPr>
          <a:xfrm>
            <a:off x="-45806" y="653210"/>
            <a:ext cx="1979885" cy="461665"/>
          </a:xfrm>
          <a:prstGeom prst="rect">
            <a:avLst/>
          </a:prstGeom>
          <a:noFill/>
        </p:spPr>
        <p:txBody>
          <a:bodyPr wrap="square" rtlCol="0">
            <a:spAutoFit/>
          </a:bodyPr>
          <a:lstStyle/>
          <a:p>
            <a:r>
              <a:rPr lang="en-US" sz="2400" dirty="0" err="1">
                <a:latin typeface="Times New Roman" panose="02020603050405020304" pitchFamily="18" charset="0"/>
                <a:cs typeface="Times New Roman" panose="02020603050405020304" pitchFamily="18" charset="0"/>
              </a:rPr>
              <a:t>Thuộc</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tính</a:t>
            </a:r>
            <a:endParaRPr lang="en-US" sz="2400" dirty="0">
              <a:latin typeface="Times New Roman" panose="02020603050405020304" pitchFamily="18" charset="0"/>
              <a:cs typeface="Times New Roman" panose="02020603050405020304" pitchFamily="18" charset="0"/>
            </a:endParaRPr>
          </a:p>
        </p:txBody>
      </p:sp>
      <p:sp>
        <p:nvSpPr>
          <p:cNvPr id="8" name="TextBox 7">
            <a:extLst>
              <a:ext uri="{FF2B5EF4-FFF2-40B4-BE49-F238E27FC236}">
                <a16:creationId xmlns:a16="http://schemas.microsoft.com/office/drawing/2014/main" id="{EA419901-32C4-B712-B415-5BE172270A04}"/>
              </a:ext>
            </a:extLst>
          </p:cNvPr>
          <p:cNvSpPr txBox="1"/>
          <p:nvPr/>
        </p:nvSpPr>
        <p:spPr>
          <a:xfrm>
            <a:off x="968087" y="3504646"/>
            <a:ext cx="1122100" cy="461665"/>
          </a:xfrm>
          <a:prstGeom prst="rect">
            <a:avLst/>
          </a:prstGeom>
          <a:noFill/>
        </p:spPr>
        <p:txBody>
          <a:bodyPr wrap="square" rtlCol="0">
            <a:spAutoFit/>
          </a:bodyPr>
          <a:lstStyle/>
          <a:p>
            <a:r>
              <a:rPr lang="en-US" sz="2400" dirty="0" err="1">
                <a:latin typeface="Times New Roman" panose="02020603050405020304" pitchFamily="18" charset="0"/>
                <a:cs typeface="Times New Roman" panose="02020603050405020304" pitchFamily="18" charset="0"/>
              </a:rPr>
              <a:t>Bảng</a:t>
            </a:r>
            <a:endParaRPr lang="en-US" sz="2400" dirty="0">
              <a:latin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CAE90A85-62F1-EFC3-A7CB-4B8A1BE420BC}"/>
              </a:ext>
            </a:extLst>
          </p:cNvPr>
          <p:cNvSpPr txBox="1"/>
          <p:nvPr/>
        </p:nvSpPr>
        <p:spPr>
          <a:xfrm>
            <a:off x="2669616" y="3531966"/>
            <a:ext cx="914400" cy="461665"/>
          </a:xfrm>
          <a:prstGeom prst="rect">
            <a:avLst/>
          </a:prstGeom>
          <a:noFill/>
        </p:spPr>
        <p:txBody>
          <a:bodyPr wrap="square" rtlCol="0">
            <a:spAutoFit/>
          </a:bodyPr>
          <a:lstStyle/>
          <a:p>
            <a:r>
              <a:rPr lang="en-US" sz="2400" dirty="0" err="1">
                <a:latin typeface="Times New Roman" panose="02020603050405020304" pitchFamily="18" charset="0"/>
                <a:cs typeface="Times New Roman" panose="02020603050405020304" pitchFamily="18" charset="0"/>
              </a:rPr>
              <a:t>Bảng</a:t>
            </a:r>
            <a:endParaRPr lang="en-US" sz="2400" dirty="0">
              <a:latin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C2AF97CF-D7FB-FCA5-D91A-5E844FD03224}"/>
              </a:ext>
            </a:extLst>
          </p:cNvPr>
          <p:cNvSpPr txBox="1"/>
          <p:nvPr/>
        </p:nvSpPr>
        <p:spPr>
          <a:xfrm>
            <a:off x="4586770" y="3966311"/>
            <a:ext cx="973216" cy="461665"/>
          </a:xfrm>
          <a:prstGeom prst="rect">
            <a:avLst/>
          </a:prstGeom>
          <a:noFill/>
        </p:spPr>
        <p:txBody>
          <a:bodyPr wrap="square" rtlCol="0">
            <a:spAutoFit/>
          </a:bodyPr>
          <a:lstStyle/>
          <a:p>
            <a:r>
              <a:rPr lang="en-US" sz="2400" dirty="0" err="1">
                <a:latin typeface="Times New Roman" panose="02020603050405020304" pitchFamily="18" charset="0"/>
                <a:cs typeface="Times New Roman" panose="02020603050405020304" pitchFamily="18" charset="0"/>
              </a:rPr>
              <a:t>Bảng</a:t>
            </a:r>
            <a:endParaRPr lang="en-US" sz="2400" dirty="0">
              <a:latin typeface="Times New Roman" panose="02020603050405020304" pitchFamily="18" charset="0"/>
              <a:cs typeface="Times New Roman" panose="02020603050405020304" pitchFamily="18" charset="0"/>
            </a:endParaRPr>
          </a:p>
        </p:txBody>
      </p:sp>
      <p:cxnSp>
        <p:nvCxnSpPr>
          <p:cNvPr id="15" name="Straight Arrow Connector 14">
            <a:extLst>
              <a:ext uri="{FF2B5EF4-FFF2-40B4-BE49-F238E27FC236}">
                <a16:creationId xmlns:a16="http://schemas.microsoft.com/office/drawing/2014/main" id="{E21072FA-9424-7803-A3DE-11B1B70C45F0}"/>
              </a:ext>
            </a:extLst>
          </p:cNvPr>
          <p:cNvCxnSpPr>
            <a:cxnSpLocks/>
          </p:cNvCxnSpPr>
          <p:nvPr/>
        </p:nvCxnSpPr>
        <p:spPr>
          <a:xfrm flipH="1">
            <a:off x="1934079" y="410859"/>
            <a:ext cx="468351" cy="5399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CB8A005-C609-7FBE-249C-102C82F433D3}"/>
              </a:ext>
            </a:extLst>
          </p:cNvPr>
          <p:cNvCxnSpPr>
            <a:cxnSpLocks/>
          </p:cNvCxnSpPr>
          <p:nvPr/>
        </p:nvCxnSpPr>
        <p:spPr>
          <a:xfrm>
            <a:off x="830222" y="1092820"/>
            <a:ext cx="322071" cy="4386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F7FA4C35-CCC0-6789-87D0-D153419BDA7C}"/>
              </a:ext>
            </a:extLst>
          </p:cNvPr>
          <p:cNvCxnSpPr/>
          <p:nvPr/>
        </p:nvCxnSpPr>
        <p:spPr>
          <a:xfrm flipH="1" flipV="1">
            <a:off x="1505414" y="2981090"/>
            <a:ext cx="59473" cy="7114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C29C966-03B2-8C6B-CDFF-D8EE2ADA72DD}"/>
              </a:ext>
            </a:extLst>
          </p:cNvPr>
          <p:cNvCxnSpPr>
            <a:cxnSpLocks/>
          </p:cNvCxnSpPr>
          <p:nvPr/>
        </p:nvCxnSpPr>
        <p:spPr>
          <a:xfrm flipV="1">
            <a:off x="3207834" y="2981090"/>
            <a:ext cx="0" cy="8063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26E094E-48CF-B527-F988-C290F0CCB904}"/>
              </a:ext>
            </a:extLst>
          </p:cNvPr>
          <p:cNvCxnSpPr>
            <a:cxnSpLocks/>
          </p:cNvCxnSpPr>
          <p:nvPr/>
        </p:nvCxnSpPr>
        <p:spPr>
          <a:xfrm flipV="1">
            <a:off x="5241173" y="3709265"/>
            <a:ext cx="0" cy="5163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F7352645-5A62-DCBB-099D-BD376945A7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1291" y="765717"/>
            <a:ext cx="1058545" cy="3662259"/>
          </a:xfrm>
          <a:prstGeom prst="rect">
            <a:avLst/>
          </a:prstGeom>
        </p:spPr>
      </p:pic>
      <p:sp>
        <p:nvSpPr>
          <p:cNvPr id="12" name="TextBox 11">
            <a:extLst>
              <a:ext uri="{FF2B5EF4-FFF2-40B4-BE49-F238E27FC236}">
                <a16:creationId xmlns:a16="http://schemas.microsoft.com/office/drawing/2014/main" id="{C1C4611B-EBE3-99CC-5AD7-84DD6D01626E}"/>
              </a:ext>
            </a:extLst>
          </p:cNvPr>
          <p:cNvSpPr txBox="1"/>
          <p:nvPr/>
        </p:nvSpPr>
        <p:spPr>
          <a:xfrm>
            <a:off x="7340564" y="3994738"/>
            <a:ext cx="1280244" cy="461665"/>
          </a:xfrm>
          <a:prstGeom prst="rect">
            <a:avLst/>
          </a:prstGeom>
          <a:noFill/>
        </p:spPr>
        <p:txBody>
          <a:bodyPr wrap="square" rtlCol="0">
            <a:spAutoFit/>
          </a:bodyPr>
          <a:lstStyle/>
          <a:p>
            <a:r>
              <a:rPr lang="en-US" sz="2400" dirty="0" err="1">
                <a:latin typeface="Times New Roman" panose="02020603050405020304" pitchFamily="18" charset="0"/>
                <a:cs typeface="Times New Roman" panose="02020603050405020304" pitchFamily="18" charset="0"/>
              </a:rPr>
              <a:t>Bảng</a:t>
            </a:r>
            <a:endParaRPr lang="en-US" sz="2400" dirty="0">
              <a:latin typeface="Times New Roman" panose="02020603050405020304" pitchFamily="18" charset="0"/>
              <a:cs typeface="Times New Roman" panose="02020603050405020304" pitchFamily="18" charset="0"/>
            </a:endParaRPr>
          </a:p>
        </p:txBody>
      </p:sp>
      <p:cxnSp>
        <p:nvCxnSpPr>
          <p:cNvPr id="14" name="Straight Arrow Connector 13">
            <a:extLst>
              <a:ext uri="{FF2B5EF4-FFF2-40B4-BE49-F238E27FC236}">
                <a16:creationId xmlns:a16="http://schemas.microsoft.com/office/drawing/2014/main" id="{68FC0CBE-F835-9242-03B2-5D60E145A96B}"/>
              </a:ext>
            </a:extLst>
          </p:cNvPr>
          <p:cNvCxnSpPr>
            <a:cxnSpLocks/>
          </p:cNvCxnSpPr>
          <p:nvPr/>
        </p:nvCxnSpPr>
        <p:spPr>
          <a:xfrm flipH="1" flipV="1">
            <a:off x="7567961" y="3735478"/>
            <a:ext cx="273963" cy="4616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ppt_x"/>
                                          </p:val>
                                        </p:tav>
                                        <p:tav tm="100000">
                                          <p:val>
                                            <p:strVal val="#ppt_x"/>
                                          </p:val>
                                        </p:tav>
                                      </p:tavLst>
                                    </p:anim>
                                    <p:anim calcmode="lin" valueType="num">
                                      <p:cBhvr additive="base">
                                        <p:cTn id="22" dur="500" fill="hold"/>
                                        <p:tgtEl>
                                          <p:spTgt spid="19"/>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500" fill="hold"/>
                                        <p:tgtEl>
                                          <p:spTgt spid="27"/>
                                        </p:tgtEl>
                                        <p:attrNameLst>
                                          <p:attrName>ppt_x</p:attrName>
                                        </p:attrNameLst>
                                      </p:cBhvr>
                                      <p:tavLst>
                                        <p:tav tm="0">
                                          <p:val>
                                            <p:strVal val="#ppt_x"/>
                                          </p:val>
                                        </p:tav>
                                        <p:tav tm="100000">
                                          <p:val>
                                            <p:strVal val="#ppt_x"/>
                                          </p:val>
                                        </p:tav>
                                      </p:tavLst>
                                    </p:anim>
                                    <p:anim calcmode="lin" valueType="num">
                                      <p:cBhvr additive="base">
                                        <p:cTn id="30" dur="5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500" fill="hold"/>
                                        <p:tgtEl>
                                          <p:spTgt spid="10"/>
                                        </p:tgtEl>
                                        <p:attrNameLst>
                                          <p:attrName>ppt_x</p:attrName>
                                        </p:attrNameLst>
                                      </p:cBhvr>
                                      <p:tavLst>
                                        <p:tav tm="0">
                                          <p:val>
                                            <p:strVal val="#ppt_x"/>
                                          </p:val>
                                        </p:tav>
                                        <p:tav tm="100000">
                                          <p:val>
                                            <p:strVal val="#ppt_x"/>
                                          </p:val>
                                        </p:tav>
                                      </p:tavLst>
                                    </p:anim>
                                    <p:anim calcmode="lin" valueType="num">
                                      <p:cBhvr additive="base">
                                        <p:cTn id="34" dur="500" fill="hold"/>
                                        <p:tgtEl>
                                          <p:spTgt spid="10"/>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500" fill="hold"/>
                                        <p:tgtEl>
                                          <p:spTgt spid="29"/>
                                        </p:tgtEl>
                                        <p:attrNameLst>
                                          <p:attrName>ppt_x</p:attrName>
                                        </p:attrNameLst>
                                      </p:cBhvr>
                                      <p:tavLst>
                                        <p:tav tm="0">
                                          <p:val>
                                            <p:strVal val="#ppt_x"/>
                                          </p:val>
                                        </p:tav>
                                        <p:tav tm="100000">
                                          <p:val>
                                            <p:strVal val="#ppt_x"/>
                                          </p:val>
                                        </p:tav>
                                      </p:tavLst>
                                    </p:anim>
                                    <p:anim calcmode="lin" valueType="num">
                                      <p:cBhvr additive="base">
                                        <p:cTn id="38" dur="500" fill="hold"/>
                                        <p:tgtEl>
                                          <p:spTgt spid="29"/>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 calcmode="lin" valueType="num">
                                      <p:cBhvr additive="base">
                                        <p:cTn id="41" dur="500" fill="hold"/>
                                        <p:tgtEl>
                                          <p:spTgt spid="12"/>
                                        </p:tgtEl>
                                        <p:attrNameLst>
                                          <p:attrName>ppt_x</p:attrName>
                                        </p:attrNameLst>
                                      </p:cBhvr>
                                      <p:tavLst>
                                        <p:tav tm="0">
                                          <p:val>
                                            <p:strVal val="#ppt_x"/>
                                          </p:val>
                                        </p:tav>
                                        <p:tav tm="100000">
                                          <p:val>
                                            <p:strVal val="#ppt_x"/>
                                          </p:val>
                                        </p:tav>
                                      </p:tavLst>
                                    </p:anim>
                                    <p:anim calcmode="lin" valueType="num">
                                      <p:cBhvr additive="base">
                                        <p:cTn id="42" dur="500" fill="hold"/>
                                        <p:tgtEl>
                                          <p:spTgt spid="12"/>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 calcmode="lin" valueType="num">
                                      <p:cBhvr additive="base">
                                        <p:cTn id="45" dur="500" fill="hold"/>
                                        <p:tgtEl>
                                          <p:spTgt spid="14"/>
                                        </p:tgtEl>
                                        <p:attrNameLst>
                                          <p:attrName>ppt_x</p:attrName>
                                        </p:attrNameLst>
                                      </p:cBhvr>
                                      <p:tavLst>
                                        <p:tav tm="0">
                                          <p:val>
                                            <p:strVal val="#ppt_x"/>
                                          </p:val>
                                        </p:tav>
                                        <p:tav tm="100000">
                                          <p:val>
                                            <p:strVal val="#ppt_x"/>
                                          </p:val>
                                        </p:tav>
                                      </p:tavLst>
                                    </p:anim>
                                    <p:anim calcmode="lin" valueType="num">
                                      <p:cBhvr additive="base">
                                        <p:cTn id="4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additive="base">
                                        <p:cTn id="51" dur="500" fill="hold"/>
                                        <p:tgtEl>
                                          <p:spTgt spid="6"/>
                                        </p:tgtEl>
                                        <p:attrNameLst>
                                          <p:attrName>ppt_x</p:attrName>
                                        </p:attrNameLst>
                                      </p:cBhvr>
                                      <p:tavLst>
                                        <p:tav tm="0">
                                          <p:val>
                                            <p:strVal val="#ppt_x"/>
                                          </p:val>
                                        </p:tav>
                                        <p:tav tm="100000">
                                          <p:val>
                                            <p:strVal val="#ppt_x"/>
                                          </p:val>
                                        </p:tav>
                                      </p:tavLst>
                                    </p:anim>
                                    <p:anim calcmode="lin" valueType="num">
                                      <p:cBhvr additive="base">
                                        <p:cTn id="52" dur="500" fill="hold"/>
                                        <p:tgtEl>
                                          <p:spTgt spid="6"/>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500" fill="hold"/>
                                        <p:tgtEl>
                                          <p:spTgt spid="15"/>
                                        </p:tgtEl>
                                        <p:attrNameLst>
                                          <p:attrName>ppt_x</p:attrName>
                                        </p:attrNameLst>
                                      </p:cBhvr>
                                      <p:tavLst>
                                        <p:tav tm="0">
                                          <p:val>
                                            <p:strVal val="#ppt_x"/>
                                          </p:val>
                                        </p:tav>
                                        <p:tav tm="100000">
                                          <p:val>
                                            <p:strVal val="#ppt_x"/>
                                          </p:val>
                                        </p:tav>
                                      </p:tavLst>
                                    </p:anim>
                                    <p:anim calcmode="lin" valueType="num">
                                      <p:cBhvr additive="base">
                                        <p:cTn id="5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 calcmode="lin" valueType="num">
                                      <p:cBhvr additive="base">
                                        <p:cTn id="61" dur="500" fill="hold"/>
                                        <p:tgtEl>
                                          <p:spTgt spid="7"/>
                                        </p:tgtEl>
                                        <p:attrNameLst>
                                          <p:attrName>ppt_x</p:attrName>
                                        </p:attrNameLst>
                                      </p:cBhvr>
                                      <p:tavLst>
                                        <p:tav tm="0">
                                          <p:val>
                                            <p:strVal val="#ppt_x"/>
                                          </p:val>
                                        </p:tav>
                                        <p:tav tm="100000">
                                          <p:val>
                                            <p:strVal val="#ppt_x"/>
                                          </p:val>
                                        </p:tav>
                                      </p:tavLst>
                                    </p:anim>
                                    <p:anim calcmode="lin" valueType="num">
                                      <p:cBhvr additive="base">
                                        <p:cTn id="62" dur="500" fill="hold"/>
                                        <p:tgtEl>
                                          <p:spTgt spid="7"/>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17"/>
                                        </p:tgtEl>
                                        <p:attrNameLst>
                                          <p:attrName>style.visibility</p:attrName>
                                        </p:attrNameLst>
                                      </p:cBhvr>
                                      <p:to>
                                        <p:strVal val="visible"/>
                                      </p:to>
                                    </p:set>
                                    <p:anim calcmode="lin" valueType="num">
                                      <p:cBhvr additive="base">
                                        <p:cTn id="65" dur="500" fill="hold"/>
                                        <p:tgtEl>
                                          <p:spTgt spid="17"/>
                                        </p:tgtEl>
                                        <p:attrNameLst>
                                          <p:attrName>ppt_x</p:attrName>
                                        </p:attrNameLst>
                                      </p:cBhvr>
                                      <p:tavLst>
                                        <p:tav tm="0">
                                          <p:val>
                                            <p:strVal val="#ppt_x"/>
                                          </p:val>
                                        </p:tav>
                                        <p:tav tm="100000">
                                          <p:val>
                                            <p:strVal val="#ppt_x"/>
                                          </p:val>
                                        </p:tav>
                                      </p:tavLst>
                                    </p:anim>
                                    <p:anim calcmode="lin" valueType="num">
                                      <p:cBhvr additive="base">
                                        <p:cTn id="6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363"/>
        <p:cNvGrpSpPr/>
        <p:nvPr/>
      </p:nvGrpSpPr>
      <p:grpSpPr>
        <a:xfrm>
          <a:off x="0" y="0"/>
          <a:ext cx="0" cy="0"/>
          <a:chOff x="0" y="0"/>
          <a:chExt cx="0" cy="0"/>
        </a:xfrm>
      </p:grpSpPr>
      <p:sp>
        <p:nvSpPr>
          <p:cNvPr id="3" name="Title 2">
            <a:extLst>
              <a:ext uri="{FF2B5EF4-FFF2-40B4-BE49-F238E27FC236}">
                <a16:creationId xmlns:a16="http://schemas.microsoft.com/office/drawing/2014/main" id="{F9F6ADA0-E586-7874-6D31-FDEABA834D53}"/>
              </a:ext>
            </a:extLst>
          </p:cNvPr>
          <p:cNvSpPr>
            <a:spLocks noGrp="1"/>
          </p:cNvSpPr>
          <p:nvPr>
            <p:ph type="title"/>
          </p:nvPr>
        </p:nvSpPr>
        <p:spPr>
          <a:xfrm>
            <a:off x="-758710" y="191992"/>
            <a:ext cx="7717500" cy="685800"/>
          </a:xfrm>
        </p:spPr>
        <p:txBody>
          <a:bodyPr/>
          <a:lstStyle/>
          <a:p>
            <a:r>
              <a:rPr lang="en-US" sz="4800" dirty="0" err="1"/>
              <a:t>Tóm</a:t>
            </a:r>
            <a:r>
              <a:rPr lang="en-US" sz="4800" dirty="0"/>
              <a:t> </a:t>
            </a:r>
            <a:r>
              <a:rPr lang="en-US" sz="4800" dirty="0" err="1"/>
              <a:t>tắt</a:t>
            </a:r>
            <a:r>
              <a:rPr lang="en-US" sz="4800" dirty="0"/>
              <a:t> </a:t>
            </a:r>
            <a:r>
              <a:rPr lang="en-US" sz="4800" dirty="0" err="1"/>
              <a:t>nội</a:t>
            </a:r>
            <a:r>
              <a:rPr lang="en-US" sz="4800" dirty="0"/>
              <a:t> dung : </a:t>
            </a:r>
          </a:p>
        </p:txBody>
      </p:sp>
      <p:sp>
        <p:nvSpPr>
          <p:cNvPr id="4" name="TextBox 3">
            <a:extLst>
              <a:ext uri="{FF2B5EF4-FFF2-40B4-BE49-F238E27FC236}">
                <a16:creationId xmlns:a16="http://schemas.microsoft.com/office/drawing/2014/main" id="{DD9B21D1-8752-9039-E06C-DF192BB84D17}"/>
              </a:ext>
            </a:extLst>
          </p:cNvPr>
          <p:cNvSpPr txBox="1"/>
          <p:nvPr/>
        </p:nvSpPr>
        <p:spPr>
          <a:xfrm>
            <a:off x="542692" y="1011043"/>
            <a:ext cx="8868937" cy="1938992"/>
          </a:xfrm>
          <a:prstGeom prst="rect">
            <a:avLst/>
          </a:prstGeom>
          <a:noFill/>
        </p:spPr>
        <p:txBody>
          <a:bodyPr wrap="square" rtlCol="0">
            <a:spAutoFit/>
          </a:bodyPr>
          <a:lstStyle/>
          <a:p>
            <a:r>
              <a:rPr lang="en-US" sz="3600" b="1" dirty="0" err="1">
                <a:solidFill>
                  <a:schemeClr val="tx1">
                    <a:lumMod val="50000"/>
                    <a:lumOff val="50000"/>
                  </a:schemeClr>
                </a:solidFill>
                <a:latin typeface="Times New Roman" panose="02020603050405020304" pitchFamily="18" charset="0"/>
                <a:cs typeface="Times New Roman" panose="02020603050405020304" pitchFamily="18" charset="0"/>
              </a:rPr>
              <a:t>Mô</a:t>
            </a:r>
            <a:r>
              <a:rPr lang="en-US" sz="3600" b="1" dirty="0">
                <a:solidFill>
                  <a:schemeClr val="tx1">
                    <a:lumMod val="50000"/>
                    <a:lumOff val="50000"/>
                  </a:schemeClr>
                </a:solidFill>
                <a:latin typeface="Times New Roman" panose="02020603050405020304" pitchFamily="18" charset="0"/>
                <a:cs typeface="Times New Roman" panose="02020603050405020304" pitchFamily="18" charset="0"/>
              </a:rPr>
              <a:t> </a:t>
            </a:r>
            <a:r>
              <a:rPr lang="en-US" sz="3600" b="1" dirty="0" err="1">
                <a:solidFill>
                  <a:schemeClr val="tx1">
                    <a:lumMod val="50000"/>
                    <a:lumOff val="50000"/>
                  </a:schemeClr>
                </a:solidFill>
                <a:latin typeface="Times New Roman" panose="02020603050405020304" pitchFamily="18" charset="0"/>
                <a:cs typeface="Times New Roman" panose="02020603050405020304" pitchFamily="18" charset="0"/>
              </a:rPr>
              <a:t>hình</a:t>
            </a:r>
            <a:r>
              <a:rPr lang="en-US" sz="3600" b="1" dirty="0">
                <a:solidFill>
                  <a:schemeClr val="tx1">
                    <a:lumMod val="50000"/>
                    <a:lumOff val="50000"/>
                  </a:schemeClr>
                </a:solidFill>
                <a:latin typeface="Times New Roman" panose="02020603050405020304" pitchFamily="18" charset="0"/>
                <a:cs typeface="Times New Roman" panose="02020603050405020304" pitchFamily="18" charset="0"/>
              </a:rPr>
              <a:t> </a:t>
            </a:r>
            <a:r>
              <a:rPr lang="en-US" sz="3600" b="1" dirty="0" err="1">
                <a:solidFill>
                  <a:schemeClr val="tx1">
                    <a:lumMod val="50000"/>
                    <a:lumOff val="50000"/>
                  </a:schemeClr>
                </a:solidFill>
                <a:latin typeface="Times New Roman" panose="02020603050405020304" pitchFamily="18" charset="0"/>
                <a:cs typeface="Times New Roman" panose="02020603050405020304" pitchFamily="18" charset="0"/>
              </a:rPr>
              <a:t>dữ</a:t>
            </a:r>
            <a:r>
              <a:rPr lang="en-US" sz="3600" b="1" dirty="0">
                <a:solidFill>
                  <a:schemeClr val="tx1">
                    <a:lumMod val="50000"/>
                    <a:lumOff val="50000"/>
                  </a:schemeClr>
                </a:solidFill>
                <a:latin typeface="Times New Roman" panose="02020603050405020304" pitchFamily="18" charset="0"/>
                <a:cs typeface="Times New Roman" panose="02020603050405020304" pitchFamily="18" charset="0"/>
              </a:rPr>
              <a:t> </a:t>
            </a:r>
            <a:r>
              <a:rPr lang="en-US" sz="3600" b="1" dirty="0" err="1">
                <a:solidFill>
                  <a:schemeClr val="tx1">
                    <a:lumMod val="50000"/>
                    <a:lumOff val="50000"/>
                  </a:schemeClr>
                </a:solidFill>
                <a:latin typeface="Times New Roman" panose="02020603050405020304" pitchFamily="18" charset="0"/>
                <a:cs typeface="Times New Roman" panose="02020603050405020304" pitchFamily="18" charset="0"/>
              </a:rPr>
              <a:t>liệu</a:t>
            </a:r>
            <a:r>
              <a:rPr lang="en-US" sz="3600" b="1" dirty="0">
                <a:solidFill>
                  <a:schemeClr val="tx1">
                    <a:lumMod val="50000"/>
                    <a:lumOff val="50000"/>
                  </a:schemeClr>
                </a:solidFill>
                <a:latin typeface="Times New Roman" panose="02020603050405020304" pitchFamily="18" charset="0"/>
                <a:cs typeface="Times New Roman" panose="02020603050405020304" pitchFamily="18" charset="0"/>
              </a:rPr>
              <a:t> </a:t>
            </a:r>
            <a:r>
              <a:rPr lang="en-US" sz="3600" b="1" dirty="0" err="1">
                <a:solidFill>
                  <a:schemeClr val="tx1">
                    <a:lumMod val="50000"/>
                    <a:lumOff val="50000"/>
                  </a:schemeClr>
                </a:solidFill>
                <a:latin typeface="Times New Roman" panose="02020603050405020304" pitchFamily="18" charset="0"/>
                <a:cs typeface="Times New Roman" panose="02020603050405020304" pitchFamily="18" charset="0"/>
              </a:rPr>
              <a:t>quan</a:t>
            </a:r>
            <a:r>
              <a:rPr lang="en-US" sz="3600" b="1" dirty="0">
                <a:solidFill>
                  <a:schemeClr val="tx1">
                    <a:lumMod val="50000"/>
                    <a:lumOff val="50000"/>
                  </a:schemeClr>
                </a:solidFill>
                <a:latin typeface="Times New Roman" panose="02020603050405020304" pitchFamily="18" charset="0"/>
                <a:cs typeface="Times New Roman" panose="02020603050405020304" pitchFamily="18" charset="0"/>
              </a:rPr>
              <a:t> </a:t>
            </a:r>
            <a:r>
              <a:rPr lang="en-US" sz="3600" b="1" dirty="0" err="1">
                <a:solidFill>
                  <a:schemeClr val="tx1">
                    <a:lumMod val="50000"/>
                    <a:lumOff val="50000"/>
                  </a:schemeClr>
                </a:solidFill>
                <a:latin typeface="Times New Roman" panose="02020603050405020304" pitchFamily="18" charset="0"/>
                <a:cs typeface="Times New Roman" panose="02020603050405020304" pitchFamily="18" charset="0"/>
              </a:rPr>
              <a:t>hệ</a:t>
            </a:r>
            <a:r>
              <a:rPr lang="en-US" sz="3600" b="1" dirty="0">
                <a:solidFill>
                  <a:schemeClr val="tx1">
                    <a:lumMod val="50000"/>
                    <a:lumOff val="50000"/>
                  </a:schemeClr>
                </a:solidFill>
                <a:latin typeface="Times New Roman" panose="02020603050405020304" pitchFamily="18" charset="0"/>
                <a:cs typeface="Times New Roman" panose="02020603050405020304" pitchFamily="18" charset="0"/>
              </a:rPr>
              <a:t> :</a:t>
            </a:r>
          </a:p>
          <a:p>
            <a:r>
              <a:rPr lang="en-US" sz="2800" dirty="0" err="1"/>
              <a:t>Mô</a:t>
            </a:r>
            <a:r>
              <a:rPr lang="en-US" sz="2800" dirty="0"/>
              <a:t> </a:t>
            </a:r>
            <a:r>
              <a:rPr lang="en-US" sz="2800" dirty="0" err="1"/>
              <a:t>hình</a:t>
            </a:r>
            <a:r>
              <a:rPr lang="en-US" sz="2800" dirty="0"/>
              <a:t> </a:t>
            </a:r>
            <a:r>
              <a:rPr lang="en-US" sz="2800" dirty="0" err="1"/>
              <a:t>tổ</a:t>
            </a:r>
            <a:r>
              <a:rPr lang="en-US" sz="2800" dirty="0"/>
              <a:t> </a:t>
            </a:r>
            <a:r>
              <a:rPr lang="en-US" sz="2800" dirty="0" err="1"/>
              <a:t>chức</a:t>
            </a:r>
            <a:r>
              <a:rPr lang="en-US" sz="2800" dirty="0"/>
              <a:t> </a:t>
            </a:r>
            <a:r>
              <a:rPr lang="en-US" sz="2800" dirty="0" err="1"/>
              <a:t>dữ</a:t>
            </a:r>
            <a:r>
              <a:rPr lang="en-US" sz="2800" dirty="0"/>
              <a:t> </a:t>
            </a:r>
            <a:r>
              <a:rPr lang="en-US" sz="2800" dirty="0" err="1"/>
              <a:t>liệu</a:t>
            </a:r>
            <a:r>
              <a:rPr lang="en-US" sz="2800" dirty="0"/>
              <a:t> </a:t>
            </a:r>
            <a:r>
              <a:rPr lang="en-US" sz="2800" dirty="0" err="1"/>
              <a:t>thành</a:t>
            </a:r>
            <a:r>
              <a:rPr lang="en-US" sz="2800" dirty="0"/>
              <a:t> </a:t>
            </a:r>
            <a:r>
              <a:rPr lang="en-US" sz="2800" dirty="0" err="1"/>
              <a:t>các</a:t>
            </a:r>
            <a:r>
              <a:rPr lang="en-US" sz="2800" dirty="0"/>
              <a:t> </a:t>
            </a:r>
            <a:r>
              <a:rPr lang="en-US" sz="2800" dirty="0" err="1"/>
              <a:t>bảng</a:t>
            </a:r>
            <a:r>
              <a:rPr lang="en-US" sz="2800" dirty="0"/>
              <a:t> </a:t>
            </a:r>
            <a:r>
              <a:rPr lang="en-US" sz="2800" dirty="0" err="1"/>
              <a:t>dữ</a:t>
            </a:r>
            <a:r>
              <a:rPr lang="en-US" sz="2800" dirty="0"/>
              <a:t> </a:t>
            </a:r>
            <a:r>
              <a:rPr lang="en-US" sz="2800" dirty="0" err="1"/>
              <a:t>liệu</a:t>
            </a:r>
            <a:r>
              <a:rPr lang="en-US" sz="2800" dirty="0"/>
              <a:t> </a:t>
            </a:r>
            <a:r>
              <a:rPr lang="en-US" sz="2800" dirty="0" err="1"/>
              <a:t>của</a:t>
            </a:r>
            <a:r>
              <a:rPr lang="en-US" sz="2800" dirty="0"/>
              <a:t> </a:t>
            </a:r>
            <a:r>
              <a:rPr lang="en-US" sz="2800" dirty="0" err="1"/>
              <a:t>các</a:t>
            </a:r>
            <a:r>
              <a:rPr lang="en-US" sz="2800" dirty="0"/>
              <a:t> </a:t>
            </a:r>
            <a:r>
              <a:rPr lang="en-US" sz="2800" dirty="0" err="1"/>
              <a:t>đối</a:t>
            </a:r>
            <a:r>
              <a:rPr lang="en-US" sz="2800" dirty="0"/>
              <a:t> </a:t>
            </a:r>
            <a:r>
              <a:rPr lang="en-US" sz="2800" dirty="0" err="1"/>
              <a:t>tượng</a:t>
            </a:r>
            <a:r>
              <a:rPr lang="en-US" sz="2800" dirty="0"/>
              <a:t> </a:t>
            </a:r>
            <a:r>
              <a:rPr lang="en-US" sz="2800" dirty="0" err="1"/>
              <a:t>có</a:t>
            </a:r>
            <a:r>
              <a:rPr lang="en-US" sz="2800" dirty="0"/>
              <a:t> </a:t>
            </a:r>
            <a:r>
              <a:rPr lang="en-US" sz="2800" dirty="0" err="1"/>
              <a:t>các</a:t>
            </a:r>
            <a:r>
              <a:rPr lang="en-US" sz="2800" dirty="0"/>
              <a:t> </a:t>
            </a:r>
            <a:r>
              <a:rPr lang="en-US" sz="2800" dirty="0" err="1"/>
              <a:t>thuộc</a:t>
            </a:r>
            <a:r>
              <a:rPr lang="en-US" sz="2800" dirty="0"/>
              <a:t> </a:t>
            </a:r>
            <a:r>
              <a:rPr lang="en-US" sz="2800" dirty="0" err="1"/>
              <a:t>tính</a:t>
            </a:r>
            <a:r>
              <a:rPr lang="en-US" sz="2800" dirty="0"/>
              <a:t> </a:t>
            </a:r>
            <a:r>
              <a:rPr lang="en-US" sz="2800" dirty="0" err="1"/>
              <a:t>giống</a:t>
            </a:r>
            <a:r>
              <a:rPr lang="en-US" sz="2800" dirty="0"/>
              <a:t> </a:t>
            </a:r>
            <a:r>
              <a:rPr lang="en-US" sz="2800" dirty="0" err="1"/>
              <a:t>nhau</a:t>
            </a:r>
            <a:r>
              <a:rPr lang="en-US" sz="2800" dirty="0"/>
              <a:t> </a:t>
            </a:r>
            <a:r>
              <a:rPr lang="en-US" sz="2800" dirty="0" err="1"/>
              <a:t>và</a:t>
            </a:r>
            <a:r>
              <a:rPr lang="en-US" sz="2800" dirty="0"/>
              <a:t> </a:t>
            </a:r>
            <a:r>
              <a:rPr lang="en-US" sz="2800" dirty="0" err="1"/>
              <a:t>các</a:t>
            </a:r>
            <a:r>
              <a:rPr lang="en-US" sz="2800" dirty="0"/>
              <a:t> </a:t>
            </a:r>
            <a:r>
              <a:rPr lang="en-US" sz="2800" dirty="0" err="1"/>
              <a:t>bảng</a:t>
            </a:r>
            <a:r>
              <a:rPr lang="en-US" sz="2800" dirty="0"/>
              <a:t> </a:t>
            </a:r>
            <a:r>
              <a:rPr lang="en-US" sz="2800" dirty="0" err="1"/>
              <a:t>có</a:t>
            </a:r>
            <a:r>
              <a:rPr lang="en-US" sz="2800" dirty="0"/>
              <a:t> </a:t>
            </a:r>
            <a:r>
              <a:rPr lang="en-US" sz="2800" dirty="0" err="1"/>
              <a:t>quan</a:t>
            </a:r>
            <a:r>
              <a:rPr lang="en-US" sz="2800" dirty="0"/>
              <a:t> </a:t>
            </a:r>
            <a:r>
              <a:rPr lang="en-US" sz="2800" dirty="0" err="1"/>
              <a:t>hệ</a:t>
            </a:r>
            <a:r>
              <a:rPr lang="en-US" sz="2800" dirty="0"/>
              <a:t> </a:t>
            </a:r>
            <a:r>
              <a:rPr lang="en-US" sz="2800" dirty="0" err="1"/>
              <a:t>với</a:t>
            </a:r>
            <a:r>
              <a:rPr lang="en-US" sz="2800" dirty="0"/>
              <a:t> </a:t>
            </a:r>
            <a:r>
              <a:rPr lang="en-US" sz="2800" dirty="0" err="1"/>
              <a:t>nhau</a:t>
            </a:r>
            <a:endParaRPr lang="en-US" sz="2800" dirty="0"/>
          </a:p>
        </p:txBody>
      </p:sp>
      <p:sp>
        <p:nvSpPr>
          <p:cNvPr id="5" name="TextBox 4">
            <a:extLst>
              <a:ext uri="{FF2B5EF4-FFF2-40B4-BE49-F238E27FC236}">
                <a16:creationId xmlns:a16="http://schemas.microsoft.com/office/drawing/2014/main" id="{54842E8F-74C8-9596-868A-B811761F87EA}"/>
              </a:ext>
            </a:extLst>
          </p:cNvPr>
          <p:cNvSpPr txBox="1"/>
          <p:nvPr/>
        </p:nvSpPr>
        <p:spPr>
          <a:xfrm>
            <a:off x="542692" y="2757603"/>
            <a:ext cx="5776759" cy="1508105"/>
          </a:xfrm>
          <a:prstGeom prst="rect">
            <a:avLst/>
          </a:prstGeom>
          <a:noFill/>
        </p:spPr>
        <p:txBody>
          <a:bodyPr wrap="square" rtlCol="0">
            <a:spAutoFit/>
          </a:bodyPr>
          <a:lstStyle/>
          <a:p>
            <a:r>
              <a:rPr lang="en-US" sz="3600" b="1" dirty="0">
                <a:solidFill>
                  <a:schemeClr val="tx1">
                    <a:lumMod val="50000"/>
                    <a:lumOff val="50000"/>
                  </a:schemeClr>
                </a:solidFill>
                <a:latin typeface="Times New Roman" panose="02020603050405020304" pitchFamily="18" charset="0"/>
                <a:cs typeface="Times New Roman" panose="02020603050405020304" pitchFamily="18" charset="0"/>
              </a:rPr>
              <a:t>CSDL </a:t>
            </a:r>
            <a:r>
              <a:rPr lang="en-US" sz="3600" b="1" dirty="0" err="1">
                <a:solidFill>
                  <a:schemeClr val="tx1">
                    <a:lumMod val="50000"/>
                    <a:lumOff val="50000"/>
                  </a:schemeClr>
                </a:solidFill>
                <a:latin typeface="Times New Roman" panose="02020603050405020304" pitchFamily="18" charset="0"/>
                <a:cs typeface="Times New Roman" panose="02020603050405020304" pitchFamily="18" charset="0"/>
              </a:rPr>
              <a:t>quan</a:t>
            </a:r>
            <a:r>
              <a:rPr lang="en-US" sz="3600" b="1" dirty="0">
                <a:solidFill>
                  <a:schemeClr val="tx1">
                    <a:lumMod val="50000"/>
                    <a:lumOff val="50000"/>
                  </a:schemeClr>
                </a:solidFill>
                <a:latin typeface="Times New Roman" panose="02020603050405020304" pitchFamily="18" charset="0"/>
                <a:cs typeface="Times New Roman" panose="02020603050405020304" pitchFamily="18" charset="0"/>
              </a:rPr>
              <a:t> </a:t>
            </a:r>
            <a:r>
              <a:rPr lang="en-US" sz="3600" b="1" dirty="0" err="1">
                <a:solidFill>
                  <a:schemeClr val="tx1">
                    <a:lumMod val="50000"/>
                    <a:lumOff val="50000"/>
                  </a:schemeClr>
                </a:solidFill>
                <a:latin typeface="Times New Roman" panose="02020603050405020304" pitchFamily="18" charset="0"/>
                <a:cs typeface="Times New Roman" panose="02020603050405020304" pitchFamily="18" charset="0"/>
              </a:rPr>
              <a:t>hệ</a:t>
            </a:r>
            <a:r>
              <a:rPr lang="en-US" sz="3600" b="1" dirty="0">
                <a:solidFill>
                  <a:schemeClr val="tx1">
                    <a:lumMod val="50000"/>
                    <a:lumOff val="50000"/>
                  </a:schemeClr>
                </a:solidFill>
                <a:latin typeface="Times New Roman" panose="02020603050405020304" pitchFamily="18" charset="0"/>
                <a:cs typeface="Times New Roman" panose="02020603050405020304" pitchFamily="18" charset="0"/>
              </a:rPr>
              <a:t> : </a:t>
            </a:r>
          </a:p>
          <a:p>
            <a:r>
              <a:rPr lang="en-US" sz="2800" dirty="0" err="1">
                <a:latin typeface="Times New Roman" panose="02020603050405020304" pitchFamily="18" charset="0"/>
                <a:cs typeface="Times New Roman" panose="02020603050405020304" pitchFamily="18" charset="0"/>
              </a:rPr>
              <a:t>Cơ</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sở</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dữ</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liệu</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lưu</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trữ</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dưới</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dạng</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các</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bảng</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có</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quan</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hệ</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với</a:t>
            </a:r>
            <a:r>
              <a:rPr lang="en-US" sz="2800" dirty="0">
                <a:latin typeface="Times New Roman" panose="02020603050405020304" pitchFamily="18" charset="0"/>
                <a:cs typeface="Times New Roman" panose="02020603050405020304" pitchFamily="18" charset="0"/>
              </a:rPr>
              <a:t> </a:t>
            </a:r>
            <a:r>
              <a:rPr lang="en-US" sz="2800" dirty="0" err="1">
                <a:latin typeface="Times New Roman" panose="02020603050405020304" pitchFamily="18" charset="0"/>
                <a:cs typeface="Times New Roman" panose="02020603050405020304" pitchFamily="18" charset="0"/>
              </a:rPr>
              <a:t>nhau</a:t>
            </a:r>
            <a:r>
              <a:rPr lang="en-US" sz="2800" dirty="0">
                <a:latin typeface="Times New Roman" panose="02020603050405020304" pitchFamily="18" charset="0"/>
                <a:cs typeface="Times New Roman" panose="02020603050405020304" pitchFamily="18" charset="0"/>
              </a:rPr>
              <a:t>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21"/>
        <p:cNvGrpSpPr/>
        <p:nvPr/>
      </p:nvGrpSpPr>
      <p:grpSpPr>
        <a:xfrm>
          <a:off x="0" y="0"/>
          <a:ext cx="0" cy="0"/>
          <a:chOff x="0" y="0"/>
          <a:chExt cx="0" cy="0"/>
        </a:xfrm>
      </p:grpSpPr>
      <p:sp>
        <p:nvSpPr>
          <p:cNvPr id="554" name="Parallelogram 553">
            <a:extLst>
              <a:ext uri="{FF2B5EF4-FFF2-40B4-BE49-F238E27FC236}">
                <a16:creationId xmlns:a16="http://schemas.microsoft.com/office/drawing/2014/main" id="{F5E67415-DDD0-48DA-A302-22730F95AE0D}"/>
              </a:ext>
            </a:extLst>
          </p:cNvPr>
          <p:cNvSpPr/>
          <p:nvPr/>
        </p:nvSpPr>
        <p:spPr>
          <a:xfrm>
            <a:off x="-1528252" y="-504964"/>
            <a:ext cx="2619214" cy="1255362"/>
          </a:xfrm>
          <a:prstGeom prst="parallelogram">
            <a:avLst/>
          </a:prstGeom>
          <a:solidFill>
            <a:srgbClr val="CF75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553" name="Parallelogram 552">
            <a:extLst>
              <a:ext uri="{FF2B5EF4-FFF2-40B4-BE49-F238E27FC236}">
                <a16:creationId xmlns:a16="http://schemas.microsoft.com/office/drawing/2014/main" id="{658A27BD-4795-4593-9DFB-F1FBDAB5A260}"/>
              </a:ext>
            </a:extLst>
          </p:cNvPr>
          <p:cNvSpPr/>
          <p:nvPr/>
        </p:nvSpPr>
        <p:spPr>
          <a:xfrm>
            <a:off x="808167" y="22962"/>
            <a:ext cx="8679050" cy="627681"/>
          </a:xfrm>
          <a:prstGeom prst="parallelogram">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sp>
        <p:nvSpPr>
          <p:cNvPr id="557" name="Parallelogram 556">
            <a:extLst>
              <a:ext uri="{FF2B5EF4-FFF2-40B4-BE49-F238E27FC236}">
                <a16:creationId xmlns:a16="http://schemas.microsoft.com/office/drawing/2014/main" id="{CF62192A-21FC-4BFD-B6C1-42C24A77EBE0}"/>
              </a:ext>
            </a:extLst>
          </p:cNvPr>
          <p:cNvSpPr/>
          <p:nvPr/>
        </p:nvSpPr>
        <p:spPr>
          <a:xfrm>
            <a:off x="-1999280" y="-504964"/>
            <a:ext cx="3006672" cy="1255362"/>
          </a:xfrm>
          <a:prstGeom prst="parallelogram">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558" name="Parallelogram 557">
            <a:extLst>
              <a:ext uri="{FF2B5EF4-FFF2-40B4-BE49-F238E27FC236}">
                <a16:creationId xmlns:a16="http://schemas.microsoft.com/office/drawing/2014/main" id="{406091AD-F9A4-4BD0-AB24-8255FE5238D7}"/>
              </a:ext>
            </a:extLst>
          </p:cNvPr>
          <p:cNvSpPr/>
          <p:nvPr/>
        </p:nvSpPr>
        <p:spPr>
          <a:xfrm>
            <a:off x="6827005" y="175300"/>
            <a:ext cx="2681207" cy="604434"/>
          </a:xfrm>
          <a:prstGeom prst="parallelogram">
            <a:avLst/>
          </a:prstGeom>
          <a:solidFill>
            <a:srgbClr val="CF75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559" name="TextBox 558">
            <a:extLst>
              <a:ext uri="{FF2B5EF4-FFF2-40B4-BE49-F238E27FC236}">
                <a16:creationId xmlns:a16="http://schemas.microsoft.com/office/drawing/2014/main" id="{53765432-3B65-4E9C-BE16-2F7136527A87}"/>
              </a:ext>
            </a:extLst>
          </p:cNvPr>
          <p:cNvSpPr txBox="1"/>
          <p:nvPr/>
        </p:nvSpPr>
        <p:spPr>
          <a:xfrm>
            <a:off x="1090962" y="101098"/>
            <a:ext cx="6013344" cy="461665"/>
          </a:xfrm>
          <a:prstGeom prst="rect">
            <a:avLst/>
          </a:prstGeom>
          <a:noFill/>
        </p:spPr>
        <p:txBody>
          <a:bodyPr wrap="square" rtlCol="0">
            <a:spAutoFit/>
          </a:bodyPr>
          <a:lstStyle/>
          <a:p>
            <a:r>
              <a:rPr lang="en-US" sz="2400" dirty="0" err="1">
                <a:solidFill>
                  <a:schemeClr val="bg1"/>
                </a:solidFill>
                <a:latin typeface="Times New Roman" panose="02020603050405020304" pitchFamily="18" charset="0"/>
                <a:cs typeface="Times New Roman" panose="02020603050405020304" pitchFamily="18" charset="0"/>
              </a:rPr>
              <a:t>Một</a:t>
            </a:r>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Số</a:t>
            </a:r>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Thuật</a:t>
            </a:r>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Ngữ</a:t>
            </a:r>
            <a:r>
              <a:rPr lang="en-US" sz="2400" dirty="0">
                <a:solidFill>
                  <a:schemeClr val="bg1"/>
                </a:solidFill>
                <a:latin typeface="Times New Roman" panose="02020603050405020304" pitchFamily="18" charset="0"/>
                <a:cs typeface="Times New Roman" panose="02020603050405020304" pitchFamily="18" charset="0"/>
              </a:rPr>
              <a:t> , </a:t>
            </a:r>
            <a:r>
              <a:rPr lang="en-US" sz="2400" dirty="0" err="1">
                <a:solidFill>
                  <a:schemeClr val="bg1"/>
                </a:solidFill>
                <a:latin typeface="Times New Roman" panose="02020603050405020304" pitchFamily="18" charset="0"/>
                <a:cs typeface="Times New Roman" panose="02020603050405020304" pitchFamily="18" charset="0"/>
              </a:rPr>
              <a:t>Khái</a:t>
            </a:r>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Niệm</a:t>
            </a:r>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Liên</a:t>
            </a:r>
            <a:r>
              <a:rPr lang="en-US" sz="2400" dirty="0">
                <a:solidFill>
                  <a:schemeClr val="bg1"/>
                </a:solidFill>
                <a:latin typeface="Times New Roman" panose="02020603050405020304" pitchFamily="18" charset="0"/>
                <a:cs typeface="Times New Roman" panose="02020603050405020304" pitchFamily="18" charset="0"/>
              </a:rPr>
              <a:t> Quan</a:t>
            </a:r>
          </a:p>
        </p:txBody>
      </p:sp>
      <p:sp>
        <p:nvSpPr>
          <p:cNvPr id="560" name="TextBox 559">
            <a:extLst>
              <a:ext uri="{FF2B5EF4-FFF2-40B4-BE49-F238E27FC236}">
                <a16:creationId xmlns:a16="http://schemas.microsoft.com/office/drawing/2014/main" id="{E7C16949-2195-44D8-82E7-500030A4F483}"/>
              </a:ext>
            </a:extLst>
          </p:cNvPr>
          <p:cNvSpPr txBox="1"/>
          <p:nvPr/>
        </p:nvSpPr>
        <p:spPr>
          <a:xfrm>
            <a:off x="178855" y="-31614"/>
            <a:ext cx="492443" cy="830997"/>
          </a:xfrm>
          <a:prstGeom prst="rect">
            <a:avLst/>
          </a:prstGeom>
          <a:noFill/>
        </p:spPr>
        <p:txBody>
          <a:bodyPr wrap="none" rtlCol="0">
            <a:spAutoFit/>
          </a:bodyPr>
          <a:lstStyle/>
          <a:p>
            <a:r>
              <a:rPr lang="en-US" sz="4800" b="1" dirty="0">
                <a:latin typeface="Times New Roman" panose="02020603050405020304" pitchFamily="18" charset="0"/>
                <a:cs typeface="Times New Roman" panose="02020603050405020304" pitchFamily="18" charset="0"/>
              </a:rPr>
              <a:t>2</a:t>
            </a:r>
          </a:p>
        </p:txBody>
      </p:sp>
      <p:sp>
        <p:nvSpPr>
          <p:cNvPr id="562" name="Arc 561">
            <a:extLst>
              <a:ext uri="{FF2B5EF4-FFF2-40B4-BE49-F238E27FC236}">
                <a16:creationId xmlns:a16="http://schemas.microsoft.com/office/drawing/2014/main" id="{37883A55-0690-44F1-9B3E-6858DF66FB50}"/>
              </a:ext>
            </a:extLst>
          </p:cNvPr>
          <p:cNvSpPr/>
          <p:nvPr/>
        </p:nvSpPr>
        <p:spPr>
          <a:xfrm rot="2774654">
            <a:off x="-5398715" y="-752255"/>
            <a:ext cx="6720924" cy="6648010"/>
          </a:xfrm>
          <a:prstGeom prst="arc">
            <a:avLst>
              <a:gd name="adj1" fmla="val 16969722"/>
              <a:gd name="adj2" fmla="val 21153075"/>
            </a:avLst>
          </a:prstGeom>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solidFill>
                <a:srgbClr val="FF0000"/>
              </a:solidFill>
              <a:latin typeface="Times New Roman" panose="02020603050405020304" pitchFamily="18" charset="0"/>
              <a:cs typeface="Times New Roman" panose="02020603050405020304" pitchFamily="18" charset="0"/>
            </a:endParaRPr>
          </a:p>
        </p:txBody>
      </p:sp>
      <p:sp>
        <p:nvSpPr>
          <p:cNvPr id="563" name="Oval 562">
            <a:extLst>
              <a:ext uri="{FF2B5EF4-FFF2-40B4-BE49-F238E27FC236}">
                <a16:creationId xmlns:a16="http://schemas.microsoft.com/office/drawing/2014/main" id="{3451589A-E7B6-46CD-9288-EB2E79233BC5}"/>
              </a:ext>
            </a:extLst>
          </p:cNvPr>
          <p:cNvSpPr/>
          <p:nvPr/>
        </p:nvSpPr>
        <p:spPr>
          <a:xfrm>
            <a:off x="585770" y="592199"/>
            <a:ext cx="473529" cy="627681"/>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schemeClr val="bg1"/>
              </a:solidFill>
              <a:latin typeface="Times New Roman" panose="02020603050405020304" pitchFamily="18" charset="0"/>
              <a:cs typeface="Times New Roman" panose="02020603050405020304" pitchFamily="18" charset="0"/>
            </a:endParaRPr>
          </a:p>
        </p:txBody>
      </p:sp>
      <p:sp>
        <p:nvSpPr>
          <p:cNvPr id="91" name="Oval 90">
            <a:extLst>
              <a:ext uri="{FF2B5EF4-FFF2-40B4-BE49-F238E27FC236}">
                <a16:creationId xmlns:a16="http://schemas.microsoft.com/office/drawing/2014/main" id="{CBED3156-4F5B-4F60-BC37-38C8092CB812}"/>
              </a:ext>
            </a:extLst>
          </p:cNvPr>
          <p:cNvSpPr/>
          <p:nvPr/>
        </p:nvSpPr>
        <p:spPr>
          <a:xfrm>
            <a:off x="934256" y="1400069"/>
            <a:ext cx="473529" cy="627681"/>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schemeClr val="bg1"/>
              </a:solidFill>
              <a:latin typeface="Times New Roman" panose="02020603050405020304" pitchFamily="18" charset="0"/>
              <a:cs typeface="Times New Roman" panose="02020603050405020304" pitchFamily="18" charset="0"/>
            </a:endParaRPr>
          </a:p>
        </p:txBody>
      </p:sp>
      <p:sp>
        <p:nvSpPr>
          <p:cNvPr id="100" name="Oval 99">
            <a:extLst>
              <a:ext uri="{FF2B5EF4-FFF2-40B4-BE49-F238E27FC236}">
                <a16:creationId xmlns:a16="http://schemas.microsoft.com/office/drawing/2014/main" id="{ECF8E348-CA8F-4BF1-8BCB-125E88EF4E59}"/>
              </a:ext>
            </a:extLst>
          </p:cNvPr>
          <p:cNvSpPr/>
          <p:nvPr/>
        </p:nvSpPr>
        <p:spPr>
          <a:xfrm>
            <a:off x="1095717" y="2338051"/>
            <a:ext cx="473529" cy="627681"/>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schemeClr val="bg1"/>
              </a:solidFill>
              <a:latin typeface="Times New Roman" panose="02020603050405020304" pitchFamily="18" charset="0"/>
              <a:cs typeface="Times New Roman" panose="02020603050405020304" pitchFamily="18" charset="0"/>
            </a:endParaRPr>
          </a:p>
        </p:txBody>
      </p:sp>
      <p:sp>
        <p:nvSpPr>
          <p:cNvPr id="101" name="Oval 100">
            <a:extLst>
              <a:ext uri="{FF2B5EF4-FFF2-40B4-BE49-F238E27FC236}">
                <a16:creationId xmlns:a16="http://schemas.microsoft.com/office/drawing/2014/main" id="{2FE01892-1D84-48F6-AD90-5EF96F5A2DAC}"/>
              </a:ext>
            </a:extLst>
          </p:cNvPr>
          <p:cNvSpPr/>
          <p:nvPr/>
        </p:nvSpPr>
        <p:spPr>
          <a:xfrm>
            <a:off x="934255" y="3383440"/>
            <a:ext cx="473529" cy="627681"/>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schemeClr val="bg1"/>
              </a:solidFill>
              <a:latin typeface="Times New Roman" panose="02020603050405020304" pitchFamily="18" charset="0"/>
              <a:cs typeface="Times New Roman" panose="02020603050405020304" pitchFamily="18" charset="0"/>
            </a:endParaRPr>
          </a:p>
        </p:txBody>
      </p:sp>
      <p:sp>
        <p:nvSpPr>
          <p:cNvPr id="102" name="Oval 101">
            <a:extLst>
              <a:ext uri="{FF2B5EF4-FFF2-40B4-BE49-F238E27FC236}">
                <a16:creationId xmlns:a16="http://schemas.microsoft.com/office/drawing/2014/main" id="{CEA7D32F-822F-406D-8CDB-98968B87D96C}"/>
              </a:ext>
            </a:extLst>
          </p:cNvPr>
          <p:cNvSpPr/>
          <p:nvPr/>
        </p:nvSpPr>
        <p:spPr>
          <a:xfrm>
            <a:off x="469799" y="4225279"/>
            <a:ext cx="473529" cy="627681"/>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solidFill>
                <a:schemeClr val="bg1"/>
              </a:solidFill>
              <a:latin typeface="Times New Roman" panose="02020603050405020304" pitchFamily="18" charset="0"/>
              <a:cs typeface="Times New Roman" panose="02020603050405020304" pitchFamily="18" charset="0"/>
            </a:endParaRPr>
          </a:p>
        </p:txBody>
      </p:sp>
      <p:sp>
        <p:nvSpPr>
          <p:cNvPr id="64" name="Arrow: Pentagon 63">
            <a:extLst>
              <a:ext uri="{FF2B5EF4-FFF2-40B4-BE49-F238E27FC236}">
                <a16:creationId xmlns:a16="http://schemas.microsoft.com/office/drawing/2014/main" id="{D095A589-3015-495B-9D0C-43CFC9B8C61B}"/>
              </a:ext>
            </a:extLst>
          </p:cNvPr>
          <p:cNvSpPr/>
          <p:nvPr/>
        </p:nvSpPr>
        <p:spPr>
          <a:xfrm>
            <a:off x="1289437" y="658223"/>
            <a:ext cx="5200650" cy="627681"/>
          </a:xfrm>
          <a:prstGeom prst="homePlat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latin typeface="Times New Roman" panose="02020603050405020304" pitchFamily="18" charset="0"/>
                <a:cs typeface="Times New Roman" panose="02020603050405020304" pitchFamily="18" charset="0"/>
              </a:rPr>
              <a:t>*</a:t>
            </a:r>
            <a:r>
              <a:rPr lang="en-US" sz="3200" dirty="0" err="1">
                <a:solidFill>
                  <a:schemeClr val="tx1"/>
                </a:solidFill>
                <a:latin typeface="Times New Roman" panose="02020603050405020304" pitchFamily="18" charset="0"/>
                <a:cs typeface="Times New Roman" panose="02020603050405020304" pitchFamily="18" charset="0"/>
              </a:rPr>
              <a:t>Bản</a:t>
            </a:r>
            <a:r>
              <a:rPr lang="en-US" sz="3200" dirty="0">
                <a:solidFill>
                  <a:schemeClr val="tx1"/>
                </a:solidFill>
                <a:latin typeface="Times New Roman" panose="02020603050405020304" pitchFamily="18" charset="0"/>
                <a:cs typeface="Times New Roman" panose="02020603050405020304" pitchFamily="18" charset="0"/>
              </a:rPr>
              <a:t> </a:t>
            </a:r>
            <a:r>
              <a:rPr lang="en-US" sz="3200" dirty="0" err="1">
                <a:solidFill>
                  <a:schemeClr val="tx1"/>
                </a:solidFill>
                <a:latin typeface="Times New Roman" panose="02020603050405020304" pitchFamily="18" charset="0"/>
                <a:cs typeface="Times New Roman" panose="02020603050405020304" pitchFamily="18" charset="0"/>
              </a:rPr>
              <a:t>Ghi</a:t>
            </a:r>
            <a:r>
              <a:rPr lang="en-US" sz="3200" dirty="0">
                <a:solidFill>
                  <a:schemeClr val="tx1"/>
                </a:solidFill>
                <a:latin typeface="Times New Roman" panose="02020603050405020304" pitchFamily="18" charset="0"/>
                <a:cs typeface="Times New Roman" panose="02020603050405020304" pitchFamily="18" charset="0"/>
              </a:rPr>
              <a:t> , Tr</a:t>
            </a:r>
            <a:r>
              <a:rPr lang="vi-VN" sz="3200" dirty="0">
                <a:solidFill>
                  <a:schemeClr val="tx1"/>
                </a:solidFill>
                <a:latin typeface="Times New Roman" panose="02020603050405020304" pitchFamily="18" charset="0"/>
                <a:cs typeface="Times New Roman" panose="02020603050405020304" pitchFamily="18" charset="0"/>
              </a:rPr>
              <a:t>ư</a:t>
            </a:r>
            <a:r>
              <a:rPr lang="en-US" sz="3200" dirty="0" err="1">
                <a:solidFill>
                  <a:schemeClr val="tx1"/>
                </a:solidFill>
                <a:latin typeface="Times New Roman" panose="02020603050405020304" pitchFamily="18" charset="0"/>
                <a:cs typeface="Times New Roman" panose="02020603050405020304" pitchFamily="18" charset="0"/>
              </a:rPr>
              <a:t>ờng</a:t>
            </a:r>
            <a:endParaRPr lang="en-US" sz="3200" dirty="0">
              <a:solidFill>
                <a:schemeClr val="tx1"/>
              </a:solidFill>
              <a:latin typeface="Times New Roman" panose="02020603050405020304" pitchFamily="18" charset="0"/>
              <a:cs typeface="Times New Roman" panose="02020603050405020304" pitchFamily="18" charset="0"/>
            </a:endParaRPr>
          </a:p>
        </p:txBody>
      </p:sp>
      <p:sp>
        <p:nvSpPr>
          <p:cNvPr id="104" name="Arrow: Pentagon 103">
            <a:extLst>
              <a:ext uri="{FF2B5EF4-FFF2-40B4-BE49-F238E27FC236}">
                <a16:creationId xmlns:a16="http://schemas.microsoft.com/office/drawing/2014/main" id="{8AF38801-FC33-4831-9AC2-784719A60A3A}"/>
              </a:ext>
            </a:extLst>
          </p:cNvPr>
          <p:cNvSpPr/>
          <p:nvPr/>
        </p:nvSpPr>
        <p:spPr>
          <a:xfrm>
            <a:off x="1539666" y="1421445"/>
            <a:ext cx="5200650" cy="627681"/>
          </a:xfrm>
          <a:prstGeom prst="homePlat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latin typeface="Times New Roman" panose="02020603050405020304" pitchFamily="18" charset="0"/>
                <a:cs typeface="Times New Roman" panose="02020603050405020304" pitchFamily="18" charset="0"/>
              </a:rPr>
              <a:t>*</a:t>
            </a:r>
            <a:r>
              <a:rPr lang="en-US" sz="3200" dirty="0" err="1">
                <a:solidFill>
                  <a:schemeClr val="tx1"/>
                </a:solidFill>
                <a:latin typeface="Times New Roman" panose="02020603050405020304" pitchFamily="18" charset="0"/>
                <a:cs typeface="Times New Roman" panose="02020603050405020304" pitchFamily="18" charset="0"/>
              </a:rPr>
              <a:t>Khóa</a:t>
            </a:r>
            <a:r>
              <a:rPr lang="en-US" sz="3200" dirty="0">
                <a:solidFill>
                  <a:schemeClr val="tx1"/>
                </a:solidFill>
                <a:latin typeface="Times New Roman" panose="02020603050405020304" pitchFamily="18" charset="0"/>
                <a:cs typeface="Times New Roman" panose="02020603050405020304" pitchFamily="18" charset="0"/>
              </a:rPr>
              <a:t> </a:t>
            </a:r>
            <a:r>
              <a:rPr lang="en-US" sz="3200" dirty="0" err="1">
                <a:solidFill>
                  <a:schemeClr val="tx1"/>
                </a:solidFill>
                <a:latin typeface="Times New Roman" panose="02020603050405020304" pitchFamily="18" charset="0"/>
                <a:cs typeface="Times New Roman" panose="02020603050405020304" pitchFamily="18" charset="0"/>
              </a:rPr>
              <a:t>Chính</a:t>
            </a:r>
            <a:endParaRPr lang="en-US" sz="3200" dirty="0">
              <a:solidFill>
                <a:schemeClr val="tx1"/>
              </a:solidFill>
              <a:latin typeface="Times New Roman" panose="02020603050405020304" pitchFamily="18" charset="0"/>
              <a:cs typeface="Times New Roman" panose="02020603050405020304" pitchFamily="18" charset="0"/>
            </a:endParaRPr>
          </a:p>
        </p:txBody>
      </p:sp>
      <p:sp>
        <p:nvSpPr>
          <p:cNvPr id="105" name="Arrow: Pentagon 104">
            <a:extLst>
              <a:ext uri="{FF2B5EF4-FFF2-40B4-BE49-F238E27FC236}">
                <a16:creationId xmlns:a16="http://schemas.microsoft.com/office/drawing/2014/main" id="{265644D1-D4AB-4943-B094-028E83BB6E97}"/>
              </a:ext>
            </a:extLst>
          </p:cNvPr>
          <p:cNvSpPr/>
          <p:nvPr/>
        </p:nvSpPr>
        <p:spPr>
          <a:xfrm>
            <a:off x="1626355" y="2315864"/>
            <a:ext cx="5200650" cy="627681"/>
          </a:xfrm>
          <a:prstGeom prst="homePlat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latin typeface="Times New Roman" panose="02020603050405020304" pitchFamily="18" charset="0"/>
                <a:cs typeface="Times New Roman" panose="02020603050405020304" pitchFamily="18" charset="0"/>
              </a:rPr>
              <a:t>*</a:t>
            </a:r>
            <a:r>
              <a:rPr lang="en-US" sz="3200" dirty="0" err="1">
                <a:solidFill>
                  <a:schemeClr val="tx1"/>
                </a:solidFill>
                <a:latin typeface="Times New Roman" panose="02020603050405020304" pitchFamily="18" charset="0"/>
                <a:cs typeface="Times New Roman" panose="02020603050405020304" pitchFamily="18" charset="0"/>
              </a:rPr>
              <a:t>Khóa</a:t>
            </a:r>
            <a:r>
              <a:rPr lang="en-US" sz="3200" dirty="0">
                <a:solidFill>
                  <a:schemeClr val="tx1"/>
                </a:solidFill>
                <a:latin typeface="Times New Roman" panose="02020603050405020304" pitchFamily="18" charset="0"/>
                <a:cs typeface="Times New Roman" panose="02020603050405020304" pitchFamily="18" charset="0"/>
              </a:rPr>
              <a:t> </a:t>
            </a:r>
            <a:r>
              <a:rPr lang="en-US" sz="3200" dirty="0" err="1">
                <a:solidFill>
                  <a:schemeClr val="tx1"/>
                </a:solidFill>
                <a:latin typeface="Times New Roman" panose="02020603050405020304" pitchFamily="18" charset="0"/>
                <a:cs typeface="Times New Roman" panose="02020603050405020304" pitchFamily="18" charset="0"/>
              </a:rPr>
              <a:t>Ngoại</a:t>
            </a:r>
            <a:endParaRPr lang="en-US" sz="3200" dirty="0">
              <a:solidFill>
                <a:schemeClr val="tx1"/>
              </a:solidFill>
              <a:latin typeface="Times New Roman" panose="02020603050405020304" pitchFamily="18" charset="0"/>
              <a:cs typeface="Times New Roman" panose="02020603050405020304" pitchFamily="18" charset="0"/>
            </a:endParaRPr>
          </a:p>
        </p:txBody>
      </p:sp>
      <p:sp>
        <p:nvSpPr>
          <p:cNvPr id="106" name="Arrow: Pentagon 105">
            <a:extLst>
              <a:ext uri="{FF2B5EF4-FFF2-40B4-BE49-F238E27FC236}">
                <a16:creationId xmlns:a16="http://schemas.microsoft.com/office/drawing/2014/main" id="{A6966A2D-1CFF-4CF2-BC0C-38B8691F5817}"/>
              </a:ext>
            </a:extLst>
          </p:cNvPr>
          <p:cNvSpPr/>
          <p:nvPr/>
        </p:nvSpPr>
        <p:spPr>
          <a:xfrm>
            <a:off x="1539666" y="3440030"/>
            <a:ext cx="5200650" cy="627681"/>
          </a:xfrm>
          <a:prstGeom prst="homePlat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latin typeface="Times New Roman" panose="02020603050405020304" pitchFamily="18" charset="0"/>
                <a:cs typeface="Times New Roman" panose="02020603050405020304" pitchFamily="18" charset="0"/>
              </a:rPr>
              <a:t>*</a:t>
            </a:r>
            <a:r>
              <a:rPr lang="en-US" sz="3200" dirty="0" err="1">
                <a:solidFill>
                  <a:schemeClr val="tx1"/>
                </a:solidFill>
                <a:latin typeface="Times New Roman" panose="02020603050405020304" pitchFamily="18" charset="0"/>
                <a:cs typeface="Times New Roman" panose="02020603050405020304" pitchFamily="18" charset="0"/>
              </a:rPr>
              <a:t>Liên</a:t>
            </a:r>
            <a:r>
              <a:rPr lang="en-US" sz="3200" dirty="0">
                <a:solidFill>
                  <a:schemeClr val="tx1"/>
                </a:solidFill>
                <a:latin typeface="Times New Roman" panose="02020603050405020304" pitchFamily="18" charset="0"/>
                <a:cs typeface="Times New Roman" panose="02020603050405020304" pitchFamily="18" charset="0"/>
              </a:rPr>
              <a:t> </a:t>
            </a:r>
            <a:r>
              <a:rPr lang="en-US" sz="3200" dirty="0" err="1">
                <a:solidFill>
                  <a:schemeClr val="tx1"/>
                </a:solidFill>
                <a:latin typeface="Times New Roman" panose="02020603050405020304" pitchFamily="18" charset="0"/>
                <a:cs typeface="Times New Roman" panose="02020603050405020304" pitchFamily="18" charset="0"/>
              </a:rPr>
              <a:t>Kết</a:t>
            </a:r>
            <a:r>
              <a:rPr lang="en-US" sz="3200" dirty="0">
                <a:solidFill>
                  <a:schemeClr val="tx1"/>
                </a:solidFill>
                <a:latin typeface="Times New Roman" panose="02020603050405020304" pitchFamily="18" charset="0"/>
                <a:cs typeface="Times New Roman" panose="02020603050405020304" pitchFamily="18" charset="0"/>
              </a:rPr>
              <a:t> </a:t>
            </a:r>
            <a:r>
              <a:rPr lang="en-US" sz="3200" dirty="0" err="1">
                <a:solidFill>
                  <a:schemeClr val="tx1"/>
                </a:solidFill>
                <a:latin typeface="Times New Roman" panose="02020603050405020304" pitchFamily="18" charset="0"/>
                <a:cs typeface="Times New Roman" panose="02020603050405020304" pitchFamily="18" charset="0"/>
              </a:rPr>
              <a:t>Dữ</a:t>
            </a:r>
            <a:r>
              <a:rPr lang="en-US" sz="3200" dirty="0">
                <a:solidFill>
                  <a:schemeClr val="tx1"/>
                </a:solidFill>
                <a:latin typeface="Times New Roman" panose="02020603050405020304" pitchFamily="18" charset="0"/>
                <a:cs typeface="Times New Roman" panose="02020603050405020304" pitchFamily="18" charset="0"/>
              </a:rPr>
              <a:t> </a:t>
            </a:r>
            <a:r>
              <a:rPr lang="en-US" sz="3200" dirty="0" err="1">
                <a:solidFill>
                  <a:schemeClr val="tx1"/>
                </a:solidFill>
                <a:latin typeface="Times New Roman" panose="02020603050405020304" pitchFamily="18" charset="0"/>
                <a:cs typeface="Times New Roman" panose="02020603050405020304" pitchFamily="18" charset="0"/>
              </a:rPr>
              <a:t>Liệu</a:t>
            </a:r>
            <a:endParaRPr lang="en-US" sz="3200" dirty="0">
              <a:solidFill>
                <a:schemeClr val="tx1"/>
              </a:solidFill>
              <a:latin typeface="Times New Roman" panose="02020603050405020304" pitchFamily="18" charset="0"/>
              <a:cs typeface="Times New Roman" panose="02020603050405020304" pitchFamily="18" charset="0"/>
            </a:endParaRPr>
          </a:p>
        </p:txBody>
      </p:sp>
      <p:sp>
        <p:nvSpPr>
          <p:cNvPr id="107" name="Arrow: Pentagon 106">
            <a:extLst>
              <a:ext uri="{FF2B5EF4-FFF2-40B4-BE49-F238E27FC236}">
                <a16:creationId xmlns:a16="http://schemas.microsoft.com/office/drawing/2014/main" id="{3CB4D26C-DCA7-4E33-A890-64D396C8F3C0}"/>
              </a:ext>
            </a:extLst>
          </p:cNvPr>
          <p:cNvSpPr/>
          <p:nvPr/>
        </p:nvSpPr>
        <p:spPr>
          <a:xfrm>
            <a:off x="1153002" y="4265346"/>
            <a:ext cx="5200650" cy="627681"/>
          </a:xfrm>
          <a:prstGeom prst="homePlat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sz="3200" dirty="0" smtClean="0">
                <a:solidFill>
                  <a:schemeClr val="tx1"/>
                </a:solidFill>
                <a:latin typeface="Times New Roman" panose="02020603050405020304" pitchFamily="18" charset="0"/>
                <a:cs typeface="Times New Roman" panose="02020603050405020304" pitchFamily="18" charset="0"/>
              </a:rPr>
              <a:t>*Các trường và dữ liệu</a:t>
            </a:r>
            <a:endParaRPr lang="en-US" sz="3200"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087773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grpId="0" nodeType="clickEffect">
                                  <p:stCondLst>
                                    <p:cond delay="0"/>
                                  </p:stCondLst>
                                  <p:childTnLst>
                                    <p:set>
                                      <p:cBhvr>
                                        <p:cTn id="6" dur="1" fill="hold">
                                          <p:stCondLst>
                                            <p:cond delay="0"/>
                                          </p:stCondLst>
                                        </p:cTn>
                                        <p:tgtEl>
                                          <p:spTgt spid="554"/>
                                        </p:tgtEl>
                                        <p:attrNameLst>
                                          <p:attrName>style.visibility</p:attrName>
                                        </p:attrNameLst>
                                      </p:cBhvr>
                                      <p:to>
                                        <p:strVal val="visible"/>
                                      </p:to>
                                    </p:set>
                                    <p:anim calcmode="lin" valueType="num">
                                      <p:cBhvr additive="base">
                                        <p:cTn id="7" dur="500" fill="hold"/>
                                        <p:tgtEl>
                                          <p:spTgt spid="554"/>
                                        </p:tgtEl>
                                        <p:attrNameLst>
                                          <p:attrName>ppt_x</p:attrName>
                                        </p:attrNameLst>
                                      </p:cBhvr>
                                      <p:tavLst>
                                        <p:tav tm="0">
                                          <p:val>
                                            <p:strVal val="0-#ppt_w/2"/>
                                          </p:val>
                                        </p:tav>
                                        <p:tav tm="100000">
                                          <p:val>
                                            <p:strVal val="#ppt_x"/>
                                          </p:val>
                                        </p:tav>
                                      </p:tavLst>
                                    </p:anim>
                                    <p:anim calcmode="lin" valueType="num">
                                      <p:cBhvr additive="base">
                                        <p:cTn id="8" dur="500" fill="hold"/>
                                        <p:tgtEl>
                                          <p:spTgt spid="554"/>
                                        </p:tgtEl>
                                        <p:attrNameLst>
                                          <p:attrName>ppt_y</p:attrName>
                                        </p:attrNameLst>
                                      </p:cBhvr>
                                      <p:tavLst>
                                        <p:tav tm="0">
                                          <p:val>
                                            <p:strVal val="0-#ppt_h/2"/>
                                          </p:val>
                                        </p:tav>
                                        <p:tav tm="100000">
                                          <p:val>
                                            <p:strVal val="#ppt_y"/>
                                          </p:val>
                                        </p:tav>
                                      </p:tavLst>
                                    </p:anim>
                                  </p:childTnLst>
                                </p:cTn>
                              </p:par>
                              <p:par>
                                <p:cTn id="9" presetID="2" presetClass="entr" presetSubtype="9" fill="hold" grpId="0" nodeType="withEffect">
                                  <p:stCondLst>
                                    <p:cond delay="0"/>
                                  </p:stCondLst>
                                  <p:childTnLst>
                                    <p:set>
                                      <p:cBhvr>
                                        <p:cTn id="10" dur="1" fill="hold">
                                          <p:stCondLst>
                                            <p:cond delay="0"/>
                                          </p:stCondLst>
                                        </p:cTn>
                                        <p:tgtEl>
                                          <p:spTgt spid="557"/>
                                        </p:tgtEl>
                                        <p:attrNameLst>
                                          <p:attrName>style.visibility</p:attrName>
                                        </p:attrNameLst>
                                      </p:cBhvr>
                                      <p:to>
                                        <p:strVal val="visible"/>
                                      </p:to>
                                    </p:set>
                                    <p:anim calcmode="lin" valueType="num">
                                      <p:cBhvr additive="base">
                                        <p:cTn id="11" dur="500" fill="hold"/>
                                        <p:tgtEl>
                                          <p:spTgt spid="557"/>
                                        </p:tgtEl>
                                        <p:attrNameLst>
                                          <p:attrName>ppt_x</p:attrName>
                                        </p:attrNameLst>
                                      </p:cBhvr>
                                      <p:tavLst>
                                        <p:tav tm="0">
                                          <p:val>
                                            <p:strVal val="0-#ppt_w/2"/>
                                          </p:val>
                                        </p:tav>
                                        <p:tav tm="100000">
                                          <p:val>
                                            <p:strVal val="#ppt_x"/>
                                          </p:val>
                                        </p:tav>
                                      </p:tavLst>
                                    </p:anim>
                                    <p:anim calcmode="lin" valueType="num">
                                      <p:cBhvr additive="base">
                                        <p:cTn id="12" dur="500" fill="hold"/>
                                        <p:tgtEl>
                                          <p:spTgt spid="557"/>
                                        </p:tgtEl>
                                        <p:attrNameLst>
                                          <p:attrName>ppt_y</p:attrName>
                                        </p:attrNameLst>
                                      </p:cBhvr>
                                      <p:tavLst>
                                        <p:tav tm="0">
                                          <p:val>
                                            <p:strVal val="0-#ppt_h/2"/>
                                          </p:val>
                                        </p:tav>
                                        <p:tav tm="100000">
                                          <p:val>
                                            <p:strVal val="#ppt_y"/>
                                          </p:val>
                                        </p:tav>
                                      </p:tavLst>
                                    </p:anim>
                                  </p:childTnLst>
                                </p:cTn>
                              </p:par>
                              <p:par>
                                <p:cTn id="13" presetID="2" presetClass="entr" presetSubtype="9" fill="hold" grpId="0" nodeType="withEffect">
                                  <p:stCondLst>
                                    <p:cond delay="0"/>
                                  </p:stCondLst>
                                  <p:childTnLst>
                                    <p:set>
                                      <p:cBhvr>
                                        <p:cTn id="14" dur="1" fill="hold">
                                          <p:stCondLst>
                                            <p:cond delay="0"/>
                                          </p:stCondLst>
                                        </p:cTn>
                                        <p:tgtEl>
                                          <p:spTgt spid="560"/>
                                        </p:tgtEl>
                                        <p:attrNameLst>
                                          <p:attrName>style.visibility</p:attrName>
                                        </p:attrNameLst>
                                      </p:cBhvr>
                                      <p:to>
                                        <p:strVal val="visible"/>
                                      </p:to>
                                    </p:set>
                                    <p:anim calcmode="lin" valueType="num">
                                      <p:cBhvr additive="base">
                                        <p:cTn id="15" dur="500" fill="hold"/>
                                        <p:tgtEl>
                                          <p:spTgt spid="560"/>
                                        </p:tgtEl>
                                        <p:attrNameLst>
                                          <p:attrName>ppt_x</p:attrName>
                                        </p:attrNameLst>
                                      </p:cBhvr>
                                      <p:tavLst>
                                        <p:tav tm="0">
                                          <p:val>
                                            <p:strVal val="0-#ppt_w/2"/>
                                          </p:val>
                                        </p:tav>
                                        <p:tav tm="100000">
                                          <p:val>
                                            <p:strVal val="#ppt_x"/>
                                          </p:val>
                                        </p:tav>
                                      </p:tavLst>
                                    </p:anim>
                                    <p:anim calcmode="lin" valueType="num">
                                      <p:cBhvr additive="base">
                                        <p:cTn id="16" dur="500" fill="hold"/>
                                        <p:tgtEl>
                                          <p:spTgt spid="560"/>
                                        </p:tgtEl>
                                        <p:attrNameLst>
                                          <p:attrName>ppt_y</p:attrName>
                                        </p:attrNameLst>
                                      </p:cBhvr>
                                      <p:tavLst>
                                        <p:tav tm="0">
                                          <p:val>
                                            <p:strVal val="0-#ppt_h/2"/>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553"/>
                                        </p:tgtEl>
                                        <p:attrNameLst>
                                          <p:attrName>style.visibility</p:attrName>
                                        </p:attrNameLst>
                                      </p:cBhvr>
                                      <p:to>
                                        <p:strVal val="visible"/>
                                      </p:to>
                                    </p:set>
                                    <p:anim calcmode="lin" valueType="num">
                                      <p:cBhvr additive="base">
                                        <p:cTn id="19" dur="500" fill="hold"/>
                                        <p:tgtEl>
                                          <p:spTgt spid="553"/>
                                        </p:tgtEl>
                                        <p:attrNameLst>
                                          <p:attrName>ppt_x</p:attrName>
                                        </p:attrNameLst>
                                      </p:cBhvr>
                                      <p:tavLst>
                                        <p:tav tm="0">
                                          <p:val>
                                            <p:strVal val="1+#ppt_w/2"/>
                                          </p:val>
                                        </p:tav>
                                        <p:tav tm="100000">
                                          <p:val>
                                            <p:strVal val="#ppt_x"/>
                                          </p:val>
                                        </p:tav>
                                      </p:tavLst>
                                    </p:anim>
                                    <p:anim calcmode="lin" valueType="num">
                                      <p:cBhvr additive="base">
                                        <p:cTn id="20" dur="500" fill="hold"/>
                                        <p:tgtEl>
                                          <p:spTgt spid="553"/>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558"/>
                                        </p:tgtEl>
                                        <p:attrNameLst>
                                          <p:attrName>style.visibility</p:attrName>
                                        </p:attrNameLst>
                                      </p:cBhvr>
                                      <p:to>
                                        <p:strVal val="visible"/>
                                      </p:to>
                                    </p:set>
                                    <p:anim calcmode="lin" valueType="num">
                                      <p:cBhvr additive="base">
                                        <p:cTn id="23" dur="500" fill="hold"/>
                                        <p:tgtEl>
                                          <p:spTgt spid="558"/>
                                        </p:tgtEl>
                                        <p:attrNameLst>
                                          <p:attrName>ppt_x</p:attrName>
                                        </p:attrNameLst>
                                      </p:cBhvr>
                                      <p:tavLst>
                                        <p:tav tm="0">
                                          <p:val>
                                            <p:strVal val="1+#ppt_w/2"/>
                                          </p:val>
                                        </p:tav>
                                        <p:tav tm="100000">
                                          <p:val>
                                            <p:strVal val="#ppt_x"/>
                                          </p:val>
                                        </p:tav>
                                      </p:tavLst>
                                    </p:anim>
                                    <p:anim calcmode="lin" valueType="num">
                                      <p:cBhvr additive="base">
                                        <p:cTn id="24" dur="500" fill="hold"/>
                                        <p:tgtEl>
                                          <p:spTgt spid="558"/>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559"/>
                                        </p:tgtEl>
                                        <p:attrNameLst>
                                          <p:attrName>style.visibility</p:attrName>
                                        </p:attrNameLst>
                                      </p:cBhvr>
                                      <p:to>
                                        <p:strVal val="visible"/>
                                      </p:to>
                                    </p:set>
                                    <p:anim calcmode="lin" valueType="num">
                                      <p:cBhvr additive="base">
                                        <p:cTn id="27" dur="500" fill="hold"/>
                                        <p:tgtEl>
                                          <p:spTgt spid="559"/>
                                        </p:tgtEl>
                                        <p:attrNameLst>
                                          <p:attrName>ppt_x</p:attrName>
                                        </p:attrNameLst>
                                      </p:cBhvr>
                                      <p:tavLst>
                                        <p:tav tm="0">
                                          <p:val>
                                            <p:strVal val="1+#ppt_w/2"/>
                                          </p:val>
                                        </p:tav>
                                        <p:tav tm="100000">
                                          <p:val>
                                            <p:strVal val="#ppt_x"/>
                                          </p:val>
                                        </p:tav>
                                      </p:tavLst>
                                    </p:anim>
                                    <p:anim calcmode="lin" valueType="num">
                                      <p:cBhvr additive="base">
                                        <p:cTn id="28" dur="500" fill="hold"/>
                                        <p:tgtEl>
                                          <p:spTgt spid="559"/>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fill="hold" grpId="0" nodeType="clickEffect">
                                  <p:stCondLst>
                                    <p:cond delay="0"/>
                                  </p:stCondLst>
                                  <p:childTnLst>
                                    <p:set>
                                      <p:cBhvr>
                                        <p:cTn id="32" dur="1" fill="hold">
                                          <p:stCondLst>
                                            <p:cond delay="0"/>
                                          </p:stCondLst>
                                        </p:cTn>
                                        <p:tgtEl>
                                          <p:spTgt spid="562"/>
                                        </p:tgtEl>
                                        <p:attrNameLst>
                                          <p:attrName>style.visibility</p:attrName>
                                        </p:attrNameLst>
                                      </p:cBhvr>
                                      <p:to>
                                        <p:strVal val="visible"/>
                                      </p:to>
                                    </p:set>
                                    <p:anim calcmode="lin" valueType="num">
                                      <p:cBhvr additive="base">
                                        <p:cTn id="33" dur="500" fill="hold"/>
                                        <p:tgtEl>
                                          <p:spTgt spid="562"/>
                                        </p:tgtEl>
                                        <p:attrNameLst>
                                          <p:attrName>ppt_x</p:attrName>
                                        </p:attrNameLst>
                                      </p:cBhvr>
                                      <p:tavLst>
                                        <p:tav tm="0">
                                          <p:val>
                                            <p:strVal val="0-#ppt_w/2"/>
                                          </p:val>
                                        </p:tav>
                                        <p:tav tm="100000">
                                          <p:val>
                                            <p:strVal val="#ppt_x"/>
                                          </p:val>
                                        </p:tav>
                                      </p:tavLst>
                                    </p:anim>
                                    <p:anim calcmode="lin" valueType="num">
                                      <p:cBhvr additive="base">
                                        <p:cTn id="34" dur="500" fill="hold"/>
                                        <p:tgtEl>
                                          <p:spTgt spid="562"/>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2" fill="hold" grpId="0" nodeType="clickEffect">
                                  <p:stCondLst>
                                    <p:cond delay="0"/>
                                  </p:stCondLst>
                                  <p:childTnLst>
                                    <p:set>
                                      <p:cBhvr>
                                        <p:cTn id="38" dur="1" fill="hold">
                                          <p:stCondLst>
                                            <p:cond delay="0"/>
                                          </p:stCondLst>
                                        </p:cTn>
                                        <p:tgtEl>
                                          <p:spTgt spid="563"/>
                                        </p:tgtEl>
                                        <p:attrNameLst>
                                          <p:attrName>style.visibility</p:attrName>
                                        </p:attrNameLst>
                                      </p:cBhvr>
                                      <p:to>
                                        <p:strVal val="visible"/>
                                      </p:to>
                                    </p:set>
                                    <p:anim calcmode="lin" valueType="num">
                                      <p:cBhvr additive="base">
                                        <p:cTn id="39" dur="1500" fill="hold"/>
                                        <p:tgtEl>
                                          <p:spTgt spid="563"/>
                                        </p:tgtEl>
                                        <p:attrNameLst>
                                          <p:attrName>ppt_x</p:attrName>
                                        </p:attrNameLst>
                                      </p:cBhvr>
                                      <p:tavLst>
                                        <p:tav tm="0">
                                          <p:val>
                                            <p:strVal val="1+#ppt_w/2"/>
                                          </p:val>
                                        </p:tav>
                                        <p:tav tm="100000">
                                          <p:val>
                                            <p:strVal val="#ppt_x"/>
                                          </p:val>
                                        </p:tav>
                                      </p:tavLst>
                                    </p:anim>
                                    <p:anim calcmode="lin" valueType="num">
                                      <p:cBhvr additive="base">
                                        <p:cTn id="40" dur="1500" fill="hold"/>
                                        <p:tgtEl>
                                          <p:spTgt spid="563"/>
                                        </p:tgtEl>
                                        <p:attrNameLst>
                                          <p:attrName>ppt_y</p:attrName>
                                        </p:attrNameLst>
                                      </p:cBhvr>
                                      <p:tavLst>
                                        <p:tav tm="0">
                                          <p:val>
                                            <p:strVal val="#ppt_y"/>
                                          </p:val>
                                        </p:tav>
                                        <p:tav tm="100000">
                                          <p:val>
                                            <p:strVal val="#ppt_y"/>
                                          </p:val>
                                        </p:tav>
                                      </p:tavLst>
                                    </p:anim>
                                  </p:childTnLst>
                                </p:cTn>
                              </p:par>
                              <p:par>
                                <p:cTn id="41" presetID="8" presetClass="emph" presetSubtype="0" fill="hold" grpId="1" nodeType="withEffect">
                                  <p:stCondLst>
                                    <p:cond delay="0"/>
                                  </p:stCondLst>
                                  <p:childTnLst>
                                    <p:animRot by="21600000">
                                      <p:cBhvr>
                                        <p:cTn id="42" dur="1500" fill="hold"/>
                                        <p:tgtEl>
                                          <p:spTgt spid="563"/>
                                        </p:tgtEl>
                                        <p:attrNameLst>
                                          <p:attrName>r</p:attrName>
                                        </p:attrNameLst>
                                      </p:cBhvr>
                                    </p:animRot>
                                  </p:childTnLst>
                                </p:cTn>
                              </p:par>
                              <p:par>
                                <p:cTn id="43" presetID="22" presetClass="entr" presetSubtype="2" fill="hold" grpId="0" nodeType="withEffect">
                                  <p:stCondLst>
                                    <p:cond delay="500"/>
                                  </p:stCondLst>
                                  <p:childTnLst>
                                    <p:set>
                                      <p:cBhvr>
                                        <p:cTn id="44" dur="1" fill="hold">
                                          <p:stCondLst>
                                            <p:cond delay="0"/>
                                          </p:stCondLst>
                                        </p:cTn>
                                        <p:tgtEl>
                                          <p:spTgt spid="64"/>
                                        </p:tgtEl>
                                        <p:attrNameLst>
                                          <p:attrName>style.visibility</p:attrName>
                                        </p:attrNameLst>
                                      </p:cBhvr>
                                      <p:to>
                                        <p:strVal val="visible"/>
                                      </p:to>
                                    </p:set>
                                    <p:animEffect transition="in" filter="wipe(right)">
                                      <p:cBhvr>
                                        <p:cTn id="45" dur="1000"/>
                                        <p:tgtEl>
                                          <p:spTgt spid="64"/>
                                        </p:tgtEl>
                                      </p:cBhvr>
                                    </p:animEffect>
                                  </p:childTnLst>
                                </p:cTn>
                              </p:par>
                            </p:childTnLst>
                          </p:cTn>
                        </p:par>
                      </p:childTnLst>
                    </p:cTn>
                  </p:par>
                  <p:par>
                    <p:cTn id="46" fill="hold">
                      <p:stCondLst>
                        <p:cond delay="indefinite"/>
                      </p:stCondLst>
                      <p:childTnLst>
                        <p:par>
                          <p:cTn id="47" fill="hold">
                            <p:stCondLst>
                              <p:cond delay="0"/>
                            </p:stCondLst>
                            <p:childTnLst>
                              <p:par>
                                <p:cTn id="48" presetID="2" presetClass="entr" presetSubtype="2" fill="hold" grpId="0" nodeType="clickEffect">
                                  <p:stCondLst>
                                    <p:cond delay="0"/>
                                  </p:stCondLst>
                                  <p:childTnLst>
                                    <p:set>
                                      <p:cBhvr>
                                        <p:cTn id="49" dur="1" fill="hold">
                                          <p:stCondLst>
                                            <p:cond delay="0"/>
                                          </p:stCondLst>
                                        </p:cTn>
                                        <p:tgtEl>
                                          <p:spTgt spid="91"/>
                                        </p:tgtEl>
                                        <p:attrNameLst>
                                          <p:attrName>style.visibility</p:attrName>
                                        </p:attrNameLst>
                                      </p:cBhvr>
                                      <p:to>
                                        <p:strVal val="visible"/>
                                      </p:to>
                                    </p:set>
                                    <p:anim calcmode="lin" valueType="num">
                                      <p:cBhvr additive="base">
                                        <p:cTn id="50" dur="1500" fill="hold"/>
                                        <p:tgtEl>
                                          <p:spTgt spid="91"/>
                                        </p:tgtEl>
                                        <p:attrNameLst>
                                          <p:attrName>ppt_x</p:attrName>
                                        </p:attrNameLst>
                                      </p:cBhvr>
                                      <p:tavLst>
                                        <p:tav tm="0">
                                          <p:val>
                                            <p:strVal val="1+#ppt_w/2"/>
                                          </p:val>
                                        </p:tav>
                                        <p:tav tm="100000">
                                          <p:val>
                                            <p:strVal val="#ppt_x"/>
                                          </p:val>
                                        </p:tav>
                                      </p:tavLst>
                                    </p:anim>
                                    <p:anim calcmode="lin" valueType="num">
                                      <p:cBhvr additive="base">
                                        <p:cTn id="51" dur="1500" fill="hold"/>
                                        <p:tgtEl>
                                          <p:spTgt spid="91"/>
                                        </p:tgtEl>
                                        <p:attrNameLst>
                                          <p:attrName>ppt_y</p:attrName>
                                        </p:attrNameLst>
                                      </p:cBhvr>
                                      <p:tavLst>
                                        <p:tav tm="0">
                                          <p:val>
                                            <p:strVal val="#ppt_y"/>
                                          </p:val>
                                        </p:tav>
                                        <p:tav tm="100000">
                                          <p:val>
                                            <p:strVal val="#ppt_y"/>
                                          </p:val>
                                        </p:tav>
                                      </p:tavLst>
                                    </p:anim>
                                  </p:childTnLst>
                                </p:cTn>
                              </p:par>
                              <p:par>
                                <p:cTn id="52" presetID="8" presetClass="emph" presetSubtype="0" fill="hold" grpId="1" nodeType="withEffect">
                                  <p:stCondLst>
                                    <p:cond delay="0"/>
                                  </p:stCondLst>
                                  <p:childTnLst>
                                    <p:animRot by="21600000">
                                      <p:cBhvr>
                                        <p:cTn id="53" dur="1500" fill="hold"/>
                                        <p:tgtEl>
                                          <p:spTgt spid="91"/>
                                        </p:tgtEl>
                                        <p:attrNameLst>
                                          <p:attrName>r</p:attrName>
                                        </p:attrNameLst>
                                      </p:cBhvr>
                                    </p:animRot>
                                  </p:childTnLst>
                                </p:cTn>
                              </p:par>
                              <p:par>
                                <p:cTn id="54" presetID="22" presetClass="entr" presetSubtype="2" fill="hold" grpId="0" nodeType="withEffect">
                                  <p:stCondLst>
                                    <p:cond delay="500"/>
                                  </p:stCondLst>
                                  <p:childTnLst>
                                    <p:set>
                                      <p:cBhvr>
                                        <p:cTn id="55" dur="1" fill="hold">
                                          <p:stCondLst>
                                            <p:cond delay="0"/>
                                          </p:stCondLst>
                                        </p:cTn>
                                        <p:tgtEl>
                                          <p:spTgt spid="104"/>
                                        </p:tgtEl>
                                        <p:attrNameLst>
                                          <p:attrName>style.visibility</p:attrName>
                                        </p:attrNameLst>
                                      </p:cBhvr>
                                      <p:to>
                                        <p:strVal val="visible"/>
                                      </p:to>
                                    </p:set>
                                    <p:animEffect transition="in" filter="wipe(right)">
                                      <p:cBhvr>
                                        <p:cTn id="56" dur="1000"/>
                                        <p:tgtEl>
                                          <p:spTgt spid="104"/>
                                        </p:tgtEl>
                                      </p:cBhvr>
                                    </p:animEffect>
                                  </p:childTnLst>
                                </p:cTn>
                              </p:par>
                            </p:childTnLst>
                          </p:cTn>
                        </p:par>
                      </p:childTnLst>
                    </p:cTn>
                  </p:par>
                  <p:par>
                    <p:cTn id="57" fill="hold">
                      <p:stCondLst>
                        <p:cond delay="indefinite"/>
                      </p:stCondLst>
                      <p:childTnLst>
                        <p:par>
                          <p:cTn id="58" fill="hold">
                            <p:stCondLst>
                              <p:cond delay="0"/>
                            </p:stCondLst>
                            <p:childTnLst>
                              <p:par>
                                <p:cTn id="59" presetID="2" presetClass="entr" presetSubtype="2" fill="hold" grpId="0" nodeType="clickEffect">
                                  <p:stCondLst>
                                    <p:cond delay="0"/>
                                  </p:stCondLst>
                                  <p:childTnLst>
                                    <p:set>
                                      <p:cBhvr>
                                        <p:cTn id="60" dur="1" fill="hold">
                                          <p:stCondLst>
                                            <p:cond delay="0"/>
                                          </p:stCondLst>
                                        </p:cTn>
                                        <p:tgtEl>
                                          <p:spTgt spid="100"/>
                                        </p:tgtEl>
                                        <p:attrNameLst>
                                          <p:attrName>style.visibility</p:attrName>
                                        </p:attrNameLst>
                                      </p:cBhvr>
                                      <p:to>
                                        <p:strVal val="visible"/>
                                      </p:to>
                                    </p:set>
                                    <p:anim calcmode="lin" valueType="num">
                                      <p:cBhvr additive="base">
                                        <p:cTn id="61" dur="1500" fill="hold"/>
                                        <p:tgtEl>
                                          <p:spTgt spid="100"/>
                                        </p:tgtEl>
                                        <p:attrNameLst>
                                          <p:attrName>ppt_x</p:attrName>
                                        </p:attrNameLst>
                                      </p:cBhvr>
                                      <p:tavLst>
                                        <p:tav tm="0">
                                          <p:val>
                                            <p:strVal val="1+#ppt_w/2"/>
                                          </p:val>
                                        </p:tav>
                                        <p:tav tm="100000">
                                          <p:val>
                                            <p:strVal val="#ppt_x"/>
                                          </p:val>
                                        </p:tav>
                                      </p:tavLst>
                                    </p:anim>
                                    <p:anim calcmode="lin" valueType="num">
                                      <p:cBhvr additive="base">
                                        <p:cTn id="62" dur="1500" fill="hold"/>
                                        <p:tgtEl>
                                          <p:spTgt spid="100"/>
                                        </p:tgtEl>
                                        <p:attrNameLst>
                                          <p:attrName>ppt_y</p:attrName>
                                        </p:attrNameLst>
                                      </p:cBhvr>
                                      <p:tavLst>
                                        <p:tav tm="0">
                                          <p:val>
                                            <p:strVal val="#ppt_y"/>
                                          </p:val>
                                        </p:tav>
                                        <p:tav tm="100000">
                                          <p:val>
                                            <p:strVal val="#ppt_y"/>
                                          </p:val>
                                        </p:tav>
                                      </p:tavLst>
                                    </p:anim>
                                  </p:childTnLst>
                                </p:cTn>
                              </p:par>
                              <p:par>
                                <p:cTn id="63" presetID="8" presetClass="emph" presetSubtype="0" fill="hold" grpId="1" nodeType="withEffect">
                                  <p:stCondLst>
                                    <p:cond delay="0"/>
                                  </p:stCondLst>
                                  <p:childTnLst>
                                    <p:animRot by="21600000">
                                      <p:cBhvr>
                                        <p:cTn id="64" dur="1500" fill="hold"/>
                                        <p:tgtEl>
                                          <p:spTgt spid="100"/>
                                        </p:tgtEl>
                                        <p:attrNameLst>
                                          <p:attrName>r</p:attrName>
                                        </p:attrNameLst>
                                      </p:cBhvr>
                                    </p:animRot>
                                  </p:childTnLst>
                                </p:cTn>
                              </p:par>
                              <p:par>
                                <p:cTn id="65" presetID="22" presetClass="entr" presetSubtype="2" fill="hold" grpId="0" nodeType="withEffect">
                                  <p:stCondLst>
                                    <p:cond delay="500"/>
                                  </p:stCondLst>
                                  <p:childTnLst>
                                    <p:set>
                                      <p:cBhvr>
                                        <p:cTn id="66" dur="1" fill="hold">
                                          <p:stCondLst>
                                            <p:cond delay="0"/>
                                          </p:stCondLst>
                                        </p:cTn>
                                        <p:tgtEl>
                                          <p:spTgt spid="105"/>
                                        </p:tgtEl>
                                        <p:attrNameLst>
                                          <p:attrName>style.visibility</p:attrName>
                                        </p:attrNameLst>
                                      </p:cBhvr>
                                      <p:to>
                                        <p:strVal val="visible"/>
                                      </p:to>
                                    </p:set>
                                    <p:animEffect transition="in" filter="wipe(right)">
                                      <p:cBhvr>
                                        <p:cTn id="67" dur="1000"/>
                                        <p:tgtEl>
                                          <p:spTgt spid="105"/>
                                        </p:tgtEl>
                                      </p:cBhvr>
                                    </p:animEffect>
                                  </p:childTnLst>
                                </p:cTn>
                              </p:par>
                            </p:childTnLst>
                          </p:cTn>
                        </p:par>
                      </p:childTnLst>
                    </p:cTn>
                  </p:par>
                  <p:par>
                    <p:cTn id="68" fill="hold">
                      <p:stCondLst>
                        <p:cond delay="indefinite"/>
                      </p:stCondLst>
                      <p:childTnLst>
                        <p:par>
                          <p:cTn id="69" fill="hold">
                            <p:stCondLst>
                              <p:cond delay="0"/>
                            </p:stCondLst>
                            <p:childTnLst>
                              <p:par>
                                <p:cTn id="70" presetID="2" presetClass="entr" presetSubtype="2" fill="hold" grpId="0" nodeType="clickEffect">
                                  <p:stCondLst>
                                    <p:cond delay="0"/>
                                  </p:stCondLst>
                                  <p:childTnLst>
                                    <p:set>
                                      <p:cBhvr>
                                        <p:cTn id="71" dur="1" fill="hold">
                                          <p:stCondLst>
                                            <p:cond delay="0"/>
                                          </p:stCondLst>
                                        </p:cTn>
                                        <p:tgtEl>
                                          <p:spTgt spid="101"/>
                                        </p:tgtEl>
                                        <p:attrNameLst>
                                          <p:attrName>style.visibility</p:attrName>
                                        </p:attrNameLst>
                                      </p:cBhvr>
                                      <p:to>
                                        <p:strVal val="visible"/>
                                      </p:to>
                                    </p:set>
                                    <p:anim calcmode="lin" valueType="num">
                                      <p:cBhvr additive="base">
                                        <p:cTn id="72" dur="1500" fill="hold"/>
                                        <p:tgtEl>
                                          <p:spTgt spid="101"/>
                                        </p:tgtEl>
                                        <p:attrNameLst>
                                          <p:attrName>ppt_x</p:attrName>
                                        </p:attrNameLst>
                                      </p:cBhvr>
                                      <p:tavLst>
                                        <p:tav tm="0">
                                          <p:val>
                                            <p:strVal val="1+#ppt_w/2"/>
                                          </p:val>
                                        </p:tav>
                                        <p:tav tm="100000">
                                          <p:val>
                                            <p:strVal val="#ppt_x"/>
                                          </p:val>
                                        </p:tav>
                                      </p:tavLst>
                                    </p:anim>
                                    <p:anim calcmode="lin" valueType="num">
                                      <p:cBhvr additive="base">
                                        <p:cTn id="73" dur="1500" fill="hold"/>
                                        <p:tgtEl>
                                          <p:spTgt spid="101"/>
                                        </p:tgtEl>
                                        <p:attrNameLst>
                                          <p:attrName>ppt_y</p:attrName>
                                        </p:attrNameLst>
                                      </p:cBhvr>
                                      <p:tavLst>
                                        <p:tav tm="0">
                                          <p:val>
                                            <p:strVal val="#ppt_y"/>
                                          </p:val>
                                        </p:tav>
                                        <p:tav tm="100000">
                                          <p:val>
                                            <p:strVal val="#ppt_y"/>
                                          </p:val>
                                        </p:tav>
                                      </p:tavLst>
                                    </p:anim>
                                  </p:childTnLst>
                                </p:cTn>
                              </p:par>
                              <p:par>
                                <p:cTn id="74" presetID="8" presetClass="emph" presetSubtype="0" fill="hold" grpId="1" nodeType="withEffect">
                                  <p:stCondLst>
                                    <p:cond delay="0"/>
                                  </p:stCondLst>
                                  <p:childTnLst>
                                    <p:animRot by="21600000">
                                      <p:cBhvr>
                                        <p:cTn id="75" dur="1500" fill="hold"/>
                                        <p:tgtEl>
                                          <p:spTgt spid="101"/>
                                        </p:tgtEl>
                                        <p:attrNameLst>
                                          <p:attrName>r</p:attrName>
                                        </p:attrNameLst>
                                      </p:cBhvr>
                                    </p:animRot>
                                  </p:childTnLst>
                                </p:cTn>
                              </p:par>
                              <p:par>
                                <p:cTn id="76" presetID="22" presetClass="entr" presetSubtype="2" fill="hold" grpId="0" nodeType="withEffect">
                                  <p:stCondLst>
                                    <p:cond delay="500"/>
                                  </p:stCondLst>
                                  <p:childTnLst>
                                    <p:set>
                                      <p:cBhvr>
                                        <p:cTn id="77" dur="1" fill="hold">
                                          <p:stCondLst>
                                            <p:cond delay="0"/>
                                          </p:stCondLst>
                                        </p:cTn>
                                        <p:tgtEl>
                                          <p:spTgt spid="106"/>
                                        </p:tgtEl>
                                        <p:attrNameLst>
                                          <p:attrName>style.visibility</p:attrName>
                                        </p:attrNameLst>
                                      </p:cBhvr>
                                      <p:to>
                                        <p:strVal val="visible"/>
                                      </p:to>
                                    </p:set>
                                    <p:animEffect transition="in" filter="wipe(right)">
                                      <p:cBhvr>
                                        <p:cTn id="78" dur="1000"/>
                                        <p:tgtEl>
                                          <p:spTgt spid="106"/>
                                        </p:tgtEl>
                                      </p:cBhvr>
                                    </p:animEffect>
                                  </p:childTnLst>
                                </p:cTn>
                              </p:par>
                            </p:childTnLst>
                          </p:cTn>
                        </p:par>
                      </p:childTnLst>
                    </p:cTn>
                  </p:par>
                  <p:par>
                    <p:cTn id="79" fill="hold">
                      <p:stCondLst>
                        <p:cond delay="indefinite"/>
                      </p:stCondLst>
                      <p:childTnLst>
                        <p:par>
                          <p:cTn id="80" fill="hold">
                            <p:stCondLst>
                              <p:cond delay="0"/>
                            </p:stCondLst>
                            <p:childTnLst>
                              <p:par>
                                <p:cTn id="81" presetID="2" presetClass="entr" presetSubtype="2" fill="hold" grpId="0" nodeType="clickEffect">
                                  <p:stCondLst>
                                    <p:cond delay="0"/>
                                  </p:stCondLst>
                                  <p:childTnLst>
                                    <p:set>
                                      <p:cBhvr>
                                        <p:cTn id="82" dur="1" fill="hold">
                                          <p:stCondLst>
                                            <p:cond delay="0"/>
                                          </p:stCondLst>
                                        </p:cTn>
                                        <p:tgtEl>
                                          <p:spTgt spid="102"/>
                                        </p:tgtEl>
                                        <p:attrNameLst>
                                          <p:attrName>style.visibility</p:attrName>
                                        </p:attrNameLst>
                                      </p:cBhvr>
                                      <p:to>
                                        <p:strVal val="visible"/>
                                      </p:to>
                                    </p:set>
                                    <p:anim calcmode="lin" valueType="num">
                                      <p:cBhvr additive="base">
                                        <p:cTn id="83" dur="1500" fill="hold"/>
                                        <p:tgtEl>
                                          <p:spTgt spid="102"/>
                                        </p:tgtEl>
                                        <p:attrNameLst>
                                          <p:attrName>ppt_x</p:attrName>
                                        </p:attrNameLst>
                                      </p:cBhvr>
                                      <p:tavLst>
                                        <p:tav tm="0">
                                          <p:val>
                                            <p:strVal val="1+#ppt_w/2"/>
                                          </p:val>
                                        </p:tav>
                                        <p:tav tm="100000">
                                          <p:val>
                                            <p:strVal val="#ppt_x"/>
                                          </p:val>
                                        </p:tav>
                                      </p:tavLst>
                                    </p:anim>
                                    <p:anim calcmode="lin" valueType="num">
                                      <p:cBhvr additive="base">
                                        <p:cTn id="84" dur="1500" fill="hold"/>
                                        <p:tgtEl>
                                          <p:spTgt spid="102"/>
                                        </p:tgtEl>
                                        <p:attrNameLst>
                                          <p:attrName>ppt_y</p:attrName>
                                        </p:attrNameLst>
                                      </p:cBhvr>
                                      <p:tavLst>
                                        <p:tav tm="0">
                                          <p:val>
                                            <p:strVal val="#ppt_y"/>
                                          </p:val>
                                        </p:tav>
                                        <p:tav tm="100000">
                                          <p:val>
                                            <p:strVal val="#ppt_y"/>
                                          </p:val>
                                        </p:tav>
                                      </p:tavLst>
                                    </p:anim>
                                  </p:childTnLst>
                                </p:cTn>
                              </p:par>
                              <p:par>
                                <p:cTn id="85" presetID="8" presetClass="emph" presetSubtype="0" fill="hold" grpId="1" nodeType="withEffect">
                                  <p:stCondLst>
                                    <p:cond delay="0"/>
                                  </p:stCondLst>
                                  <p:childTnLst>
                                    <p:animRot by="21600000">
                                      <p:cBhvr>
                                        <p:cTn id="86" dur="1500" fill="hold"/>
                                        <p:tgtEl>
                                          <p:spTgt spid="102"/>
                                        </p:tgtEl>
                                        <p:attrNameLst>
                                          <p:attrName>r</p:attrName>
                                        </p:attrNameLst>
                                      </p:cBhvr>
                                    </p:animRot>
                                  </p:childTnLst>
                                </p:cTn>
                              </p:par>
                              <p:par>
                                <p:cTn id="87" presetID="22" presetClass="entr" presetSubtype="2" fill="hold" grpId="0" nodeType="withEffect">
                                  <p:stCondLst>
                                    <p:cond delay="500"/>
                                  </p:stCondLst>
                                  <p:childTnLst>
                                    <p:set>
                                      <p:cBhvr>
                                        <p:cTn id="88" dur="1" fill="hold">
                                          <p:stCondLst>
                                            <p:cond delay="0"/>
                                          </p:stCondLst>
                                        </p:cTn>
                                        <p:tgtEl>
                                          <p:spTgt spid="107"/>
                                        </p:tgtEl>
                                        <p:attrNameLst>
                                          <p:attrName>style.visibility</p:attrName>
                                        </p:attrNameLst>
                                      </p:cBhvr>
                                      <p:to>
                                        <p:strVal val="visible"/>
                                      </p:to>
                                    </p:set>
                                    <p:animEffect transition="in" filter="wipe(right)">
                                      <p:cBhvr>
                                        <p:cTn id="89" dur="1000"/>
                                        <p:tgtEl>
                                          <p:spTgt spid="107"/>
                                        </p:tgtEl>
                                      </p:cBhvr>
                                    </p:animEffect>
                                  </p:childTnLst>
                                </p:cTn>
                              </p:par>
                            </p:childTnLst>
                          </p:cTn>
                        </p:par>
                      </p:childTnLst>
                    </p:cTn>
                  </p:par>
                  <p:par>
                    <p:cTn id="90" fill="hold">
                      <p:stCondLst>
                        <p:cond delay="indefinite"/>
                      </p:stCondLst>
                      <p:childTnLst>
                        <p:par>
                          <p:cTn id="91" fill="hold">
                            <p:stCondLst>
                              <p:cond delay="0"/>
                            </p:stCondLst>
                            <p:childTnLst>
                              <p:par>
                                <p:cTn id="92" presetID="19" presetClass="emph" presetSubtype="0" fill="hold" grpId="2" nodeType="clickEffect">
                                  <p:stCondLst>
                                    <p:cond delay="0"/>
                                  </p:stCondLst>
                                  <p:childTnLst>
                                    <p:animClr clrSpc="rgb" dir="cw">
                                      <p:cBhvr override="childStyle">
                                        <p:cTn id="93" dur="500" fill="hold"/>
                                        <p:tgtEl>
                                          <p:spTgt spid="563"/>
                                        </p:tgtEl>
                                        <p:attrNameLst>
                                          <p:attrName>style.color</p:attrName>
                                        </p:attrNameLst>
                                      </p:cBhvr>
                                      <p:to>
                                        <a:srgbClr val="FF0000"/>
                                      </p:to>
                                    </p:animClr>
                                    <p:animClr clrSpc="rgb" dir="cw">
                                      <p:cBhvr>
                                        <p:cTn id="94" dur="500" fill="hold"/>
                                        <p:tgtEl>
                                          <p:spTgt spid="563"/>
                                        </p:tgtEl>
                                        <p:attrNameLst>
                                          <p:attrName>fillcolor</p:attrName>
                                        </p:attrNameLst>
                                      </p:cBhvr>
                                      <p:to>
                                        <a:srgbClr val="FF0000"/>
                                      </p:to>
                                    </p:animClr>
                                    <p:set>
                                      <p:cBhvr>
                                        <p:cTn id="95" dur="500" fill="hold"/>
                                        <p:tgtEl>
                                          <p:spTgt spid="563"/>
                                        </p:tgtEl>
                                        <p:attrNameLst>
                                          <p:attrName>fill.type</p:attrName>
                                        </p:attrNameLst>
                                      </p:cBhvr>
                                      <p:to>
                                        <p:strVal val="solid"/>
                                      </p:to>
                                    </p:set>
                                    <p:set>
                                      <p:cBhvr>
                                        <p:cTn id="96" dur="500" fill="hold"/>
                                        <p:tgtEl>
                                          <p:spTgt spid="563"/>
                                        </p:tgtEl>
                                        <p:attrNameLst>
                                          <p:attrName>fill.on</p:attrName>
                                        </p:attrNameLst>
                                      </p:cBhvr>
                                      <p:to>
                                        <p:strVal val="true"/>
                                      </p:to>
                                    </p:set>
                                  </p:childTnLst>
                                </p:cTn>
                              </p:par>
                            </p:childTnLst>
                          </p:cTn>
                        </p:par>
                      </p:childTnLst>
                    </p:cTn>
                  </p:par>
                  <p:par>
                    <p:cTn id="97" fill="hold">
                      <p:stCondLst>
                        <p:cond delay="indefinite"/>
                      </p:stCondLst>
                      <p:childTnLst>
                        <p:par>
                          <p:cTn id="98" fill="hold">
                            <p:stCondLst>
                              <p:cond delay="0"/>
                            </p:stCondLst>
                            <p:childTnLst>
                              <p:par>
                                <p:cTn id="99" presetID="19" presetClass="emph" presetSubtype="0" fill="hold" grpId="2" nodeType="clickEffect">
                                  <p:stCondLst>
                                    <p:cond delay="0"/>
                                  </p:stCondLst>
                                  <p:childTnLst>
                                    <p:animClr clrSpc="rgb" dir="cw">
                                      <p:cBhvr override="childStyle">
                                        <p:cTn id="100" dur="500" fill="hold"/>
                                        <p:tgtEl>
                                          <p:spTgt spid="91"/>
                                        </p:tgtEl>
                                        <p:attrNameLst>
                                          <p:attrName>style.color</p:attrName>
                                        </p:attrNameLst>
                                      </p:cBhvr>
                                      <p:to>
                                        <a:srgbClr val="FF0000"/>
                                      </p:to>
                                    </p:animClr>
                                    <p:animClr clrSpc="rgb" dir="cw">
                                      <p:cBhvr>
                                        <p:cTn id="101" dur="500" fill="hold"/>
                                        <p:tgtEl>
                                          <p:spTgt spid="91"/>
                                        </p:tgtEl>
                                        <p:attrNameLst>
                                          <p:attrName>fillcolor</p:attrName>
                                        </p:attrNameLst>
                                      </p:cBhvr>
                                      <p:to>
                                        <a:srgbClr val="FF0000"/>
                                      </p:to>
                                    </p:animClr>
                                    <p:set>
                                      <p:cBhvr>
                                        <p:cTn id="102" dur="500" fill="hold"/>
                                        <p:tgtEl>
                                          <p:spTgt spid="91"/>
                                        </p:tgtEl>
                                        <p:attrNameLst>
                                          <p:attrName>fill.type</p:attrName>
                                        </p:attrNameLst>
                                      </p:cBhvr>
                                      <p:to>
                                        <p:strVal val="solid"/>
                                      </p:to>
                                    </p:set>
                                    <p:set>
                                      <p:cBhvr>
                                        <p:cTn id="103" dur="500" fill="hold"/>
                                        <p:tgtEl>
                                          <p:spTgt spid="9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4" grpId="0" animBg="1"/>
      <p:bldP spid="553" grpId="0" animBg="1"/>
      <p:bldP spid="557" grpId="0" animBg="1"/>
      <p:bldP spid="558" grpId="0" animBg="1"/>
      <p:bldP spid="559" grpId="0"/>
      <p:bldP spid="560" grpId="0"/>
      <p:bldP spid="562" grpId="0" animBg="1"/>
      <p:bldP spid="563" grpId="0" animBg="1"/>
      <p:bldP spid="563" grpId="1" animBg="1"/>
      <p:bldP spid="563" grpId="2" animBg="1"/>
      <p:bldP spid="91" grpId="0" animBg="1"/>
      <p:bldP spid="91" grpId="1" animBg="1"/>
      <p:bldP spid="91" grpId="2" animBg="1"/>
      <p:bldP spid="100" grpId="0" animBg="1"/>
      <p:bldP spid="100" grpId="1" animBg="1"/>
      <p:bldP spid="101" grpId="0" animBg="1"/>
      <p:bldP spid="101" grpId="1" animBg="1"/>
      <p:bldP spid="102" grpId="0" animBg="1"/>
      <p:bldP spid="102" grpId="1" animBg="1"/>
      <p:bldP spid="64" grpId="0" animBg="1"/>
      <p:bldP spid="104" grpId="0" animBg="1"/>
      <p:bldP spid="105" grpId="0" animBg="1"/>
      <p:bldP spid="106" grpId="0" animBg="1"/>
      <p:bldP spid="10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512" name="Parallelogram 511">
            <a:extLst>
              <a:ext uri="{FF2B5EF4-FFF2-40B4-BE49-F238E27FC236}">
                <a16:creationId xmlns:a16="http://schemas.microsoft.com/office/drawing/2014/main" id="{91241933-0435-4DB3-92B1-0E86670EDEE9}"/>
              </a:ext>
            </a:extLst>
          </p:cNvPr>
          <p:cNvSpPr/>
          <p:nvPr/>
        </p:nvSpPr>
        <p:spPr>
          <a:xfrm>
            <a:off x="-1528252" y="-504964"/>
            <a:ext cx="2619214" cy="1255362"/>
          </a:xfrm>
          <a:prstGeom prst="parallelogram">
            <a:avLst/>
          </a:prstGeom>
          <a:solidFill>
            <a:srgbClr val="CF75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513" name="Parallelogram 512">
            <a:extLst>
              <a:ext uri="{FF2B5EF4-FFF2-40B4-BE49-F238E27FC236}">
                <a16:creationId xmlns:a16="http://schemas.microsoft.com/office/drawing/2014/main" id="{744AA66E-841B-47AB-8D11-3169286E8BDD}"/>
              </a:ext>
            </a:extLst>
          </p:cNvPr>
          <p:cNvSpPr/>
          <p:nvPr/>
        </p:nvSpPr>
        <p:spPr>
          <a:xfrm>
            <a:off x="829162" y="161738"/>
            <a:ext cx="8679050" cy="627681"/>
          </a:xfrm>
          <a:prstGeom prst="parallelogram">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sp>
        <p:nvSpPr>
          <p:cNvPr id="514" name="Parallelogram 513">
            <a:extLst>
              <a:ext uri="{FF2B5EF4-FFF2-40B4-BE49-F238E27FC236}">
                <a16:creationId xmlns:a16="http://schemas.microsoft.com/office/drawing/2014/main" id="{66F83DC1-9844-4790-A561-E9E6D0393BB3}"/>
              </a:ext>
            </a:extLst>
          </p:cNvPr>
          <p:cNvSpPr/>
          <p:nvPr/>
        </p:nvSpPr>
        <p:spPr>
          <a:xfrm>
            <a:off x="-1999280" y="-504964"/>
            <a:ext cx="3006672" cy="1255362"/>
          </a:xfrm>
          <a:prstGeom prst="parallelogram">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515" name="Parallelogram 514">
            <a:extLst>
              <a:ext uri="{FF2B5EF4-FFF2-40B4-BE49-F238E27FC236}">
                <a16:creationId xmlns:a16="http://schemas.microsoft.com/office/drawing/2014/main" id="{068C4E35-65AD-4A07-B367-272C6DC8B9AE}"/>
              </a:ext>
            </a:extLst>
          </p:cNvPr>
          <p:cNvSpPr/>
          <p:nvPr/>
        </p:nvSpPr>
        <p:spPr>
          <a:xfrm>
            <a:off x="6827005" y="175300"/>
            <a:ext cx="2681207" cy="604434"/>
          </a:xfrm>
          <a:prstGeom prst="parallelogram">
            <a:avLst/>
          </a:prstGeom>
          <a:solidFill>
            <a:srgbClr val="CF75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516" name="TextBox 515">
            <a:extLst>
              <a:ext uri="{FF2B5EF4-FFF2-40B4-BE49-F238E27FC236}">
                <a16:creationId xmlns:a16="http://schemas.microsoft.com/office/drawing/2014/main" id="{2CA54943-8325-4142-9268-7C7E245FDCE0}"/>
              </a:ext>
            </a:extLst>
          </p:cNvPr>
          <p:cNvSpPr txBox="1"/>
          <p:nvPr/>
        </p:nvSpPr>
        <p:spPr>
          <a:xfrm>
            <a:off x="1007392" y="230217"/>
            <a:ext cx="6013344" cy="461665"/>
          </a:xfrm>
          <a:prstGeom prst="rect">
            <a:avLst/>
          </a:prstGeom>
          <a:noFill/>
        </p:spPr>
        <p:txBody>
          <a:bodyPr wrap="square" rtlCol="0">
            <a:spAutoFit/>
          </a:bodyPr>
          <a:lstStyle/>
          <a:p>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Bản</a:t>
            </a:r>
            <a:r>
              <a:rPr lang="en-US" sz="2400" dirty="0">
                <a:solidFill>
                  <a:schemeClr val="bg1"/>
                </a:solidFill>
                <a:latin typeface="Times New Roman" panose="02020603050405020304" pitchFamily="18" charset="0"/>
                <a:cs typeface="Times New Roman" panose="02020603050405020304" pitchFamily="18" charset="0"/>
              </a:rPr>
              <a:t> </a:t>
            </a:r>
            <a:r>
              <a:rPr lang="en-US" sz="2400" dirty="0" err="1">
                <a:solidFill>
                  <a:schemeClr val="bg1"/>
                </a:solidFill>
                <a:latin typeface="Times New Roman" panose="02020603050405020304" pitchFamily="18" charset="0"/>
                <a:cs typeface="Times New Roman" panose="02020603050405020304" pitchFamily="18" charset="0"/>
              </a:rPr>
              <a:t>Ghi</a:t>
            </a:r>
            <a:r>
              <a:rPr lang="en-US" sz="2400" dirty="0">
                <a:solidFill>
                  <a:schemeClr val="bg1"/>
                </a:solidFill>
                <a:latin typeface="Times New Roman" panose="02020603050405020304" pitchFamily="18" charset="0"/>
                <a:cs typeface="Times New Roman" panose="02020603050405020304" pitchFamily="18" charset="0"/>
              </a:rPr>
              <a:t> , </a:t>
            </a:r>
            <a:r>
              <a:rPr lang="en-US" sz="2400" dirty="0" err="1">
                <a:solidFill>
                  <a:schemeClr val="bg1"/>
                </a:solidFill>
                <a:latin typeface="Times New Roman" panose="02020603050405020304" pitchFamily="18" charset="0"/>
                <a:cs typeface="Times New Roman" panose="02020603050405020304" pitchFamily="18" charset="0"/>
              </a:rPr>
              <a:t>Trường</a:t>
            </a:r>
            <a:endParaRPr lang="en-US" sz="2400" dirty="0">
              <a:solidFill>
                <a:schemeClr val="bg1"/>
              </a:solidFill>
              <a:latin typeface="Times New Roman" panose="02020603050405020304" pitchFamily="18" charset="0"/>
              <a:cs typeface="Times New Roman" panose="02020603050405020304" pitchFamily="18" charset="0"/>
            </a:endParaRPr>
          </a:p>
        </p:txBody>
      </p:sp>
      <p:sp>
        <p:nvSpPr>
          <p:cNvPr id="517" name="TextBox 516">
            <a:extLst>
              <a:ext uri="{FF2B5EF4-FFF2-40B4-BE49-F238E27FC236}">
                <a16:creationId xmlns:a16="http://schemas.microsoft.com/office/drawing/2014/main" id="{634A7A72-AE18-4488-B847-FC0C41945FC7}"/>
              </a:ext>
            </a:extLst>
          </p:cNvPr>
          <p:cNvSpPr txBox="1"/>
          <p:nvPr/>
        </p:nvSpPr>
        <p:spPr>
          <a:xfrm>
            <a:off x="178855" y="-31614"/>
            <a:ext cx="697627" cy="830997"/>
          </a:xfrm>
          <a:prstGeom prst="rect">
            <a:avLst/>
          </a:prstGeom>
          <a:noFill/>
        </p:spPr>
        <p:txBody>
          <a:bodyPr wrap="none" rtlCol="0">
            <a:spAutoFit/>
          </a:bodyPr>
          <a:lstStyle/>
          <a:p>
            <a:r>
              <a:rPr lang="en-US" sz="4800" b="1" dirty="0" smtClean="0">
                <a:latin typeface="Times New Roman" panose="02020603050405020304" pitchFamily="18" charset="0"/>
                <a:cs typeface="Times New Roman" panose="02020603050405020304" pitchFamily="18" charset="0"/>
              </a:rPr>
              <a:t>a)</a:t>
            </a:r>
            <a:endParaRPr lang="en-US" sz="4800" b="1" dirty="0">
              <a:latin typeface="Times New Roman" panose="02020603050405020304" pitchFamily="18" charset="0"/>
              <a:cs typeface="Times New Roman" panose="02020603050405020304" pitchFamily="18" charset="0"/>
            </a:endParaRPr>
          </a:p>
        </p:txBody>
      </p:sp>
      <p:pic>
        <p:nvPicPr>
          <p:cNvPr id="3" name="Picture 2">
            <a:extLst>
              <a:ext uri="{FF2B5EF4-FFF2-40B4-BE49-F238E27FC236}">
                <a16:creationId xmlns:a16="http://schemas.microsoft.com/office/drawing/2014/main" id="{A011E169-63D9-48CF-9F18-3E76AFFD93DE}"/>
              </a:ext>
            </a:extLst>
          </p:cNvPr>
          <p:cNvPicPr>
            <a:picLocks noChangeAspect="1"/>
          </p:cNvPicPr>
          <p:nvPr/>
        </p:nvPicPr>
        <p:blipFill>
          <a:blip r:embed="rId3"/>
          <a:stretch>
            <a:fillRect/>
          </a:stretch>
        </p:blipFill>
        <p:spPr>
          <a:xfrm>
            <a:off x="5580905" y="1076248"/>
            <a:ext cx="2879661" cy="2796021"/>
          </a:xfrm>
          <a:prstGeom prst="rect">
            <a:avLst/>
          </a:prstGeom>
          <a:ln>
            <a:noFill/>
          </a:ln>
          <a:effectLst>
            <a:outerShdw blurRad="190500" algn="tl" rotWithShape="0">
              <a:srgbClr val="000000">
                <a:alpha val="70000"/>
              </a:srgbClr>
            </a:outerShdw>
          </a:effectLst>
        </p:spPr>
      </p:pic>
      <p:cxnSp>
        <p:nvCxnSpPr>
          <p:cNvPr id="5" name="Straight Connector 4">
            <a:extLst>
              <a:ext uri="{FF2B5EF4-FFF2-40B4-BE49-F238E27FC236}">
                <a16:creationId xmlns:a16="http://schemas.microsoft.com/office/drawing/2014/main" id="{BB9549F3-CD09-441A-9B41-E163DB7B7011}"/>
              </a:ext>
            </a:extLst>
          </p:cNvPr>
          <p:cNvCxnSpPr>
            <a:cxnSpLocks/>
          </p:cNvCxnSpPr>
          <p:nvPr/>
        </p:nvCxnSpPr>
        <p:spPr>
          <a:xfrm>
            <a:off x="5580905" y="1987983"/>
            <a:ext cx="2879661" cy="0"/>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12" name="Straight Connector 11">
            <a:extLst>
              <a:ext uri="{FF2B5EF4-FFF2-40B4-BE49-F238E27FC236}">
                <a16:creationId xmlns:a16="http://schemas.microsoft.com/office/drawing/2014/main" id="{EBD69C56-6558-4854-A127-E7BA0BC8375D}"/>
              </a:ext>
            </a:extLst>
          </p:cNvPr>
          <p:cNvCxnSpPr>
            <a:cxnSpLocks/>
            <a:endCxn id="3" idx="3"/>
          </p:cNvCxnSpPr>
          <p:nvPr/>
        </p:nvCxnSpPr>
        <p:spPr>
          <a:xfrm>
            <a:off x="8460566" y="1987983"/>
            <a:ext cx="0" cy="486276"/>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15" name="Straight Connector 14">
            <a:extLst>
              <a:ext uri="{FF2B5EF4-FFF2-40B4-BE49-F238E27FC236}">
                <a16:creationId xmlns:a16="http://schemas.microsoft.com/office/drawing/2014/main" id="{30FDDBA6-0754-4F82-8A83-EFF49BEBFB4A}"/>
              </a:ext>
            </a:extLst>
          </p:cNvPr>
          <p:cNvCxnSpPr>
            <a:cxnSpLocks/>
          </p:cNvCxnSpPr>
          <p:nvPr/>
        </p:nvCxnSpPr>
        <p:spPr>
          <a:xfrm>
            <a:off x="5580905" y="2474258"/>
            <a:ext cx="2879661" cy="0"/>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16" name="Straight Connector 15">
            <a:extLst>
              <a:ext uri="{FF2B5EF4-FFF2-40B4-BE49-F238E27FC236}">
                <a16:creationId xmlns:a16="http://schemas.microsoft.com/office/drawing/2014/main" id="{C96DDACE-986F-4C9F-8DE7-27A531A8886F}"/>
              </a:ext>
            </a:extLst>
          </p:cNvPr>
          <p:cNvCxnSpPr>
            <a:cxnSpLocks/>
            <a:endCxn id="3" idx="1"/>
          </p:cNvCxnSpPr>
          <p:nvPr/>
        </p:nvCxnSpPr>
        <p:spPr>
          <a:xfrm>
            <a:off x="5580905" y="1987983"/>
            <a:ext cx="0" cy="486276"/>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11" name="Straight Arrow Connector 10">
            <a:extLst>
              <a:ext uri="{FF2B5EF4-FFF2-40B4-BE49-F238E27FC236}">
                <a16:creationId xmlns:a16="http://schemas.microsoft.com/office/drawing/2014/main" id="{C61486FD-F3AF-46F1-A811-09E4DB87F59E}"/>
              </a:ext>
            </a:extLst>
          </p:cNvPr>
          <p:cNvCxnSpPr>
            <a:cxnSpLocks/>
          </p:cNvCxnSpPr>
          <p:nvPr/>
        </p:nvCxnSpPr>
        <p:spPr>
          <a:xfrm flipH="1">
            <a:off x="4682547" y="2231121"/>
            <a:ext cx="898358" cy="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13" name="Rectangle: Rounded Corners 12">
            <a:extLst>
              <a:ext uri="{FF2B5EF4-FFF2-40B4-BE49-F238E27FC236}">
                <a16:creationId xmlns:a16="http://schemas.microsoft.com/office/drawing/2014/main" id="{9052D02E-55B2-4CA2-8828-4144A45E74F7}"/>
              </a:ext>
            </a:extLst>
          </p:cNvPr>
          <p:cNvSpPr/>
          <p:nvPr/>
        </p:nvSpPr>
        <p:spPr>
          <a:xfrm>
            <a:off x="3591684" y="1987984"/>
            <a:ext cx="1026695" cy="385010"/>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err="1">
                <a:latin typeface="Times New Roman" panose="02020603050405020304" pitchFamily="18" charset="0"/>
                <a:cs typeface="Times New Roman" panose="02020603050405020304" pitchFamily="18" charset="0"/>
              </a:rPr>
              <a:t>Bả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hi</a:t>
            </a:r>
            <a:endParaRPr lang="en-US" dirty="0">
              <a:latin typeface="Times New Roman" panose="02020603050405020304" pitchFamily="18" charset="0"/>
              <a:cs typeface="Times New Roman" panose="02020603050405020304" pitchFamily="18" charset="0"/>
            </a:endParaRPr>
          </a:p>
        </p:txBody>
      </p:sp>
      <p:cxnSp>
        <p:nvCxnSpPr>
          <p:cNvPr id="22" name="Straight Connector 21">
            <a:extLst>
              <a:ext uri="{FF2B5EF4-FFF2-40B4-BE49-F238E27FC236}">
                <a16:creationId xmlns:a16="http://schemas.microsoft.com/office/drawing/2014/main" id="{8837096A-C8B3-4A9E-9C46-3D51968A77F6}"/>
              </a:ext>
            </a:extLst>
          </p:cNvPr>
          <p:cNvCxnSpPr>
            <a:cxnSpLocks/>
          </p:cNvCxnSpPr>
          <p:nvPr/>
        </p:nvCxnSpPr>
        <p:spPr>
          <a:xfrm>
            <a:off x="5580905" y="3848206"/>
            <a:ext cx="849678" cy="0"/>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24" name="Straight Connector 23">
            <a:extLst>
              <a:ext uri="{FF2B5EF4-FFF2-40B4-BE49-F238E27FC236}">
                <a16:creationId xmlns:a16="http://schemas.microsoft.com/office/drawing/2014/main" id="{20FFC9FF-0A88-4E8E-9B9F-0718D691449C}"/>
              </a:ext>
            </a:extLst>
          </p:cNvPr>
          <p:cNvCxnSpPr>
            <a:cxnSpLocks/>
          </p:cNvCxnSpPr>
          <p:nvPr/>
        </p:nvCxnSpPr>
        <p:spPr>
          <a:xfrm>
            <a:off x="5580904" y="1562867"/>
            <a:ext cx="849679" cy="0"/>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26" name="Straight Connector 25">
            <a:extLst>
              <a:ext uri="{FF2B5EF4-FFF2-40B4-BE49-F238E27FC236}">
                <a16:creationId xmlns:a16="http://schemas.microsoft.com/office/drawing/2014/main" id="{5CC53A24-1E25-4699-B32E-98A3580533B6}"/>
              </a:ext>
            </a:extLst>
          </p:cNvPr>
          <p:cNvCxnSpPr>
            <a:cxnSpLocks/>
          </p:cNvCxnSpPr>
          <p:nvPr/>
        </p:nvCxnSpPr>
        <p:spPr>
          <a:xfrm>
            <a:off x="5580904" y="1586930"/>
            <a:ext cx="0" cy="2285339"/>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29" name="Straight Connector 28">
            <a:extLst>
              <a:ext uri="{FF2B5EF4-FFF2-40B4-BE49-F238E27FC236}">
                <a16:creationId xmlns:a16="http://schemas.microsoft.com/office/drawing/2014/main" id="{62E871C0-07E4-45A6-B580-B3D306543291}"/>
              </a:ext>
            </a:extLst>
          </p:cNvPr>
          <p:cNvCxnSpPr>
            <a:cxnSpLocks/>
          </p:cNvCxnSpPr>
          <p:nvPr/>
        </p:nvCxnSpPr>
        <p:spPr>
          <a:xfrm flipH="1">
            <a:off x="6430583" y="1562867"/>
            <a:ext cx="11015" cy="2285339"/>
          </a:xfrm>
          <a:prstGeom prst="line">
            <a:avLst/>
          </a:prstGeom>
          <a:ln>
            <a:solidFill>
              <a:srgbClr val="FF0000"/>
            </a:solidFill>
          </a:ln>
        </p:spPr>
        <p:style>
          <a:lnRef idx="3">
            <a:schemeClr val="accent5"/>
          </a:lnRef>
          <a:fillRef idx="0">
            <a:schemeClr val="accent5"/>
          </a:fillRef>
          <a:effectRef idx="2">
            <a:schemeClr val="accent5"/>
          </a:effectRef>
          <a:fontRef idx="minor">
            <a:schemeClr val="tx1"/>
          </a:fontRef>
        </p:style>
      </p:cxnSp>
      <p:cxnSp>
        <p:nvCxnSpPr>
          <p:cNvPr id="32" name="Straight Arrow Connector 31">
            <a:extLst>
              <a:ext uri="{FF2B5EF4-FFF2-40B4-BE49-F238E27FC236}">
                <a16:creationId xmlns:a16="http://schemas.microsoft.com/office/drawing/2014/main" id="{3D1B9539-D059-46B2-AA94-47240EC5C0CB}"/>
              </a:ext>
            </a:extLst>
          </p:cNvPr>
          <p:cNvCxnSpPr>
            <a:cxnSpLocks/>
            <a:endCxn id="35" idx="0"/>
          </p:cNvCxnSpPr>
          <p:nvPr/>
        </p:nvCxnSpPr>
        <p:spPr>
          <a:xfrm flipH="1">
            <a:off x="6005743" y="3872269"/>
            <a:ext cx="1357" cy="462211"/>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35" name="Rectangle: Rounded Corners 34">
            <a:extLst>
              <a:ext uri="{FF2B5EF4-FFF2-40B4-BE49-F238E27FC236}">
                <a16:creationId xmlns:a16="http://schemas.microsoft.com/office/drawing/2014/main" id="{98E9C381-CED4-4B95-A65F-831D275BF048}"/>
              </a:ext>
            </a:extLst>
          </p:cNvPr>
          <p:cNvSpPr/>
          <p:nvPr/>
        </p:nvSpPr>
        <p:spPr>
          <a:xfrm>
            <a:off x="5492395" y="4334480"/>
            <a:ext cx="1026695" cy="385010"/>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err="1">
                <a:latin typeface="Times New Roman" panose="02020603050405020304" pitchFamily="18" charset="0"/>
                <a:cs typeface="Times New Roman" panose="02020603050405020304" pitchFamily="18" charset="0"/>
              </a:rPr>
              <a:t>Trường</a:t>
            </a:r>
            <a:endParaRPr lang="en-US" dirty="0">
              <a:latin typeface="Times New Roman" panose="02020603050405020304" pitchFamily="18" charset="0"/>
              <a:cs typeface="Times New Roman" panose="02020603050405020304" pitchFamily="18" charset="0"/>
            </a:endParaRPr>
          </a:p>
        </p:txBody>
      </p:sp>
      <p:sp>
        <p:nvSpPr>
          <p:cNvPr id="2" name="TextBox 1"/>
          <p:cNvSpPr txBox="1"/>
          <p:nvPr/>
        </p:nvSpPr>
        <p:spPr>
          <a:xfrm>
            <a:off x="6400800" y="2474259"/>
            <a:ext cx="2926080" cy="307777"/>
          </a:xfrm>
          <a:prstGeom prst="rect">
            <a:avLst/>
          </a:prstGeom>
          <a:noFill/>
        </p:spPr>
        <p:txBody>
          <a:bodyPr wrap="square" rtlCol="0">
            <a:spAutoFit/>
          </a:bodyPr>
          <a:lstStyle/>
          <a:p>
            <a:endParaRPr lang="en-US" dirty="0">
              <a:latin typeface="Times New Roman" panose="02020603050405020304" pitchFamily="18" charset="0"/>
              <a:cs typeface="Times New Roman" panose="02020603050405020304" pitchFamily="18" charset="0"/>
            </a:endParaRPr>
          </a:p>
        </p:txBody>
      </p:sp>
      <p:sp>
        <p:nvSpPr>
          <p:cNvPr id="4" name="TextBox 3"/>
          <p:cNvSpPr txBox="1"/>
          <p:nvPr/>
        </p:nvSpPr>
        <p:spPr>
          <a:xfrm>
            <a:off x="349606" y="1989734"/>
            <a:ext cx="3242077" cy="923330"/>
          </a:xfrm>
          <a:prstGeom prst="rect">
            <a:avLst/>
          </a:prstGeom>
          <a:noFill/>
        </p:spPr>
        <p:txBody>
          <a:bodyPr wrap="square" rtlCol="0">
            <a:spAutoFit/>
          </a:bodyPr>
          <a:lstStyle/>
          <a:p>
            <a:r>
              <a:rPr lang="en-US" sz="1800" dirty="0" err="1" smtClean="0">
                <a:latin typeface="Times New Roman" panose="02020603050405020304" pitchFamily="18" charset="0"/>
                <a:cs typeface="Times New Roman" panose="02020603050405020304" pitchFamily="18" charset="0"/>
              </a:rPr>
              <a:t>Là</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tập</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hợp</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các</a:t>
            </a:r>
            <a:r>
              <a:rPr lang="en-US" sz="1800" dirty="0" smtClean="0">
                <a:latin typeface="Times New Roman" panose="02020603050405020304" pitchFamily="18" charset="0"/>
                <a:cs typeface="Times New Roman" panose="02020603050405020304" pitchFamily="18" charset="0"/>
              </a:rPr>
              <a:t> </a:t>
            </a:r>
            <a:r>
              <a:rPr lang="vi-VN" sz="1800" dirty="0" smtClean="0">
                <a:latin typeface="Times New Roman" panose="02020603050405020304" pitchFamily="18" charset="0"/>
                <a:cs typeface="Times New Roman" panose="02020603050405020304" pitchFamily="18" charset="0"/>
              </a:rPr>
              <a:t>thông tin của một đối tượng</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cụ</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thể</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được</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quản</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lí</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trong</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bảng</a:t>
            </a:r>
            <a:r>
              <a:rPr lang="en-US" sz="1800" dirty="0" smtClean="0">
                <a:latin typeface="Times New Roman" panose="02020603050405020304" pitchFamily="18" charset="0"/>
                <a:cs typeface="Times New Roman" panose="02020603050405020304" pitchFamily="18" charset="0"/>
              </a:rPr>
              <a:t>.</a:t>
            </a:r>
            <a:endParaRPr lang="en-US" sz="1800" dirty="0">
              <a:latin typeface="Times New Roman" panose="02020603050405020304" pitchFamily="18" charset="0"/>
              <a:cs typeface="Times New Roman" panose="02020603050405020304" pitchFamily="18" charset="0"/>
            </a:endParaRPr>
          </a:p>
        </p:txBody>
      </p:sp>
      <p:sp>
        <p:nvSpPr>
          <p:cNvPr id="6" name="TextBox 5"/>
          <p:cNvSpPr txBox="1"/>
          <p:nvPr/>
        </p:nvSpPr>
        <p:spPr>
          <a:xfrm>
            <a:off x="1949103" y="4298046"/>
            <a:ext cx="3058999" cy="923330"/>
          </a:xfrm>
          <a:prstGeom prst="rect">
            <a:avLst/>
          </a:prstGeom>
          <a:noFill/>
        </p:spPr>
        <p:txBody>
          <a:bodyPr wrap="square" rtlCol="0">
            <a:spAutoFit/>
          </a:bodyPr>
          <a:lstStyle/>
          <a:p>
            <a:r>
              <a:rPr lang="en-US" sz="1800" dirty="0" err="1" smtClean="0">
                <a:latin typeface="Times New Roman" panose="02020603050405020304" pitchFamily="18" charset="0"/>
                <a:cs typeface="Times New Roman" panose="02020603050405020304" pitchFamily="18" charset="0"/>
              </a:rPr>
              <a:t>Mỗi</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trường</a:t>
            </a:r>
            <a:r>
              <a:rPr lang="en-US" sz="1800" dirty="0" smtClean="0">
                <a:latin typeface="Times New Roman" panose="02020603050405020304" pitchFamily="18" charset="0"/>
                <a:cs typeface="Times New Roman" panose="02020603050405020304" pitchFamily="18" charset="0"/>
              </a:rPr>
              <a:t> l</a:t>
            </a:r>
            <a:r>
              <a:rPr lang="vi-VN" sz="1800" dirty="0" smtClean="0">
                <a:latin typeface="Times New Roman" panose="02020603050405020304" pitchFamily="18" charset="0"/>
                <a:cs typeface="Times New Roman" panose="02020603050405020304" pitchFamily="18" charset="0"/>
              </a:rPr>
              <a:t>à </a:t>
            </a:r>
            <a:r>
              <a:rPr lang="en-US" sz="1800" dirty="0" err="1" smtClean="0">
                <a:latin typeface="Times New Roman" panose="02020603050405020304" pitchFamily="18" charset="0"/>
                <a:cs typeface="Times New Roman" panose="02020603050405020304" pitchFamily="18" charset="0"/>
              </a:rPr>
              <a:t>một</a:t>
            </a:r>
            <a:r>
              <a:rPr lang="en-US" sz="1800" dirty="0" smtClean="0">
                <a:latin typeface="Times New Roman" panose="02020603050405020304" pitchFamily="18" charset="0"/>
                <a:cs typeface="Times New Roman" panose="02020603050405020304" pitchFamily="18" charset="0"/>
              </a:rPr>
              <a:t> </a:t>
            </a:r>
            <a:r>
              <a:rPr lang="vi-VN" sz="1800" dirty="0" smtClean="0">
                <a:latin typeface="Times New Roman" panose="02020603050405020304" pitchFamily="18" charset="0"/>
                <a:cs typeface="Times New Roman" panose="02020603050405020304" pitchFamily="18" charset="0"/>
              </a:rPr>
              <a:t>thuộc tính của đối tượng </a:t>
            </a:r>
            <a:r>
              <a:rPr lang="en-US" sz="1800" dirty="0" err="1" smtClean="0">
                <a:latin typeface="Times New Roman" panose="02020603050405020304" pitchFamily="18" charset="0"/>
                <a:cs typeface="Times New Roman" panose="02020603050405020304" pitchFamily="18" charset="0"/>
              </a:rPr>
              <a:t>được</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quản</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lí</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trong</a:t>
            </a:r>
            <a:r>
              <a:rPr lang="en-US" sz="1800" dirty="0" smtClean="0">
                <a:latin typeface="Times New Roman" panose="02020603050405020304" pitchFamily="18" charset="0"/>
                <a:cs typeface="Times New Roman" panose="02020603050405020304" pitchFamily="18" charset="0"/>
              </a:rPr>
              <a:t> </a:t>
            </a:r>
            <a:r>
              <a:rPr lang="en-US" sz="1800" dirty="0" err="1" smtClean="0">
                <a:latin typeface="Times New Roman" panose="02020603050405020304" pitchFamily="18" charset="0"/>
                <a:cs typeface="Times New Roman" panose="02020603050405020304" pitchFamily="18" charset="0"/>
              </a:rPr>
              <a:t>bảng</a:t>
            </a:r>
            <a:r>
              <a:rPr lang="en-US" sz="1800" dirty="0" smtClean="0">
                <a:latin typeface="Times New Roman" panose="02020603050405020304" pitchFamily="18" charset="0"/>
                <a:cs typeface="Times New Roman" panose="02020603050405020304" pitchFamily="18" charset="0"/>
              </a:rPr>
              <a:t>.</a:t>
            </a:r>
            <a:endParaRPr lang="en-US" sz="1800" dirty="0">
              <a:latin typeface="Times New Roman" panose="02020603050405020304" pitchFamily="18" charset="0"/>
              <a:cs typeface="Times New Roman" panose="02020603050405020304" pitchFamily="18" charset="0"/>
            </a:endParaRPr>
          </a:p>
        </p:txBody>
      </p:sp>
      <p:cxnSp>
        <p:nvCxnSpPr>
          <p:cNvPr id="41" name="Straight Arrow Connector 40"/>
          <p:cNvCxnSpPr/>
          <p:nvPr/>
        </p:nvCxnSpPr>
        <p:spPr>
          <a:xfrm>
            <a:off x="124245" y="2169251"/>
            <a:ext cx="322385" cy="977"/>
          </a:xfrm>
          <a:prstGeom prst="straightConnector1">
            <a:avLst/>
          </a:prstGeom>
          <a:ln w="57150">
            <a:solidFill>
              <a:schemeClr val="accent2">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1696371" y="4482712"/>
            <a:ext cx="322385" cy="977"/>
          </a:xfrm>
          <a:prstGeom prst="straightConnector1">
            <a:avLst/>
          </a:prstGeom>
          <a:ln w="57150">
            <a:solidFill>
              <a:schemeClr val="accent2">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5038148"/>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grpId="0" nodeType="clickEffect">
                                  <p:stCondLst>
                                    <p:cond delay="0"/>
                                  </p:stCondLst>
                                  <p:childTnLst>
                                    <p:set>
                                      <p:cBhvr>
                                        <p:cTn id="6" dur="1" fill="hold">
                                          <p:stCondLst>
                                            <p:cond delay="0"/>
                                          </p:stCondLst>
                                        </p:cTn>
                                        <p:tgtEl>
                                          <p:spTgt spid="512"/>
                                        </p:tgtEl>
                                        <p:attrNameLst>
                                          <p:attrName>style.visibility</p:attrName>
                                        </p:attrNameLst>
                                      </p:cBhvr>
                                      <p:to>
                                        <p:strVal val="visible"/>
                                      </p:to>
                                    </p:set>
                                    <p:anim calcmode="lin" valueType="num">
                                      <p:cBhvr additive="base">
                                        <p:cTn id="7" dur="500" fill="hold"/>
                                        <p:tgtEl>
                                          <p:spTgt spid="512"/>
                                        </p:tgtEl>
                                        <p:attrNameLst>
                                          <p:attrName>ppt_x</p:attrName>
                                        </p:attrNameLst>
                                      </p:cBhvr>
                                      <p:tavLst>
                                        <p:tav tm="0">
                                          <p:val>
                                            <p:strVal val="0-#ppt_w/2"/>
                                          </p:val>
                                        </p:tav>
                                        <p:tav tm="100000">
                                          <p:val>
                                            <p:strVal val="#ppt_x"/>
                                          </p:val>
                                        </p:tav>
                                      </p:tavLst>
                                    </p:anim>
                                    <p:anim calcmode="lin" valueType="num">
                                      <p:cBhvr additive="base">
                                        <p:cTn id="8" dur="500" fill="hold"/>
                                        <p:tgtEl>
                                          <p:spTgt spid="512"/>
                                        </p:tgtEl>
                                        <p:attrNameLst>
                                          <p:attrName>ppt_y</p:attrName>
                                        </p:attrNameLst>
                                      </p:cBhvr>
                                      <p:tavLst>
                                        <p:tav tm="0">
                                          <p:val>
                                            <p:strVal val="0-#ppt_h/2"/>
                                          </p:val>
                                        </p:tav>
                                        <p:tav tm="100000">
                                          <p:val>
                                            <p:strVal val="#ppt_y"/>
                                          </p:val>
                                        </p:tav>
                                      </p:tavLst>
                                    </p:anim>
                                  </p:childTnLst>
                                </p:cTn>
                              </p:par>
                              <p:par>
                                <p:cTn id="9" presetID="2" presetClass="entr" presetSubtype="9" fill="hold" grpId="0" nodeType="withEffect">
                                  <p:stCondLst>
                                    <p:cond delay="0"/>
                                  </p:stCondLst>
                                  <p:childTnLst>
                                    <p:set>
                                      <p:cBhvr>
                                        <p:cTn id="10" dur="1" fill="hold">
                                          <p:stCondLst>
                                            <p:cond delay="0"/>
                                          </p:stCondLst>
                                        </p:cTn>
                                        <p:tgtEl>
                                          <p:spTgt spid="514"/>
                                        </p:tgtEl>
                                        <p:attrNameLst>
                                          <p:attrName>style.visibility</p:attrName>
                                        </p:attrNameLst>
                                      </p:cBhvr>
                                      <p:to>
                                        <p:strVal val="visible"/>
                                      </p:to>
                                    </p:set>
                                    <p:anim calcmode="lin" valueType="num">
                                      <p:cBhvr additive="base">
                                        <p:cTn id="11" dur="500" fill="hold"/>
                                        <p:tgtEl>
                                          <p:spTgt spid="514"/>
                                        </p:tgtEl>
                                        <p:attrNameLst>
                                          <p:attrName>ppt_x</p:attrName>
                                        </p:attrNameLst>
                                      </p:cBhvr>
                                      <p:tavLst>
                                        <p:tav tm="0">
                                          <p:val>
                                            <p:strVal val="0-#ppt_w/2"/>
                                          </p:val>
                                        </p:tav>
                                        <p:tav tm="100000">
                                          <p:val>
                                            <p:strVal val="#ppt_x"/>
                                          </p:val>
                                        </p:tav>
                                      </p:tavLst>
                                    </p:anim>
                                    <p:anim calcmode="lin" valueType="num">
                                      <p:cBhvr additive="base">
                                        <p:cTn id="12" dur="500" fill="hold"/>
                                        <p:tgtEl>
                                          <p:spTgt spid="514"/>
                                        </p:tgtEl>
                                        <p:attrNameLst>
                                          <p:attrName>ppt_y</p:attrName>
                                        </p:attrNameLst>
                                      </p:cBhvr>
                                      <p:tavLst>
                                        <p:tav tm="0">
                                          <p:val>
                                            <p:strVal val="0-#ppt_h/2"/>
                                          </p:val>
                                        </p:tav>
                                        <p:tav tm="100000">
                                          <p:val>
                                            <p:strVal val="#ppt_y"/>
                                          </p:val>
                                        </p:tav>
                                      </p:tavLst>
                                    </p:anim>
                                  </p:childTnLst>
                                </p:cTn>
                              </p:par>
                              <p:par>
                                <p:cTn id="13" presetID="2" presetClass="entr" presetSubtype="9" fill="hold" grpId="0" nodeType="withEffect">
                                  <p:stCondLst>
                                    <p:cond delay="0"/>
                                  </p:stCondLst>
                                  <p:childTnLst>
                                    <p:set>
                                      <p:cBhvr>
                                        <p:cTn id="14" dur="1" fill="hold">
                                          <p:stCondLst>
                                            <p:cond delay="0"/>
                                          </p:stCondLst>
                                        </p:cTn>
                                        <p:tgtEl>
                                          <p:spTgt spid="517"/>
                                        </p:tgtEl>
                                        <p:attrNameLst>
                                          <p:attrName>style.visibility</p:attrName>
                                        </p:attrNameLst>
                                      </p:cBhvr>
                                      <p:to>
                                        <p:strVal val="visible"/>
                                      </p:to>
                                    </p:set>
                                    <p:anim calcmode="lin" valueType="num">
                                      <p:cBhvr additive="base">
                                        <p:cTn id="15" dur="500" fill="hold"/>
                                        <p:tgtEl>
                                          <p:spTgt spid="517"/>
                                        </p:tgtEl>
                                        <p:attrNameLst>
                                          <p:attrName>ppt_x</p:attrName>
                                        </p:attrNameLst>
                                      </p:cBhvr>
                                      <p:tavLst>
                                        <p:tav tm="0">
                                          <p:val>
                                            <p:strVal val="0-#ppt_w/2"/>
                                          </p:val>
                                        </p:tav>
                                        <p:tav tm="100000">
                                          <p:val>
                                            <p:strVal val="#ppt_x"/>
                                          </p:val>
                                        </p:tav>
                                      </p:tavLst>
                                    </p:anim>
                                    <p:anim calcmode="lin" valueType="num">
                                      <p:cBhvr additive="base">
                                        <p:cTn id="16" dur="500" fill="hold"/>
                                        <p:tgtEl>
                                          <p:spTgt spid="517"/>
                                        </p:tgtEl>
                                        <p:attrNameLst>
                                          <p:attrName>ppt_y</p:attrName>
                                        </p:attrNameLst>
                                      </p:cBhvr>
                                      <p:tavLst>
                                        <p:tav tm="0">
                                          <p:val>
                                            <p:strVal val="0-#ppt_h/2"/>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513"/>
                                        </p:tgtEl>
                                        <p:attrNameLst>
                                          <p:attrName>style.visibility</p:attrName>
                                        </p:attrNameLst>
                                      </p:cBhvr>
                                      <p:to>
                                        <p:strVal val="visible"/>
                                      </p:to>
                                    </p:set>
                                    <p:anim calcmode="lin" valueType="num">
                                      <p:cBhvr additive="base">
                                        <p:cTn id="19" dur="500" fill="hold"/>
                                        <p:tgtEl>
                                          <p:spTgt spid="513"/>
                                        </p:tgtEl>
                                        <p:attrNameLst>
                                          <p:attrName>ppt_x</p:attrName>
                                        </p:attrNameLst>
                                      </p:cBhvr>
                                      <p:tavLst>
                                        <p:tav tm="0">
                                          <p:val>
                                            <p:strVal val="1+#ppt_w/2"/>
                                          </p:val>
                                        </p:tav>
                                        <p:tav tm="100000">
                                          <p:val>
                                            <p:strVal val="#ppt_x"/>
                                          </p:val>
                                        </p:tav>
                                      </p:tavLst>
                                    </p:anim>
                                    <p:anim calcmode="lin" valueType="num">
                                      <p:cBhvr additive="base">
                                        <p:cTn id="20" dur="500" fill="hold"/>
                                        <p:tgtEl>
                                          <p:spTgt spid="513"/>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515"/>
                                        </p:tgtEl>
                                        <p:attrNameLst>
                                          <p:attrName>style.visibility</p:attrName>
                                        </p:attrNameLst>
                                      </p:cBhvr>
                                      <p:to>
                                        <p:strVal val="visible"/>
                                      </p:to>
                                    </p:set>
                                    <p:anim calcmode="lin" valueType="num">
                                      <p:cBhvr additive="base">
                                        <p:cTn id="23" dur="500" fill="hold"/>
                                        <p:tgtEl>
                                          <p:spTgt spid="515"/>
                                        </p:tgtEl>
                                        <p:attrNameLst>
                                          <p:attrName>ppt_x</p:attrName>
                                        </p:attrNameLst>
                                      </p:cBhvr>
                                      <p:tavLst>
                                        <p:tav tm="0">
                                          <p:val>
                                            <p:strVal val="1+#ppt_w/2"/>
                                          </p:val>
                                        </p:tav>
                                        <p:tav tm="100000">
                                          <p:val>
                                            <p:strVal val="#ppt_x"/>
                                          </p:val>
                                        </p:tav>
                                      </p:tavLst>
                                    </p:anim>
                                    <p:anim calcmode="lin" valueType="num">
                                      <p:cBhvr additive="base">
                                        <p:cTn id="24" dur="500" fill="hold"/>
                                        <p:tgtEl>
                                          <p:spTgt spid="515"/>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grpId="0" nodeType="clickEffect">
                                  <p:stCondLst>
                                    <p:cond delay="0"/>
                                  </p:stCondLst>
                                  <p:childTnLst>
                                    <p:set>
                                      <p:cBhvr>
                                        <p:cTn id="28" dur="1" fill="hold">
                                          <p:stCondLst>
                                            <p:cond delay="0"/>
                                          </p:stCondLst>
                                        </p:cTn>
                                        <p:tgtEl>
                                          <p:spTgt spid="516"/>
                                        </p:tgtEl>
                                        <p:attrNameLst>
                                          <p:attrName>style.visibility</p:attrName>
                                        </p:attrNameLst>
                                      </p:cBhvr>
                                      <p:to>
                                        <p:strVal val="visible"/>
                                      </p:to>
                                    </p:set>
                                    <p:anim calcmode="lin" valueType="num">
                                      <p:cBhvr additive="base">
                                        <p:cTn id="29" dur="500" fill="hold"/>
                                        <p:tgtEl>
                                          <p:spTgt spid="516"/>
                                        </p:tgtEl>
                                        <p:attrNameLst>
                                          <p:attrName>ppt_x</p:attrName>
                                        </p:attrNameLst>
                                      </p:cBhvr>
                                      <p:tavLst>
                                        <p:tav tm="0">
                                          <p:val>
                                            <p:strVal val="1+#ppt_w/2"/>
                                          </p:val>
                                        </p:tav>
                                        <p:tav tm="100000">
                                          <p:val>
                                            <p:strVal val="#ppt_x"/>
                                          </p:val>
                                        </p:tav>
                                      </p:tavLst>
                                    </p:anim>
                                    <p:anim calcmode="lin" valueType="num">
                                      <p:cBhvr additive="base">
                                        <p:cTn id="30" dur="500" fill="hold"/>
                                        <p:tgtEl>
                                          <p:spTgt spid="516"/>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750"/>
                                        <p:tgtEl>
                                          <p:spTgt spid="3"/>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5"/>
                                        </p:tgtEl>
                                        <p:attrNameLst>
                                          <p:attrName>style.visibility</p:attrName>
                                        </p:attrNameLst>
                                      </p:cBhvr>
                                      <p:to>
                                        <p:strVal val="visible"/>
                                      </p:to>
                                    </p:set>
                                    <p:animEffect transition="in" filter="wipe(left)">
                                      <p:cBhvr>
                                        <p:cTn id="40" dur="500"/>
                                        <p:tgtEl>
                                          <p:spTgt spid="5"/>
                                        </p:tgtEl>
                                      </p:cBhvr>
                                    </p:animEffect>
                                  </p:childTnLst>
                                </p:cTn>
                              </p:par>
                              <p:par>
                                <p:cTn id="41" presetID="22" presetClass="entr" presetSubtype="1" fill="hold"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wipe(up)">
                                      <p:cBhvr>
                                        <p:cTn id="43" dur="500"/>
                                        <p:tgtEl>
                                          <p:spTgt spid="12"/>
                                        </p:tgtEl>
                                      </p:cBhvr>
                                    </p:animEffect>
                                  </p:childTnLst>
                                </p:cTn>
                              </p:par>
                              <p:par>
                                <p:cTn id="44" presetID="22" presetClass="entr" presetSubtype="2" fill="hold"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wipe(right)">
                                      <p:cBhvr>
                                        <p:cTn id="46" dur="500"/>
                                        <p:tgtEl>
                                          <p:spTgt spid="15"/>
                                        </p:tgtEl>
                                      </p:cBhvr>
                                    </p:animEffect>
                                  </p:childTnLst>
                                </p:cTn>
                              </p:par>
                              <p:par>
                                <p:cTn id="47" presetID="22" presetClass="entr" presetSubtype="4" fill="hold"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wipe(down)">
                                      <p:cBhvr>
                                        <p:cTn id="49" dur="500"/>
                                        <p:tgtEl>
                                          <p:spTgt spid="1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2" presetClass="entr" presetSubtype="4" fill="hold" grpId="0" nodeType="withEffect">
                                  <p:stCondLst>
                                    <p:cond delay="0"/>
                                  </p:stCondLst>
                                  <p:childTnLst>
                                    <p:set>
                                      <p:cBhvr>
                                        <p:cTn id="56" dur="1" fill="hold">
                                          <p:stCondLst>
                                            <p:cond delay="0"/>
                                          </p:stCondLst>
                                        </p:cTn>
                                        <p:tgtEl>
                                          <p:spTgt spid="13"/>
                                        </p:tgtEl>
                                        <p:attrNameLst>
                                          <p:attrName>style.visibility</p:attrName>
                                        </p:attrNameLst>
                                      </p:cBhvr>
                                      <p:to>
                                        <p:strVal val="visible"/>
                                      </p:to>
                                    </p:set>
                                    <p:anim calcmode="lin" valueType="num">
                                      <p:cBhvr additive="base">
                                        <p:cTn id="57" dur="500" fill="hold"/>
                                        <p:tgtEl>
                                          <p:spTgt spid="13"/>
                                        </p:tgtEl>
                                        <p:attrNameLst>
                                          <p:attrName>ppt_x</p:attrName>
                                        </p:attrNameLst>
                                      </p:cBhvr>
                                      <p:tavLst>
                                        <p:tav tm="0">
                                          <p:val>
                                            <p:strVal val="#ppt_x"/>
                                          </p:val>
                                        </p:tav>
                                        <p:tav tm="100000">
                                          <p:val>
                                            <p:strVal val="#ppt_x"/>
                                          </p:val>
                                        </p:tav>
                                      </p:tavLst>
                                    </p:anim>
                                    <p:anim calcmode="lin" valueType="num">
                                      <p:cBhvr additive="base">
                                        <p:cTn id="5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24"/>
                                        </p:tgtEl>
                                        <p:attrNameLst>
                                          <p:attrName>style.visibility</p:attrName>
                                        </p:attrNameLst>
                                      </p:cBhvr>
                                      <p:to>
                                        <p:strVal val="visible"/>
                                      </p:to>
                                    </p:set>
                                    <p:animEffect transition="in" filter="wipe(left)">
                                      <p:cBhvr>
                                        <p:cTn id="63" dur="500"/>
                                        <p:tgtEl>
                                          <p:spTgt spid="24"/>
                                        </p:tgtEl>
                                      </p:cBhvr>
                                    </p:animEffect>
                                  </p:childTnLst>
                                </p:cTn>
                              </p:par>
                              <p:par>
                                <p:cTn id="64" presetID="22" presetClass="entr" presetSubtype="1" fill="hold" nodeType="withEffect">
                                  <p:stCondLst>
                                    <p:cond delay="0"/>
                                  </p:stCondLst>
                                  <p:childTnLst>
                                    <p:set>
                                      <p:cBhvr>
                                        <p:cTn id="65" dur="1" fill="hold">
                                          <p:stCondLst>
                                            <p:cond delay="0"/>
                                          </p:stCondLst>
                                        </p:cTn>
                                        <p:tgtEl>
                                          <p:spTgt spid="29"/>
                                        </p:tgtEl>
                                        <p:attrNameLst>
                                          <p:attrName>style.visibility</p:attrName>
                                        </p:attrNameLst>
                                      </p:cBhvr>
                                      <p:to>
                                        <p:strVal val="visible"/>
                                      </p:to>
                                    </p:set>
                                    <p:animEffect transition="in" filter="wipe(up)">
                                      <p:cBhvr>
                                        <p:cTn id="66" dur="500"/>
                                        <p:tgtEl>
                                          <p:spTgt spid="29"/>
                                        </p:tgtEl>
                                      </p:cBhvr>
                                    </p:animEffect>
                                  </p:childTnLst>
                                </p:cTn>
                              </p:par>
                              <p:par>
                                <p:cTn id="67" presetID="22" presetClass="entr" presetSubtype="2" fill="hold" nodeType="with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wipe(right)">
                                      <p:cBhvr>
                                        <p:cTn id="69" dur="500"/>
                                        <p:tgtEl>
                                          <p:spTgt spid="22"/>
                                        </p:tgtEl>
                                      </p:cBhvr>
                                    </p:animEffect>
                                  </p:childTnLst>
                                </p:cTn>
                              </p:par>
                              <p:par>
                                <p:cTn id="70" presetID="22" presetClass="entr" presetSubtype="4" fill="hold" nodeType="withEffect">
                                  <p:stCondLst>
                                    <p:cond delay="0"/>
                                  </p:stCondLst>
                                  <p:childTnLst>
                                    <p:set>
                                      <p:cBhvr>
                                        <p:cTn id="71" dur="1" fill="hold">
                                          <p:stCondLst>
                                            <p:cond delay="0"/>
                                          </p:stCondLst>
                                        </p:cTn>
                                        <p:tgtEl>
                                          <p:spTgt spid="26"/>
                                        </p:tgtEl>
                                        <p:attrNameLst>
                                          <p:attrName>style.visibility</p:attrName>
                                        </p:attrNameLst>
                                      </p:cBhvr>
                                      <p:to>
                                        <p:strVal val="visible"/>
                                      </p:to>
                                    </p:set>
                                    <p:animEffect transition="in" filter="wipe(down)">
                                      <p:cBhvr>
                                        <p:cTn id="72" dur="500"/>
                                        <p:tgtEl>
                                          <p:spTgt spid="26"/>
                                        </p:tgtEl>
                                      </p:cBhvr>
                                    </p:animEffect>
                                  </p:childTnLst>
                                </p:cTn>
                              </p:par>
                            </p:childTnLst>
                          </p:cTn>
                        </p:par>
                      </p:childTnLst>
                    </p:cTn>
                  </p:par>
                  <p:par>
                    <p:cTn id="73" fill="hold">
                      <p:stCondLst>
                        <p:cond delay="indefinite"/>
                      </p:stCondLst>
                      <p:childTnLst>
                        <p:par>
                          <p:cTn id="74" fill="hold">
                            <p:stCondLst>
                              <p:cond delay="0"/>
                            </p:stCondLst>
                            <p:childTnLst>
                              <p:par>
                                <p:cTn id="75" presetID="47" presetClass="entr" presetSubtype="0" fill="hold" nodeType="click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500"/>
                                        <p:tgtEl>
                                          <p:spTgt spid="32"/>
                                        </p:tgtEl>
                                      </p:cBhvr>
                                    </p:animEffect>
                                    <p:anim calcmode="lin" valueType="num">
                                      <p:cBhvr>
                                        <p:cTn id="78" dur="500" fill="hold"/>
                                        <p:tgtEl>
                                          <p:spTgt spid="32"/>
                                        </p:tgtEl>
                                        <p:attrNameLst>
                                          <p:attrName>ppt_x</p:attrName>
                                        </p:attrNameLst>
                                      </p:cBhvr>
                                      <p:tavLst>
                                        <p:tav tm="0">
                                          <p:val>
                                            <p:strVal val="#ppt_x"/>
                                          </p:val>
                                        </p:tav>
                                        <p:tav tm="100000">
                                          <p:val>
                                            <p:strVal val="#ppt_x"/>
                                          </p:val>
                                        </p:tav>
                                      </p:tavLst>
                                    </p:anim>
                                    <p:anim calcmode="lin" valueType="num">
                                      <p:cBhvr>
                                        <p:cTn id="79" dur="500" fill="hold"/>
                                        <p:tgtEl>
                                          <p:spTgt spid="32"/>
                                        </p:tgtEl>
                                        <p:attrNameLst>
                                          <p:attrName>ppt_y</p:attrName>
                                        </p:attrNameLst>
                                      </p:cBhvr>
                                      <p:tavLst>
                                        <p:tav tm="0">
                                          <p:val>
                                            <p:strVal val="#ppt_y-.1"/>
                                          </p:val>
                                        </p:tav>
                                        <p:tav tm="100000">
                                          <p:val>
                                            <p:strVal val="#ppt_y"/>
                                          </p:val>
                                        </p:tav>
                                      </p:tavLst>
                                    </p:anim>
                                  </p:childTnLst>
                                </p:cTn>
                              </p:par>
                              <p:par>
                                <p:cTn id="80" presetID="2" presetClass="entr" presetSubtype="4" fill="hold" grpId="0" nodeType="withEffect">
                                  <p:stCondLst>
                                    <p:cond delay="0"/>
                                  </p:stCondLst>
                                  <p:childTnLst>
                                    <p:set>
                                      <p:cBhvr>
                                        <p:cTn id="81" dur="1" fill="hold">
                                          <p:stCondLst>
                                            <p:cond delay="0"/>
                                          </p:stCondLst>
                                        </p:cTn>
                                        <p:tgtEl>
                                          <p:spTgt spid="35"/>
                                        </p:tgtEl>
                                        <p:attrNameLst>
                                          <p:attrName>style.visibility</p:attrName>
                                        </p:attrNameLst>
                                      </p:cBhvr>
                                      <p:to>
                                        <p:strVal val="visible"/>
                                      </p:to>
                                    </p:set>
                                    <p:anim calcmode="lin" valueType="num">
                                      <p:cBhvr additive="base">
                                        <p:cTn id="82" dur="500" fill="hold"/>
                                        <p:tgtEl>
                                          <p:spTgt spid="35"/>
                                        </p:tgtEl>
                                        <p:attrNameLst>
                                          <p:attrName>ppt_x</p:attrName>
                                        </p:attrNameLst>
                                      </p:cBhvr>
                                      <p:tavLst>
                                        <p:tav tm="0">
                                          <p:val>
                                            <p:strVal val="#ppt_x"/>
                                          </p:val>
                                        </p:tav>
                                        <p:tav tm="100000">
                                          <p:val>
                                            <p:strVal val="#ppt_x"/>
                                          </p:val>
                                        </p:tav>
                                      </p:tavLst>
                                    </p:anim>
                                    <p:anim calcmode="lin" valueType="num">
                                      <p:cBhvr additive="base">
                                        <p:cTn id="83"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2" presetClass="entr" presetSubtype="8" fill="hold" nodeType="clickEffect">
                                  <p:stCondLst>
                                    <p:cond delay="0"/>
                                  </p:stCondLst>
                                  <p:childTnLst>
                                    <p:set>
                                      <p:cBhvr>
                                        <p:cTn id="87" dur="1" fill="hold">
                                          <p:stCondLst>
                                            <p:cond delay="0"/>
                                          </p:stCondLst>
                                        </p:cTn>
                                        <p:tgtEl>
                                          <p:spTgt spid="41"/>
                                        </p:tgtEl>
                                        <p:attrNameLst>
                                          <p:attrName>style.visibility</p:attrName>
                                        </p:attrNameLst>
                                      </p:cBhvr>
                                      <p:to>
                                        <p:strVal val="visible"/>
                                      </p:to>
                                    </p:set>
                                    <p:anim calcmode="lin" valueType="num">
                                      <p:cBhvr additive="base">
                                        <p:cTn id="88" dur="500" fill="hold"/>
                                        <p:tgtEl>
                                          <p:spTgt spid="41"/>
                                        </p:tgtEl>
                                        <p:attrNameLst>
                                          <p:attrName>ppt_x</p:attrName>
                                        </p:attrNameLst>
                                      </p:cBhvr>
                                      <p:tavLst>
                                        <p:tav tm="0">
                                          <p:val>
                                            <p:strVal val="0-#ppt_w/2"/>
                                          </p:val>
                                        </p:tav>
                                        <p:tav tm="100000">
                                          <p:val>
                                            <p:strVal val="#ppt_x"/>
                                          </p:val>
                                        </p:tav>
                                      </p:tavLst>
                                    </p:anim>
                                    <p:anim calcmode="lin" valueType="num">
                                      <p:cBhvr additive="base">
                                        <p:cTn id="89" dur="500" fill="hold"/>
                                        <p:tgtEl>
                                          <p:spTgt spid="41"/>
                                        </p:tgtEl>
                                        <p:attrNameLst>
                                          <p:attrName>ppt_y</p:attrName>
                                        </p:attrNameLst>
                                      </p:cBhvr>
                                      <p:tavLst>
                                        <p:tav tm="0">
                                          <p:val>
                                            <p:strVal val="#ppt_y"/>
                                          </p:val>
                                        </p:tav>
                                        <p:tav tm="100000">
                                          <p:val>
                                            <p:strVal val="#ppt_y"/>
                                          </p:val>
                                        </p:tav>
                                      </p:tavLst>
                                    </p:anim>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4"/>
                                        </p:tgtEl>
                                        <p:attrNameLst>
                                          <p:attrName>style.visibility</p:attrName>
                                        </p:attrNameLst>
                                      </p:cBhvr>
                                      <p:to>
                                        <p:strVal val="visible"/>
                                      </p:to>
                                    </p:set>
                                    <p:animEffect transition="in" filter="fade">
                                      <p:cBhvr>
                                        <p:cTn id="94" dur="500"/>
                                        <p:tgtEl>
                                          <p:spTgt spid="4"/>
                                        </p:tgtEl>
                                      </p:cBhvr>
                                    </p:animEffect>
                                  </p:childTnLst>
                                </p:cTn>
                              </p:par>
                            </p:childTnLst>
                          </p:cTn>
                        </p:par>
                      </p:childTnLst>
                    </p:cTn>
                  </p:par>
                  <p:par>
                    <p:cTn id="95" fill="hold">
                      <p:stCondLst>
                        <p:cond delay="indefinite"/>
                      </p:stCondLst>
                      <p:childTnLst>
                        <p:par>
                          <p:cTn id="96" fill="hold">
                            <p:stCondLst>
                              <p:cond delay="0"/>
                            </p:stCondLst>
                            <p:childTnLst>
                              <p:par>
                                <p:cTn id="97" presetID="2" presetClass="entr" presetSubtype="8" fill="hold" nodeType="clickEffect">
                                  <p:stCondLst>
                                    <p:cond delay="0"/>
                                  </p:stCondLst>
                                  <p:childTnLst>
                                    <p:set>
                                      <p:cBhvr>
                                        <p:cTn id="98" dur="1" fill="hold">
                                          <p:stCondLst>
                                            <p:cond delay="0"/>
                                          </p:stCondLst>
                                        </p:cTn>
                                        <p:tgtEl>
                                          <p:spTgt spid="49"/>
                                        </p:tgtEl>
                                        <p:attrNameLst>
                                          <p:attrName>style.visibility</p:attrName>
                                        </p:attrNameLst>
                                      </p:cBhvr>
                                      <p:to>
                                        <p:strVal val="visible"/>
                                      </p:to>
                                    </p:set>
                                    <p:anim calcmode="lin" valueType="num">
                                      <p:cBhvr additive="base">
                                        <p:cTn id="99" dur="500" fill="hold"/>
                                        <p:tgtEl>
                                          <p:spTgt spid="49"/>
                                        </p:tgtEl>
                                        <p:attrNameLst>
                                          <p:attrName>ppt_x</p:attrName>
                                        </p:attrNameLst>
                                      </p:cBhvr>
                                      <p:tavLst>
                                        <p:tav tm="0">
                                          <p:val>
                                            <p:strVal val="0-#ppt_w/2"/>
                                          </p:val>
                                        </p:tav>
                                        <p:tav tm="100000">
                                          <p:val>
                                            <p:strVal val="#ppt_x"/>
                                          </p:val>
                                        </p:tav>
                                      </p:tavLst>
                                    </p:anim>
                                    <p:anim calcmode="lin" valueType="num">
                                      <p:cBhvr additive="base">
                                        <p:cTn id="100" dur="500" fill="hold"/>
                                        <p:tgtEl>
                                          <p:spTgt spid="49"/>
                                        </p:tgtEl>
                                        <p:attrNameLst>
                                          <p:attrName>ppt_y</p:attrName>
                                        </p:attrNameLst>
                                      </p:cBhvr>
                                      <p:tavLst>
                                        <p:tav tm="0">
                                          <p:val>
                                            <p:strVal val="#ppt_y"/>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6"/>
                                        </p:tgtEl>
                                        <p:attrNameLst>
                                          <p:attrName>style.visibility</p:attrName>
                                        </p:attrNameLst>
                                      </p:cBhvr>
                                      <p:to>
                                        <p:strVal val="visible"/>
                                      </p:to>
                                    </p:set>
                                    <p:animEffect transition="in" filter="fade">
                                      <p:cBhvr>
                                        <p:cTn id="10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 grpId="0" animBg="1"/>
      <p:bldP spid="513" grpId="0" animBg="1"/>
      <p:bldP spid="514" grpId="0" animBg="1"/>
      <p:bldP spid="515" grpId="0" animBg="1"/>
      <p:bldP spid="516" grpId="0"/>
      <p:bldP spid="517" grpId="0"/>
      <p:bldP spid="13" grpId="0" animBg="1"/>
      <p:bldP spid="35" grpId="0" animBg="1"/>
      <p:bldP spid="4" grpId="0"/>
      <p:bldP spid="6" grpId="0"/>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confrontation*hands*fists*fighting*feud*enemies*enemy*adversaries*resistance*collabora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onfrontation*hands*fists*fighting*feud*enemies*enemy*adversaries*resistance*collaboration"/>
</p:tagLst>
</file>

<file path=ppt/theme/theme1.xml><?xml version="1.0" encoding="utf-8"?>
<a:theme xmlns:a="http://schemas.openxmlformats.org/drawingml/2006/main" name="Fall is Coming Infographics by Slidesgo">
  <a:themeElements>
    <a:clrScheme name="Simple Light">
      <a:dk1>
        <a:srgbClr val="4B1A0C"/>
      </a:dk1>
      <a:lt1>
        <a:srgbClr val="FFF4E7"/>
      </a:lt1>
      <a:dk2>
        <a:srgbClr val="984724"/>
      </a:dk2>
      <a:lt2>
        <a:srgbClr val="AB8A3D"/>
      </a:lt2>
      <a:accent1>
        <a:srgbClr val="906A18"/>
      </a:accent1>
      <a:accent2>
        <a:srgbClr val="D55D21"/>
      </a:accent2>
      <a:accent3>
        <a:srgbClr val="B83B03"/>
      </a:accent3>
      <a:accent4>
        <a:srgbClr val="B5B883"/>
      </a:accent4>
      <a:accent5>
        <a:srgbClr val="858646"/>
      </a:accent5>
      <a:accent6>
        <a:srgbClr val="EEDAC4"/>
      </a:accent6>
      <a:hlink>
        <a:srgbClr val="4B1A0C"/>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8c5b60be-7c08-46b9-a89a-83f61d03e3e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1FC205F150F4E4890BE4480BDC40D41" ma:contentTypeVersion="6" ma:contentTypeDescription="Create a new document." ma:contentTypeScope="" ma:versionID="486ac9fb05ad4cfc165a32ac2ce5b80d">
  <xsd:schema xmlns:xsd="http://www.w3.org/2001/XMLSchema" xmlns:xs="http://www.w3.org/2001/XMLSchema" xmlns:p="http://schemas.microsoft.com/office/2006/metadata/properties" xmlns:ns3="8c5b60be-7c08-46b9-a89a-83f61d03e3ed" targetNamespace="http://schemas.microsoft.com/office/2006/metadata/properties" ma:root="true" ma:fieldsID="9d5136f7ac51047f9be17ee82c73c925" ns3:_="">
    <xsd:import namespace="8c5b60be-7c08-46b9-a89a-83f61d03e3e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_activity"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5b60be-7c08-46b9-a89a-83f61d03e3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_activity" ma:index="12" nillable="true" ma:displayName="_activity" ma:hidden="true" ma:internalName="_activity">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9A493B6-1126-43E6-9FF4-35A787B6E7FD}">
  <ds:schemaRefs>
    <ds:schemaRef ds:uri="http://purl.org/dc/elements/1.1/"/>
    <ds:schemaRef ds:uri="http://purl.org/dc/terms/"/>
    <ds:schemaRef ds:uri="http://www.w3.org/XML/1998/namespace"/>
    <ds:schemaRef ds:uri="http://schemas.microsoft.com/office/2006/metadata/propertie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8c5b60be-7c08-46b9-a89a-83f61d03e3ed"/>
  </ds:schemaRefs>
</ds:datastoreItem>
</file>

<file path=customXml/itemProps2.xml><?xml version="1.0" encoding="utf-8"?>
<ds:datastoreItem xmlns:ds="http://schemas.openxmlformats.org/officeDocument/2006/customXml" ds:itemID="{DE20F2ED-6BCE-4862-8E12-52D15BEE7596}">
  <ds:schemaRefs>
    <ds:schemaRef ds:uri="http://schemas.microsoft.com/sharepoint/v3/contenttype/forms"/>
  </ds:schemaRefs>
</ds:datastoreItem>
</file>

<file path=customXml/itemProps3.xml><?xml version="1.0" encoding="utf-8"?>
<ds:datastoreItem xmlns:ds="http://schemas.openxmlformats.org/officeDocument/2006/customXml" ds:itemID="{9EC8289B-337E-457D-A5CA-FE8939E687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c5b60be-7c08-46b9-a89a-83f61d03e3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98</TotalTime>
  <Words>1412</Words>
  <Application>Microsoft Office PowerPoint</Application>
  <PresentationFormat>On-screen Show (16:9)</PresentationFormat>
  <Paragraphs>202</Paragraphs>
  <Slides>31</Slides>
  <Notes>25</Notes>
  <HiddenSlides>0</HiddenSlides>
  <MMClips>9</MMClips>
  <ScaleCrop>false</ScaleCrop>
  <HeadingPairs>
    <vt:vector size="6" baseType="variant">
      <vt:variant>
        <vt:lpstr>Fonts Used</vt:lpstr>
      </vt:variant>
      <vt:variant>
        <vt:i4>17</vt:i4>
      </vt:variant>
      <vt:variant>
        <vt:lpstr>Theme</vt:lpstr>
      </vt:variant>
      <vt:variant>
        <vt:i4>1</vt:i4>
      </vt:variant>
      <vt:variant>
        <vt:lpstr>Slide Titles</vt:lpstr>
      </vt:variant>
      <vt:variant>
        <vt:i4>31</vt:i4>
      </vt:variant>
    </vt:vector>
  </HeadingPairs>
  <TitlesOfParts>
    <vt:vector size="49" baseType="lpstr">
      <vt:lpstr>Be Vietnam</vt:lpstr>
      <vt:lpstr>Source Sans Pro</vt:lpstr>
      <vt:lpstr>Barlow Semi Condensed Medium</vt:lpstr>
      <vt:lpstr>Anek Malayalam Medium</vt:lpstr>
      <vt:lpstr>Calistoga</vt:lpstr>
      <vt:lpstr>Anek Malayalam</vt:lpstr>
      <vt:lpstr>Segoe UI Black</vt:lpstr>
      <vt:lpstr>Times New Roman</vt:lpstr>
      <vt:lpstr>Wingdings</vt:lpstr>
      <vt:lpstr>Fjalla One</vt:lpstr>
      <vt:lpstr>Tahoma</vt:lpstr>
      <vt:lpstr>Calibri</vt:lpstr>
      <vt:lpstr>Arial</vt:lpstr>
      <vt:lpstr>Open Sans Medium</vt:lpstr>
      <vt:lpstr>iCiel Cadena</vt:lpstr>
      <vt:lpstr>Arial Rounded MT Bold</vt:lpstr>
      <vt:lpstr>Barlow Semi Condensed</vt:lpstr>
      <vt:lpstr>Fall is Coming Infographics by Slidesgo</vt:lpstr>
      <vt:lpstr>Chủ đề 4 : Giới thiệu các hệ cơ sở dữ liệu</vt:lpstr>
      <vt:lpstr>PowerPoint Presentation</vt:lpstr>
      <vt:lpstr>1. Khái niệm CSDL quan hệ</vt:lpstr>
      <vt:lpstr>PowerPoint Presentation</vt:lpstr>
      <vt:lpstr>1. Khái niệm CSDL quan hệ</vt:lpstr>
      <vt:lpstr>PowerPoint Presentation</vt:lpstr>
      <vt:lpstr>Tóm tắt nội dung :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01</vt:lpstr>
      <vt:lpstr>01</vt:lpstr>
      <vt:lpstr>PowerPoint Presentation</vt:lpstr>
      <vt:lpstr>02</vt:lpstr>
      <vt:lpstr>PowerPoint Presentation</vt:lpstr>
      <vt:lpstr>03</vt:lpstr>
      <vt:lpstr>PowerPoint Presentation</vt:lpstr>
      <vt:lpstr>04</vt:lpstr>
      <vt:lpstr>THÔNG TIN CỦA MỘT NHÓM SINH VIÊN</vt:lpstr>
      <vt:lpstr>PowerPoint Presentation</vt:lpstr>
      <vt:lpstr>PowerPoint Presentation</vt:lpstr>
      <vt:lpstr>PowerPoint Presentation</vt:lpstr>
      <vt:lpstr>PowerPoint Presentation</vt:lpstr>
      <vt:lpstr>PowerPoint Presentation</vt:lpstr>
      <vt:lpstr>PowerPoint Presentation</vt:lpstr>
      <vt:lpstr>Thank you for listen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ll is Coming Infographics</dc:title>
  <dc:creator>Admin</dc:creator>
  <cp:lastModifiedBy>Admin</cp:lastModifiedBy>
  <cp:revision>20</cp:revision>
  <dcterms:modified xsi:type="dcterms:W3CDTF">2023-12-27T14:3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FC205F150F4E4890BE4480BDC40D41</vt:lpwstr>
  </property>
</Properties>
</file>